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7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96" r:id="rId1"/>
  </p:sldMasterIdLst>
  <p:notesMasterIdLst>
    <p:notesMasterId r:id="rId42"/>
  </p:notesMasterIdLst>
  <p:handoutMasterIdLst>
    <p:handoutMasterId r:id="rId43"/>
  </p:handoutMasterIdLst>
  <p:sldIdLst>
    <p:sldId id="1311" r:id="rId2"/>
    <p:sldId id="1520" r:id="rId3"/>
    <p:sldId id="1315" r:id="rId4"/>
    <p:sldId id="1563" r:id="rId5"/>
    <p:sldId id="1557" r:id="rId6"/>
    <p:sldId id="1555" r:id="rId7"/>
    <p:sldId id="1468" r:id="rId8"/>
    <p:sldId id="1469" r:id="rId9"/>
    <p:sldId id="1539" r:id="rId10"/>
    <p:sldId id="1471" r:id="rId11"/>
    <p:sldId id="1472" r:id="rId12"/>
    <p:sldId id="1606" r:id="rId13"/>
    <p:sldId id="1609" r:id="rId14"/>
    <p:sldId id="1610" r:id="rId15"/>
    <p:sldId id="1542" r:id="rId16"/>
    <p:sldId id="1494" r:id="rId17"/>
    <p:sldId id="1470" r:id="rId18"/>
    <p:sldId id="1607" r:id="rId19"/>
    <p:sldId id="1484" r:id="rId20"/>
    <p:sldId id="1493" r:id="rId21"/>
    <p:sldId id="1608" r:id="rId22"/>
    <p:sldId id="1614" r:id="rId23"/>
    <p:sldId id="1543" r:id="rId24"/>
    <p:sldId id="1582" r:id="rId25"/>
    <p:sldId id="1583" r:id="rId26"/>
    <p:sldId id="1584" r:id="rId27"/>
    <p:sldId id="1544" r:id="rId28"/>
    <p:sldId id="1545" r:id="rId29"/>
    <p:sldId id="1612" r:id="rId30"/>
    <p:sldId id="1560" r:id="rId31"/>
    <p:sldId id="1561" r:id="rId32"/>
    <p:sldId id="1562" r:id="rId33"/>
    <p:sldId id="1585" r:id="rId34"/>
    <p:sldId id="1579" r:id="rId35"/>
    <p:sldId id="1580" r:id="rId36"/>
    <p:sldId id="1569" r:id="rId37"/>
    <p:sldId id="1533" r:id="rId38"/>
    <p:sldId id="1615" r:id="rId39"/>
    <p:sldId id="1500" r:id="rId40"/>
    <p:sldId id="1417" r:id="rId41"/>
  </p:sldIdLst>
  <p:sldSz cx="9906000" cy="6858000" type="A4"/>
  <p:notesSz cx="7099300" cy="10234613"/>
  <p:custDataLst>
    <p:tags r:id="rId4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tus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0000"/>
    <a:srgbClr val="CC0000"/>
    <a:srgbClr val="009900"/>
    <a:srgbClr val="027591"/>
    <a:srgbClr val="73B4C8"/>
    <a:srgbClr val="FF5050"/>
    <a:srgbClr val="D6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856" autoAdjust="0"/>
    <p:restoredTop sz="99161" autoAdjust="0"/>
  </p:normalViewPr>
  <p:slideViewPr>
    <p:cSldViewPr snapToGrid="0" showGuides="1">
      <p:cViewPr varScale="1">
        <p:scale>
          <a:sx n="70" d="100"/>
          <a:sy n="70" d="100"/>
        </p:scale>
        <p:origin x="-1770" y="-96"/>
      </p:cViewPr>
      <p:guideLst>
        <p:guide orient="horz" pos="825"/>
        <p:guide orient="horz" pos="3676"/>
        <p:guide orient="horz" pos="1120"/>
        <p:guide orient="horz" pos="3969"/>
        <p:guide orient="horz" pos="507"/>
        <p:guide orient="horz"/>
        <p:guide orient="horz" pos="1735"/>
        <p:guide orient="horz" pos="3338"/>
        <p:guide pos="356"/>
        <p:guide pos="5887"/>
        <p:guide pos="3108"/>
        <p:guide pos="966"/>
      </p:guideLst>
    </p:cSldViewPr>
  </p:slideViewPr>
  <p:outlineViewPr>
    <p:cViewPr>
      <p:scale>
        <a:sx n="45" d="100"/>
        <a:sy n="4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29" tIns="45666" rIns="91329" bIns="45666" numCol="1" anchor="t" anchorCtr="0" compatLnSpc="1">
            <a:prstTxWarp prst="textNoShape">
              <a:avLst/>
            </a:prstTxWarp>
          </a:bodyPr>
          <a:lstStyle>
            <a:lvl1pPr defTabSz="911225" eaLnBrk="0" hangingPunct="0">
              <a:lnSpc>
                <a:spcPct val="100000"/>
              </a:lnSpc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5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29" tIns="45666" rIns="91329" bIns="45666" numCol="1" anchor="t" anchorCtr="0" compatLnSpc="1">
            <a:prstTxWarp prst="textNoShape">
              <a:avLst/>
            </a:prstTxWarp>
          </a:bodyPr>
          <a:lstStyle>
            <a:lvl1pPr algn="r" defTabSz="911225" eaLnBrk="0" hangingPunct="0">
              <a:lnSpc>
                <a:spcPct val="100000"/>
              </a:lnSpc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5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29" tIns="45666" rIns="91329" bIns="45666" numCol="1" anchor="b" anchorCtr="0" compatLnSpc="1">
            <a:prstTxWarp prst="textNoShape">
              <a:avLst/>
            </a:prstTxWarp>
          </a:bodyPr>
          <a:lstStyle>
            <a:lvl1pPr defTabSz="911225" eaLnBrk="0" hangingPunct="0">
              <a:lnSpc>
                <a:spcPct val="100000"/>
              </a:lnSpc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5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1850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29" tIns="45666" rIns="91329" bIns="45666" numCol="1" anchor="b" anchorCtr="0" compatLnSpc="1">
            <a:prstTxWarp prst="textNoShape">
              <a:avLst/>
            </a:prstTxWarp>
          </a:bodyPr>
          <a:lstStyle>
            <a:lvl1pPr algn="r" defTabSz="911225" eaLnBrk="0" hangingPunct="0">
              <a:lnSpc>
                <a:spcPct val="100000"/>
              </a:lnSpc>
              <a:defRPr sz="1200"/>
            </a:lvl1pPr>
          </a:lstStyle>
          <a:p>
            <a:pPr>
              <a:defRPr/>
            </a:pPr>
            <a:fld id="{4A21AD45-52A9-487B-86CF-6A5593B9B3D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14318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8916" tIns="49457" rIns="98916" bIns="49457" numCol="1" anchor="t" anchorCtr="0" compatLnSpc="1">
            <a:prstTxWarp prst="textNoShape">
              <a:avLst/>
            </a:prstTxWarp>
          </a:bodyPr>
          <a:lstStyle>
            <a:lvl1pPr defTabSz="989013" eaLnBrk="0" hangingPunct="0">
              <a:lnSpc>
                <a:spcPct val="100000"/>
              </a:lnSpc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313" y="0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8916" tIns="49457" rIns="98916" bIns="49457" numCol="1" anchor="t" anchorCtr="0" compatLnSpc="1">
            <a:prstTxWarp prst="textNoShape">
              <a:avLst/>
            </a:prstTxWarp>
          </a:bodyPr>
          <a:lstStyle>
            <a:lvl1pPr algn="r" defTabSz="989013" eaLnBrk="0" hangingPunct="0">
              <a:lnSpc>
                <a:spcPct val="100000"/>
              </a:lnSpc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6288" y="766763"/>
            <a:ext cx="5546725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60925"/>
            <a:ext cx="5207000" cy="460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8916" tIns="49457" rIns="98916" bIns="4945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49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8916" tIns="49457" rIns="98916" bIns="49457" numCol="1" anchor="b" anchorCtr="0" compatLnSpc="1">
            <a:prstTxWarp prst="textNoShape">
              <a:avLst/>
            </a:prstTxWarp>
          </a:bodyPr>
          <a:lstStyle>
            <a:lvl1pPr defTabSz="989013" eaLnBrk="0" hangingPunct="0">
              <a:lnSpc>
                <a:spcPct val="100000"/>
              </a:lnSpc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8916" tIns="49457" rIns="98916" bIns="49457" numCol="1" anchor="b" anchorCtr="0" compatLnSpc="1">
            <a:prstTxWarp prst="textNoShape">
              <a:avLst/>
            </a:prstTxWarp>
          </a:bodyPr>
          <a:lstStyle>
            <a:lvl1pPr algn="r" defTabSz="989013" eaLnBrk="0" hangingPunct="0">
              <a:lnSpc>
                <a:spcPct val="100000"/>
              </a:lnSpc>
              <a:defRPr sz="1300"/>
            </a:lvl1pPr>
          </a:lstStyle>
          <a:p>
            <a:pPr>
              <a:defRPr/>
            </a:pPr>
            <a:fld id="{052F9CD9-8FEB-4B16-9A2D-F900B6161C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1820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90" name="Rectangle 7"/>
          <p:cNvSpPr txBox="1">
            <a:spLocks noGrp="1" noChangeArrowheads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C758ABCC-C431-4432-9CF9-F1B3CF906019}" type="slidenum">
              <a:rPr lang="de-DE" sz="1300"/>
              <a:pPr algn="r">
                <a:lnSpc>
                  <a:spcPct val="100000"/>
                </a:lnSpc>
              </a:pPr>
              <a:t>7</a:t>
            </a:fld>
            <a:endParaRPr lang="de-DE" sz="1300"/>
          </a:p>
        </p:txBody>
      </p:sp>
      <p:sp>
        <p:nvSpPr>
          <p:cNvPr id="42189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77875" y="766763"/>
            <a:ext cx="5545138" cy="3838575"/>
          </a:xfrm>
          <a:ln/>
        </p:spPr>
      </p:sp>
      <p:sp>
        <p:nvSpPr>
          <p:cNvPr id="421892" name="Notes Placeholder 2"/>
          <p:cNvSpPr>
            <a:spLocks noGrp="1"/>
          </p:cNvSpPr>
          <p:nvPr>
            <p:ph type="body" idx="1"/>
          </p:nvPr>
        </p:nvSpPr>
        <p:spPr/>
        <p:txBody>
          <a:bodyPr lIns="94740" tIns="47371" rIns="94740" bIns="47371"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smtClean="0"/>
          </a:p>
        </p:txBody>
      </p:sp>
      <p:sp>
        <p:nvSpPr>
          <p:cNvPr id="421893" name="Slide Number Placeholder 3"/>
          <p:cNvSpPr txBox="1">
            <a:spLocks noGrp="1"/>
          </p:cNvSpPr>
          <p:nvPr/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40" tIns="47371" rIns="94740" bIns="47371" anchor="b"/>
          <a:lstStyle>
            <a:lvl1pPr defTabSz="9477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477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477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477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477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477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477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477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4773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fld id="{047FB4E4-F8D0-457A-B787-7F3A4742FA4B}" type="slidenum">
              <a:rPr lang="en-US" sz="1200">
                <a:latin typeface="Calibri" pitchFamily="34" charset="0"/>
              </a:rPr>
              <a:pPr algn="r" eaLnBrk="1" hangingPunct="1">
                <a:lnSpc>
                  <a:spcPct val="100000"/>
                </a:lnSpc>
              </a:pPr>
              <a:t>7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2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3267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Note: Main crisis year (GDP  declined  in 2009 by 4,7 %)</a:t>
            </a:r>
          </a:p>
          <a:p>
            <a:endParaRPr lang="en-US" smtClean="0"/>
          </a:p>
        </p:txBody>
      </p:sp>
      <p:sp>
        <p:nvSpPr>
          <p:cNvPr id="523268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CEB7A1BD-B962-4ED1-B3DF-6BC8D52B968F}" type="slidenum">
              <a:rPr lang="de-DE" sz="1300"/>
              <a:pPr algn="r">
                <a:lnSpc>
                  <a:spcPct val="100000"/>
                </a:lnSpc>
              </a:pPr>
              <a:t>9</a:t>
            </a:fld>
            <a:endParaRPr lang="de-DE" sz="13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25987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/>
              <a:t>Note: Main crisis year (GDP  declined  in 2009 by 4,7 %)</a:t>
            </a:r>
          </a:p>
          <a:p>
            <a:endParaRPr lang="en-US" smtClean="0"/>
          </a:p>
        </p:txBody>
      </p:sp>
      <p:sp>
        <p:nvSpPr>
          <p:cNvPr id="425988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94B5E895-763B-4D5C-968E-6F1D6964D969}" type="slidenum">
              <a:rPr lang="de-DE" sz="1300"/>
              <a:pPr algn="r">
                <a:lnSpc>
                  <a:spcPct val="100000"/>
                </a:lnSpc>
              </a:pPr>
              <a:t>10</a:t>
            </a:fld>
            <a:endParaRPr lang="de-DE" sz="13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28035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None/>
            </a:pPr>
            <a:r>
              <a:rPr lang="en-GB" sz="1600" smtClean="0">
                <a:sym typeface="Wingdings" pitchFamily="2" charset="2"/>
              </a:rPr>
              <a:t>Increase of inequality and poverty mainly attributable</a:t>
            </a:r>
          </a:p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smtClean="0">
                <a:sym typeface="Wingdings" pitchFamily="2" charset="2"/>
              </a:rPr>
              <a:t>… to knock-on effects of structural unemployment ( prior to LM reforms), and</a:t>
            </a:r>
          </a:p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smtClean="0">
                <a:sym typeface="Wingdings" pitchFamily="2" charset="2"/>
              </a:rPr>
              <a:t>…to generally stalling or falling wages since mid-1990s ( German wage competitiveness!)</a:t>
            </a:r>
          </a:p>
          <a:p>
            <a:r>
              <a:rPr lang="en-US" smtClean="0"/>
              <a:t>Note 1: OECD denotes OECD24</a:t>
            </a:r>
            <a:br>
              <a:rPr lang="en-US" smtClean="0"/>
            </a:br>
            <a:r>
              <a:rPr lang="en-US" smtClean="0"/>
              <a:t>Note 2: 1985 and 2005 denote “mid-80s” and “mid-2000s”</a:t>
            </a:r>
          </a:p>
          <a:p>
            <a:endParaRPr lang="en-US" smtClean="0"/>
          </a:p>
        </p:txBody>
      </p:sp>
      <p:sp>
        <p:nvSpPr>
          <p:cNvPr id="428036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D70EBC7D-3391-4052-A57D-12477495658A}" type="slidenum">
              <a:rPr lang="de-DE" sz="1300"/>
              <a:pPr algn="r">
                <a:lnSpc>
                  <a:spcPct val="100000"/>
                </a:lnSpc>
              </a:pPr>
              <a:t>11</a:t>
            </a:fld>
            <a:endParaRPr lang="de-DE" sz="13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2563" indent="-182563">
              <a:spcBef>
                <a:spcPct val="10000"/>
              </a:spcBef>
              <a:spcAft>
                <a:spcPct val="10000"/>
              </a:spcAft>
              <a:defRPr/>
            </a:pPr>
            <a:r>
              <a:rPr lang="en-GB" dirty="0" smtClean="0"/>
              <a:t>*	Note: Formerly 359€/month. Raise of 5€ introduced in 03/2011. Raise of 3€ agreed for 2012.</a:t>
            </a:r>
          </a:p>
          <a:p>
            <a:pPr marL="182563" indent="-182563">
              <a:spcBef>
                <a:spcPct val="10000"/>
              </a:spcBef>
              <a:spcAft>
                <a:spcPct val="10000"/>
              </a:spcAft>
              <a:defRPr/>
            </a:pPr>
            <a:r>
              <a:rPr lang="en-GB" dirty="0" smtClean="0"/>
              <a:t>** 	Note: 26% federal cost share in housing and heating allowance is average number, varies slightly by state.cc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453636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24" tIns="49461" rIns="98924" bIns="49461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00000"/>
              </a:lnSpc>
            </a:pPr>
            <a:fld id="{EC114AA1-7488-48CB-BB42-AAC2893C6ADB}" type="slidenum">
              <a:rPr lang="de-DE" sz="1300"/>
              <a:pPr algn="r">
                <a:lnSpc>
                  <a:spcPct val="100000"/>
                </a:lnSpc>
              </a:pPr>
              <a:t>22</a:t>
            </a:fld>
            <a:endParaRPr lang="de-DE" sz="13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2659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None/>
            </a:pPr>
            <a:r>
              <a:rPr lang="en-GB" sz="1600" smtClean="0">
                <a:sym typeface="Wingdings" pitchFamily="2" charset="2"/>
              </a:rPr>
              <a:t>Increase of inequality and poverty mainly attributable</a:t>
            </a:r>
          </a:p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smtClean="0">
                <a:sym typeface="Wingdings" pitchFamily="2" charset="2"/>
              </a:rPr>
              <a:t>… to knock-on effects of structural unemployment ( prior to LM reforms), and</a:t>
            </a:r>
          </a:p>
          <a:p>
            <a:pPr marL="917575" lvl="1" indent="-381000" eaLnBrk="1" hangingPunct="1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smtClean="0">
                <a:sym typeface="Wingdings" pitchFamily="2" charset="2"/>
              </a:rPr>
              <a:t>…to generally stalling or falling wages since mid-1990s ( German wage competitiveness!)</a:t>
            </a:r>
          </a:p>
          <a:p>
            <a:r>
              <a:rPr lang="en-US" smtClean="0"/>
              <a:t>Note 1: OECD denotes OECD24</a:t>
            </a:r>
            <a:br>
              <a:rPr lang="en-US" smtClean="0"/>
            </a:br>
            <a:r>
              <a:rPr lang="en-US" smtClean="0"/>
              <a:t>Note 2: 1985 and 2005 denote “mid-80s” and “mid-2000s”</a:t>
            </a:r>
          </a:p>
          <a:p>
            <a:endParaRPr lang="en-US" smtClean="0"/>
          </a:p>
        </p:txBody>
      </p:sp>
      <p:sp>
        <p:nvSpPr>
          <p:cNvPr id="582660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C4FAC986-C2EF-4F44-ADAD-8635F0467FDD}" type="slidenum">
              <a:rPr lang="de-DE" sz="1300"/>
              <a:pPr algn="r">
                <a:lnSpc>
                  <a:spcPct val="100000"/>
                </a:lnSpc>
              </a:pPr>
              <a:t>26</a:t>
            </a:fld>
            <a:endParaRPr lang="de-DE" sz="13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9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8995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mtClean="0">
                <a:sym typeface="Wingdings" pitchFamily="2" charset="2"/>
              </a:rPr>
              <a:t>- FLA proposed 10-point plan in early 2011</a:t>
            </a:r>
            <a:endParaRPr lang="en-US" smtClean="0"/>
          </a:p>
        </p:txBody>
      </p:sp>
      <p:sp>
        <p:nvSpPr>
          <p:cNvPr id="468996" name="Slide Number Placeholder 3"/>
          <p:cNvSpPr txBox="1">
            <a:spLocks noGrp="1"/>
          </p:cNvSpPr>
          <p:nvPr/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916" tIns="49457" rIns="98916" bIns="49457" anchor="b"/>
          <a:lstStyle>
            <a:lvl1pPr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30188" defTabSz="98901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30188" defTabSz="989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C22E7D98-4362-4561-A78A-022905FDD402}" type="slidenum">
              <a:rPr lang="de-DE" sz="1300"/>
              <a:pPr algn="r">
                <a:lnSpc>
                  <a:spcPct val="100000"/>
                </a:lnSpc>
              </a:pPr>
              <a:t>39</a:t>
            </a:fld>
            <a:endParaRPr lang="de-DE" sz="13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43000" y="914400"/>
            <a:ext cx="6705600" cy="4216400"/>
          </a:xfrm>
          <a:solidFill>
            <a:schemeClr val="bg1"/>
          </a:solidFill>
        </p:spPr>
        <p:txBody>
          <a:bodyPr lIns="95781" tIns="540000" rIns="95781" bIns="47892"/>
          <a:lstStyle>
            <a:lvl1pPr marL="285750" defTabSz="957263">
              <a:lnSpc>
                <a:spcPct val="100000"/>
              </a:lnSpc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8A607-FAD9-4F7A-AAB1-2471EF70BDF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762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9A34D-0606-4A22-9D43-CE07580731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315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29450" y="990600"/>
            <a:ext cx="2114550" cy="4876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990600"/>
            <a:ext cx="6191250" cy="4876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A9D1A-6699-4C58-B248-F7615A264B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567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990600"/>
            <a:ext cx="8458200" cy="3571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4850" y="2338388"/>
            <a:ext cx="8439150" cy="352901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2393A8-C600-4083-8FD9-C9E03BECF3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52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8BC0D9-943B-49AD-9DC2-716DF6228C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232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CF324-8AD3-4C28-927A-BD297E7C6C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53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850" y="2338388"/>
            <a:ext cx="4143375" cy="35290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0625" y="2338388"/>
            <a:ext cx="4143375" cy="35290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F743B6-40D5-4CE8-A274-91E1FCDD0E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69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55F3E2-367F-4013-A2EE-469835B09A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566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9FFC42-D47C-4876-A9FB-8226C19C71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622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2DF07-A179-4593-9803-748493CCBD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315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919177-5D50-494C-8CF6-F0B5457927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96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56853B-0D15-4C56-94B9-C7D8F8809C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61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990600"/>
            <a:ext cx="84582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850" y="2338388"/>
            <a:ext cx="8439150" cy="352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Mastertextformat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defRPr sz="1200" b="1">
                <a:solidFill>
                  <a:srgbClr val="C80000"/>
                </a:solidFill>
              </a:defRPr>
            </a:lvl1pPr>
          </a:lstStyle>
          <a:p>
            <a:pPr>
              <a:defRPr/>
            </a:pPr>
            <a:fld id="{15438F4F-B4F4-4CED-9CE6-3B9A3C8DB0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5237" name="Text Box 5"/>
          <p:cNvSpPr txBox="1">
            <a:spLocks noChangeArrowheads="1"/>
          </p:cNvSpPr>
          <p:nvPr userDrawn="1"/>
        </p:nvSpPr>
        <p:spPr bwMode="auto">
          <a:xfrm>
            <a:off x="439738" y="6557963"/>
            <a:ext cx="7356475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800" dirty="0" smtClean="0"/>
              <a:t>Current Challenges in the Joint Delivery of Labor Market Services and Social Assistance in Germany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GB" sz="800" dirty="0"/>
              <a:t>Ulrich </a:t>
            </a:r>
            <a:r>
              <a:rPr lang="en-GB" sz="800" dirty="0" err="1" smtClean="0"/>
              <a:t>Hoerning</a:t>
            </a:r>
            <a:r>
              <a:rPr lang="en-GB" sz="800" dirty="0" smtClean="0"/>
              <a:t> </a:t>
            </a:r>
            <a:r>
              <a:rPr lang="en-GB" sz="800" dirty="0"/>
              <a:t>– </a:t>
            </a:r>
            <a:r>
              <a:rPr lang="en-GB" sz="800" dirty="0" smtClean="0"/>
              <a:t>04-March 2014</a:t>
            </a:r>
            <a:endParaRPr lang="en-GB" sz="8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42900" indent="-341313" algn="l" rtl="0" eaLnBrk="0" fontAlgn="base" hangingPunct="0">
        <a:spcBef>
          <a:spcPct val="50000"/>
        </a:spcBef>
        <a:spcAft>
          <a:spcPct val="0"/>
        </a:spcAft>
        <a:buClr>
          <a:srgbClr val="C4004C"/>
        </a:buClr>
        <a:buFont typeface="Monotype Sorts" pitchFamily="2" charset="2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4175" indent="-381000" algn="l" rtl="0" eaLnBrk="0" fontAlgn="base" hangingPunct="0">
        <a:spcBef>
          <a:spcPct val="40000"/>
        </a:spcBef>
        <a:spcAft>
          <a:spcPct val="0"/>
        </a:spcAft>
        <a:buClr>
          <a:srgbClr val="C80000"/>
        </a:buClr>
        <a:buSzPct val="90000"/>
        <a:buFont typeface="Monotype Sorts" pitchFamily="2" charset="2"/>
        <a:buChar char="n"/>
        <a:defRPr sz="2000">
          <a:solidFill>
            <a:schemeClr val="tx1"/>
          </a:solidFill>
          <a:latin typeface="+mn-lt"/>
        </a:defRPr>
      </a:lvl2pPr>
      <a:lvl3pPr marL="860425" indent="-285750" algn="l" rtl="0" eaLnBrk="0" fontAlgn="base" hangingPunct="0">
        <a:spcBef>
          <a:spcPct val="30000"/>
        </a:spcBef>
        <a:spcAft>
          <a:spcPct val="0"/>
        </a:spcAft>
        <a:buClr>
          <a:srgbClr val="73B4C8"/>
        </a:buClr>
        <a:buSzPct val="90000"/>
        <a:buFont typeface="Monotype Sorts" pitchFamily="2" charset="2"/>
        <a:buChar char="n"/>
        <a:defRPr sz="2400">
          <a:solidFill>
            <a:schemeClr val="tx1"/>
          </a:solidFill>
          <a:latin typeface="+mn-lt"/>
        </a:defRPr>
      </a:lvl3pPr>
      <a:lvl4pPr marL="1235075" indent="-184150" algn="l" rtl="0" eaLnBrk="0" fontAlgn="base" hangingPunct="0">
        <a:spcBef>
          <a:spcPct val="10000"/>
        </a:spcBef>
        <a:spcAft>
          <a:spcPct val="0"/>
        </a:spcAft>
        <a:buClr>
          <a:srgbClr val="73B4C8"/>
        </a:buClr>
        <a:buSzPct val="90000"/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hlink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hlink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hlink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hlink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hlink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4.xml"/><Relationship Id="rId7" Type="http://schemas.openxmlformats.org/officeDocument/2006/relationships/oleObject" Target="../embeddings/oleObject8.bin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7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9.jpe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8.wmf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46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0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11.emf"/><Relationship Id="rId4" Type="http://schemas.openxmlformats.org/officeDocument/2006/relationships/tags" Target="../tags/tag67.xml"/><Relationship Id="rId9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7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7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7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3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79.xml"/><Relationship Id="rId7" Type="http://schemas.openxmlformats.org/officeDocument/2006/relationships/image" Target="../media/image13.jpe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83.xml"/><Relationship Id="rId7" Type="http://schemas.openxmlformats.org/officeDocument/2006/relationships/image" Target="../media/image12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89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88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87.xml"/><Relationship Id="rId9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9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14.emf"/><Relationship Id="rId2" Type="http://schemas.openxmlformats.org/officeDocument/2006/relationships/tags" Target="../tags/tag9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03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02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01.xml"/><Relationship Id="rId9" Type="http://schemas.openxmlformats.org/officeDocument/2006/relationships/notesSlide" Target="../notesSlides/notesSlide6.xml"/><Relationship Id="rId14" Type="http://schemas.openxmlformats.org/officeDocument/2006/relationships/image" Target="../media/image1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6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7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0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6.jpeg"/><Relationship Id="rId2" Type="http://schemas.openxmlformats.org/officeDocument/2006/relationships/tags" Target="../tags/tag10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7.w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9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Relationship Id="rId9" Type="http://schemas.openxmlformats.org/officeDocument/2006/relationships/oleObject" Target="../embeddings/oleObject3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image" Target="../media/image22.wmf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21.wmf"/><Relationship Id="rId2" Type="http://schemas.openxmlformats.org/officeDocument/2006/relationships/tags" Target="../tags/tag12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27.xml"/><Relationship Id="rId11" Type="http://schemas.openxmlformats.org/officeDocument/2006/relationships/image" Target="../media/image20.wmf"/><Relationship Id="rId5" Type="http://schemas.openxmlformats.org/officeDocument/2006/relationships/tags" Target="../tags/tag126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125.xml"/><Relationship Id="rId9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23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3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3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32.vml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7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146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35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36.vml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7" Type="http://schemas.openxmlformats.org/officeDocument/2006/relationships/oleObject" Target="../embeddings/oleObject6.bin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2.xml"/><Relationship Id="rId9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1143000" y="914400"/>
            <a:ext cx="8185150" cy="4216400"/>
          </a:xfrm>
        </p:spPr>
        <p:txBody>
          <a:bodyPr/>
          <a:lstStyle/>
          <a:p>
            <a:pPr eaLnBrk="1" hangingPunct="1"/>
            <a:r>
              <a:rPr lang="en-GB" dirty="0" smtClean="0"/>
              <a:t/>
            </a:r>
            <a:br>
              <a:rPr lang="en-GB" dirty="0" smtClean="0"/>
            </a:br>
            <a:r>
              <a:rPr lang="en-US" i="1" dirty="0"/>
              <a:t>Current Challenges in the Joint Delivery of Labor Market Services and Social Assistance in Germany: Institutions, Services and Programs</a:t>
            </a:r>
            <a:endParaRPr lang="en-GB" dirty="0" smtClean="0"/>
          </a:p>
        </p:txBody>
      </p:sp>
      <p:sp>
        <p:nvSpPr>
          <p:cNvPr id="16386" name="Rectangle 3"/>
          <p:cNvSpPr>
            <a:spLocks noChangeArrowheads="1"/>
          </p:cNvSpPr>
          <p:nvPr/>
        </p:nvSpPr>
        <p:spPr bwMode="gray">
          <a:xfrm>
            <a:off x="1136454" y="3070865"/>
            <a:ext cx="741045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5750" defTabSz="957263"/>
            <a:r>
              <a:rPr lang="en-US" sz="1800" b="1" dirty="0"/>
              <a:t>Western Balkans Activation and Smart Safety Nets </a:t>
            </a:r>
            <a:r>
              <a:rPr lang="en-US" sz="1800" b="1" dirty="0" smtClean="0"/>
              <a:t>Conference</a:t>
            </a:r>
            <a:endParaRPr lang="en-US" sz="1800" b="1" dirty="0"/>
          </a:p>
          <a:p>
            <a:pPr marL="285750" defTabSz="957263"/>
            <a:r>
              <a:rPr lang="en-GB" sz="1800" b="1" dirty="0"/>
              <a:t/>
            </a:r>
            <a:br>
              <a:rPr lang="en-GB" sz="1800" b="1" dirty="0"/>
            </a:br>
            <a:r>
              <a:rPr lang="en-GB" sz="1800" b="1" dirty="0"/>
              <a:t/>
            </a:r>
            <a:br>
              <a:rPr lang="en-GB" sz="1800" b="1" dirty="0"/>
            </a:br>
            <a:r>
              <a:rPr lang="en-GB" sz="1400" b="1" dirty="0"/>
              <a:t>Ulrich </a:t>
            </a:r>
            <a:r>
              <a:rPr lang="en-GB" sz="1400" b="1" dirty="0" err="1" smtClean="0"/>
              <a:t>Hoerning</a:t>
            </a:r>
            <a:r>
              <a:rPr lang="en-GB" sz="1400" b="1" dirty="0"/>
              <a:t/>
            </a:r>
            <a:br>
              <a:rPr lang="en-GB" sz="1400" b="1" dirty="0"/>
            </a:br>
            <a:r>
              <a:rPr lang="en-GB" sz="1400" b="1" i="1" dirty="0" smtClean="0"/>
              <a:t>Senior Social Protection Economist</a:t>
            </a:r>
            <a:r>
              <a:rPr lang="en-GB" sz="1800" b="1" i="1" dirty="0"/>
              <a:t/>
            </a:r>
            <a:br>
              <a:rPr lang="en-GB" sz="1800" b="1" i="1" dirty="0"/>
            </a:br>
            <a:r>
              <a:rPr lang="en-GB" sz="1800" b="1" dirty="0"/>
              <a:t/>
            </a:r>
            <a:br>
              <a:rPr lang="en-GB" sz="1800" b="1" dirty="0"/>
            </a:br>
            <a:endParaRPr lang="en-GB" sz="1800" b="1" dirty="0"/>
          </a:p>
        </p:txBody>
      </p:sp>
      <p:sp>
        <p:nvSpPr>
          <p:cNvPr id="16387" name="Rectangle 4"/>
          <p:cNvSpPr>
            <a:spLocks noChangeArrowheads="1"/>
          </p:cNvSpPr>
          <p:nvPr/>
        </p:nvSpPr>
        <p:spPr bwMode="gray">
          <a:xfrm>
            <a:off x="1150102" y="4918827"/>
            <a:ext cx="46164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5750" defTabSz="957263"/>
            <a:r>
              <a:rPr lang="en-GB" sz="1300" dirty="0" smtClean="0"/>
              <a:t>Vienna, 4</a:t>
            </a:r>
            <a:r>
              <a:rPr lang="en-GB" sz="1300" baseline="30000" dirty="0" smtClean="0"/>
              <a:t>th</a:t>
            </a:r>
            <a:r>
              <a:rPr lang="en-GB" sz="1300" dirty="0" smtClean="0"/>
              <a:t> March 2014</a:t>
            </a:r>
            <a:endParaRPr lang="en-GB" sz="1300" dirty="0"/>
          </a:p>
        </p:txBody>
      </p:sp>
      <p:sp>
        <p:nvSpPr>
          <p:cNvPr id="16388" name="Rectangle 5"/>
          <p:cNvSpPr>
            <a:spLocks noChangeArrowheads="1"/>
          </p:cNvSpPr>
          <p:nvPr/>
        </p:nvSpPr>
        <p:spPr bwMode="auto">
          <a:xfrm>
            <a:off x="7038975" y="6062663"/>
            <a:ext cx="184150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0" hangingPunct="0">
              <a:lnSpc>
                <a:spcPct val="90000"/>
              </a:lnSpc>
            </a:pPr>
            <a:endParaRPr lang="en-GB" sz="1600" b="1"/>
          </a:p>
        </p:txBody>
      </p:sp>
      <p:sp>
        <p:nvSpPr>
          <p:cNvPr id="7" name="TextBox 6"/>
          <p:cNvSpPr txBox="1"/>
          <p:nvPr/>
        </p:nvSpPr>
        <p:spPr>
          <a:xfrm>
            <a:off x="1417659" y="5501606"/>
            <a:ext cx="6248400" cy="515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The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World Bank</a:t>
            </a:r>
          </a:p>
          <a:p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Europe </a:t>
            </a:r>
            <a:r>
              <a:rPr lang="en-US" sz="1600" dirty="0">
                <a:solidFill>
                  <a:schemeClr val="tx1"/>
                </a:solidFill>
                <a:cs typeface="Arial" pitchFamily="34" charset="0"/>
              </a:rPr>
              <a:t>and Central Asia </a:t>
            </a:r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Region</a:t>
            </a:r>
          </a:p>
          <a:p>
            <a:r>
              <a:rPr lang="en-US" sz="1600" dirty="0" smtClean="0">
                <a:solidFill>
                  <a:schemeClr val="tx1"/>
                </a:solidFill>
                <a:cs typeface="Arial" pitchFamily="34" charset="0"/>
              </a:rPr>
              <a:t>Human Development Unit, Social Protection Sector</a:t>
            </a:r>
            <a:endParaRPr lang="en-US" sz="16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8" name="Picture 7" descr="C:\Users\WB252182\Desktop\wbcube-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01395" y="5481295"/>
            <a:ext cx="816264" cy="816264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962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63550" y="8207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Federal Labor Agency was able to quickly scale-up short-shift scheme in 2009 and complement other adjustment channels</a:t>
            </a:r>
          </a:p>
        </p:txBody>
      </p:sp>
      <p:graphicFrame>
        <p:nvGraphicFramePr>
          <p:cNvPr id="42496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1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4967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1768475"/>
            <a:ext cx="3429000" cy="4549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4968" name="Text Box 9"/>
          <p:cNvSpPr txBox="1">
            <a:spLocks noChangeArrowheads="1"/>
          </p:cNvSpPr>
          <p:nvPr/>
        </p:nvSpPr>
        <p:spPr bwMode="auto">
          <a:xfrm>
            <a:off x="2047875" y="1892300"/>
            <a:ext cx="1911350" cy="97472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GB" sz="1600" b="1"/>
              <a:t>Short-shift-scheme Participants (“Kurzarbeiter”)</a:t>
            </a:r>
          </a:p>
        </p:txBody>
      </p:sp>
      <p:sp>
        <p:nvSpPr>
          <p:cNvPr id="424969" name="Text Box 10"/>
          <p:cNvSpPr txBox="1">
            <a:spLocks noChangeArrowheads="1"/>
          </p:cNvSpPr>
          <p:nvPr/>
        </p:nvSpPr>
        <p:spPr bwMode="auto">
          <a:xfrm>
            <a:off x="1676400" y="3705225"/>
            <a:ext cx="1181100" cy="3651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b="1"/>
              <a:t>Total Persons in „Short-Shift“</a:t>
            </a:r>
          </a:p>
        </p:txBody>
      </p:sp>
      <p:sp>
        <p:nvSpPr>
          <p:cNvPr id="424970" name="Text Box 11"/>
          <p:cNvSpPr txBox="1">
            <a:spLocks noChangeArrowheads="1"/>
          </p:cNvSpPr>
          <p:nvPr/>
        </p:nvSpPr>
        <p:spPr bwMode="auto">
          <a:xfrm>
            <a:off x="1544638" y="4541838"/>
            <a:ext cx="1181100" cy="484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b="1"/>
              <a:t>New Additions to „Short-Shift“</a:t>
            </a:r>
          </a:p>
        </p:txBody>
      </p:sp>
      <p:sp>
        <p:nvSpPr>
          <p:cNvPr id="424971" name="Text Box 12"/>
          <p:cNvSpPr txBox="1">
            <a:spLocks noChangeArrowheads="1"/>
          </p:cNvSpPr>
          <p:nvPr/>
        </p:nvSpPr>
        <p:spPr bwMode="auto">
          <a:xfrm>
            <a:off x="679450" y="5583238"/>
            <a:ext cx="3149600" cy="717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>
            <a:lvl1pPr marL="447675" indent="-447675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>
                <a:solidFill>
                  <a:srgbClr val="000000"/>
                </a:solidFill>
              </a:rPr>
              <a:t>Source: Federal Labour Agency (BA)</a:t>
            </a:r>
          </a:p>
        </p:txBody>
      </p:sp>
      <p:sp>
        <p:nvSpPr>
          <p:cNvPr id="424972" name="Text Box 13"/>
          <p:cNvSpPr txBox="1">
            <a:spLocks noChangeArrowheads="1"/>
          </p:cNvSpPr>
          <p:nvPr/>
        </p:nvSpPr>
        <p:spPr bwMode="auto">
          <a:xfrm>
            <a:off x="633413" y="1816100"/>
            <a:ext cx="1181100" cy="8096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b="1"/>
              <a:t>„Short-Shift“ in Germany </a:t>
            </a:r>
            <a:br>
              <a:rPr lang="en-GB" b="1"/>
            </a:br>
            <a:r>
              <a:rPr lang="en-GB" b="1"/>
              <a:t>2005-2010</a:t>
            </a:r>
          </a:p>
          <a:p>
            <a:pPr>
              <a:spcBef>
                <a:spcPct val="50000"/>
              </a:spcBef>
            </a:pPr>
            <a:r>
              <a:rPr lang="en-GB" b="1"/>
              <a:t>(thousands)</a:t>
            </a:r>
          </a:p>
        </p:txBody>
      </p:sp>
      <p:sp>
        <p:nvSpPr>
          <p:cNvPr id="424973" name="Rectangle 14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22A9A1F-6967-478D-A2E9-0AEB2DF7D0B4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0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42497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98938" y="1768475"/>
            <a:ext cx="5129212" cy="453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  <a:tabLst>
                <a:tab pos="1079500" algn="l"/>
              </a:tabLst>
            </a:pPr>
            <a:r>
              <a:rPr lang="en-GB" sz="1600">
                <a:sym typeface="Wingdings" pitchFamily="2" charset="2"/>
              </a:rPr>
              <a:t>Short-shift program has been in place since 1950s, wide-spread use in East Germany in 1990s, by 2008 “an almost forgotten instrument”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  <a:tabLst>
                <a:tab pos="1079500" algn="l"/>
              </a:tabLst>
            </a:pPr>
            <a:r>
              <a:rPr lang="en-GB" sz="1600">
                <a:sym typeface="Wingdings" pitchFamily="2" charset="2"/>
              </a:rPr>
              <a:t>During crisis, ease of application process &amp; active outreach to employers, subsidization of social security contributions and extension of eligibility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  <a:tabLst>
                <a:tab pos="1079500" algn="l"/>
              </a:tabLst>
            </a:pPr>
            <a:r>
              <a:rPr lang="en-GB" sz="1600">
                <a:sym typeface="Wingdings" pitchFamily="2" charset="2"/>
              </a:rPr>
              <a:t>Short-shift scheme &gt; €10bn in 2008-2010 from FLA (additional cost borne by businesses)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  <a:tabLst>
                <a:tab pos="1079500" algn="l"/>
              </a:tabLst>
            </a:pPr>
            <a:r>
              <a:rPr lang="en-GB" sz="1600">
                <a:sym typeface="Wingdings" pitchFamily="2" charset="2"/>
              </a:rPr>
              <a:t>Wide-spread use of work-hour accounts </a:t>
            </a:r>
            <a:br>
              <a:rPr lang="en-GB" sz="1600">
                <a:sym typeface="Wingdings" pitchFamily="2" charset="2"/>
              </a:rPr>
            </a:br>
            <a:r>
              <a:rPr lang="en-GB" sz="1600">
                <a:sym typeface="Wingdings" pitchFamily="2" charset="2"/>
              </a:rPr>
              <a:t>(available to 51% of German workers)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  <a:tabLst>
                <a:tab pos="1079500" algn="l"/>
              </a:tabLst>
            </a:pPr>
            <a:r>
              <a:rPr lang="en-GB" sz="1600">
                <a:sym typeface="Wingdings" pitchFamily="2" charset="2"/>
              </a:rPr>
              <a:t>Despite the headline-role of short-shift-scheme, intra-firm adjustment levers played a greater role in the 2008-2009 crisis (amount of hours reduced):</a:t>
            </a:r>
            <a:br>
              <a:rPr lang="en-GB" sz="1600">
                <a:sym typeface="Wingdings" pitchFamily="2" charset="2"/>
              </a:rPr>
            </a:br>
            <a:r>
              <a:rPr lang="en-GB" sz="1600">
                <a:sym typeface="Symbol" pitchFamily="18" charset="2"/>
              </a:rPr>
              <a:t> </a:t>
            </a:r>
            <a:r>
              <a:rPr lang="en-GB" sz="1600">
                <a:sym typeface="Wingdings" pitchFamily="2" charset="2"/>
              </a:rPr>
              <a:t>25% 	short-shift scheme</a:t>
            </a:r>
            <a:br>
              <a:rPr lang="en-GB" sz="1600">
                <a:sym typeface="Wingdings" pitchFamily="2" charset="2"/>
              </a:rPr>
            </a:br>
            <a:r>
              <a:rPr lang="en-GB" sz="1600">
                <a:sym typeface="Symbol" pitchFamily="18" charset="2"/>
              </a:rPr>
              <a:t> 40 % 	work hour accounts and reduced overtime</a:t>
            </a:r>
            <a:r>
              <a:rPr lang="en-GB" sz="1600">
                <a:sym typeface="Wingdings" pitchFamily="2" charset="2"/>
              </a:rPr>
              <a:t/>
            </a:r>
            <a:br>
              <a:rPr lang="en-GB" sz="1600">
                <a:sym typeface="Wingdings" pitchFamily="2" charset="2"/>
              </a:rPr>
            </a:br>
            <a:r>
              <a:rPr lang="en-GB" sz="1600">
                <a:sym typeface="Symbol" pitchFamily="18" charset="2"/>
              </a:rPr>
              <a:t> </a:t>
            </a:r>
            <a:r>
              <a:rPr lang="en-GB" sz="1600">
                <a:sym typeface="Wingdings" pitchFamily="2" charset="2"/>
              </a:rPr>
              <a:t>40% 	employer-initiated work-reduction</a:t>
            </a:r>
          </a:p>
        </p:txBody>
      </p:sp>
      <p:sp>
        <p:nvSpPr>
          <p:cNvPr id="424980" name="Text Box 12"/>
          <p:cNvSpPr txBox="1">
            <a:spLocks noChangeArrowheads="1"/>
          </p:cNvSpPr>
          <p:nvPr/>
        </p:nvSpPr>
        <p:spPr bwMode="auto">
          <a:xfrm>
            <a:off x="4205288" y="6137275"/>
            <a:ext cx="5122862" cy="269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>
            <a:lvl1pPr marL="447675" indent="-447675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>
                <a:solidFill>
                  <a:srgbClr val="000000"/>
                </a:solidFill>
              </a:rPr>
              <a:t>Note: Survey responses allowed for overlapping categories, answers add to &gt; 100%</a:t>
            </a:r>
          </a:p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>
                <a:solidFill>
                  <a:srgbClr val="000000"/>
                </a:solidFill>
              </a:rPr>
              <a:t>Source: EU 2011 / IAB 2009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1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8" y="8207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Despite all-time labour force participation high, long-term unemployment and low-paid jobs feed into income inequality</a:t>
            </a:r>
          </a:p>
        </p:txBody>
      </p:sp>
      <p:graphicFrame>
        <p:nvGraphicFramePr>
          <p:cNvPr id="42701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5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701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6250" y="1643063"/>
            <a:ext cx="5359400" cy="467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Of a total population of 82m, 41m were participating in the labour force in Q2/2011. Highest post WWII absolute number. Amongst other factors …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Improved matching / activation via reforms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Improved Labour Force Participation of 55+ and women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7.3m “Minijobs” (</a:t>
            </a:r>
            <a:r>
              <a:rPr lang="en-GB" sz="1700">
                <a:cs typeface="Arial" charset="0"/>
                <a:sym typeface="Wingdings" pitchFamily="2" charset="2"/>
              </a:rPr>
              <a:t>≤400€)</a:t>
            </a:r>
            <a:r>
              <a:rPr lang="en-GB" sz="1700">
                <a:sym typeface="Wingdings" pitchFamily="2" charset="2"/>
              </a:rPr>
              <a:t> in labour force*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Increase of inequality and poverty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Integration difficulties of long-term unemployed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Of 1.17m labour market entrants from Unemployment assistance (UB II) benefit in 2008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&gt; 50% entered jobs with in-work benefits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>
                <a:sym typeface="Wingdings" pitchFamily="2" charset="2"/>
              </a:rPr>
              <a:t>13% returned to benefit within 6 months</a:t>
            </a:r>
          </a:p>
        </p:txBody>
      </p:sp>
      <p:sp>
        <p:nvSpPr>
          <p:cNvPr id="427013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02586DCA-D582-45A2-9672-1AD30F8C2A06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1</a:t>
            </a:fld>
            <a:endParaRPr lang="de-DE" sz="1200" b="1">
              <a:solidFill>
                <a:srgbClr val="C80000"/>
              </a:solidFill>
            </a:endParaRPr>
          </a:p>
        </p:txBody>
      </p:sp>
      <p:pic>
        <p:nvPicPr>
          <p:cNvPr id="42701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712913"/>
            <a:ext cx="3308350" cy="269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7015" name="Rectangle 7"/>
          <p:cNvSpPr>
            <a:spLocks noChangeArrowheads="1"/>
          </p:cNvSpPr>
          <p:nvPr/>
        </p:nvSpPr>
        <p:spPr bwMode="auto">
          <a:xfrm>
            <a:off x="6037263" y="1751013"/>
            <a:ext cx="3290887" cy="39243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427016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16625" y="4249738"/>
            <a:ext cx="3311525" cy="115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>
                <a:sym typeface="Wingdings" pitchFamily="2" charset="2"/>
              </a:rPr>
              <a:t>20002005: strongest increase of inequality in OECD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>
                <a:sym typeface="Wingdings" pitchFamily="2" charset="2"/>
              </a:rPr>
              <a:t>Gini Germany (19852005: </a:t>
            </a:r>
            <a:br>
              <a:rPr lang="en-GB" sz="1600">
                <a:sym typeface="Wingdings" pitchFamily="2" charset="2"/>
              </a:rPr>
            </a:br>
            <a:r>
              <a:rPr lang="en-GB" sz="1600">
                <a:sym typeface="Wingdings" pitchFamily="2" charset="2"/>
              </a:rPr>
              <a:t>0.257  0.298)</a:t>
            </a:r>
          </a:p>
        </p:txBody>
      </p:sp>
      <p:sp>
        <p:nvSpPr>
          <p:cNvPr id="427017" name="Text Box 9"/>
          <p:cNvSpPr txBox="1">
            <a:spLocks noChangeArrowheads="1"/>
          </p:cNvSpPr>
          <p:nvPr/>
        </p:nvSpPr>
        <p:spPr bwMode="gray">
          <a:xfrm>
            <a:off x="6024563" y="5394325"/>
            <a:ext cx="2890837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800"/>
              <a:t>Source: OECD (2008) </a:t>
            </a:r>
            <a:br>
              <a:rPr lang="en-US" sz="800"/>
            </a:br>
            <a:endParaRPr lang="en-US" sz="800"/>
          </a:p>
        </p:txBody>
      </p:sp>
      <p:sp>
        <p:nvSpPr>
          <p:cNvPr id="427018" name="Text Box 9"/>
          <p:cNvSpPr txBox="1">
            <a:spLocks noChangeArrowheads="1"/>
          </p:cNvSpPr>
          <p:nvPr/>
        </p:nvSpPr>
        <p:spPr bwMode="gray">
          <a:xfrm>
            <a:off x="476250" y="6313488"/>
            <a:ext cx="4983163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800"/>
              <a:t>* IAB 2012: Monthly earnings below 400€, limited taxes and social insurance contributions paid, approx. 5m Minijob only, approx 2m combination of full employment with Minijob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325438" y="2194385"/>
            <a:ext cx="9367837" cy="403225"/>
          </a:xfrm>
          <a:prstGeom prst="rect">
            <a:avLst/>
          </a:prstGeom>
          <a:solidFill>
            <a:srgbClr val="EAEAEA"/>
          </a:solidFill>
          <a:ln w="381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b="1"/>
          </a:p>
        </p:txBody>
      </p:sp>
      <p:sp>
        <p:nvSpPr>
          <p:cNvPr id="18944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438" y="1652588"/>
            <a:ext cx="9109075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abor-market </a:t>
            </a:r>
            <a:r>
              <a:rPr lang="en-GB" sz="1800" dirty="0"/>
              <a:t>and reforms in </a:t>
            </a:r>
            <a:r>
              <a:rPr lang="en-GB" sz="1800" dirty="0" smtClean="0"/>
              <a:t>Germany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b="1" dirty="0" smtClean="0"/>
              <a:t>All together now: governance of </a:t>
            </a:r>
            <a:r>
              <a:rPr lang="en-GB" sz="1800" b="1" dirty="0" err="1" smtClean="0"/>
              <a:t>labor</a:t>
            </a:r>
            <a:r>
              <a:rPr lang="en-GB" sz="1800" b="1" dirty="0" smtClean="0"/>
              <a:t> market and social inclusion programs</a:t>
            </a:r>
            <a:endParaRPr lang="en-GB" sz="1800" b="1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inkage </a:t>
            </a:r>
            <a:r>
              <a:rPr lang="en-GB" sz="1800" dirty="0"/>
              <a:t>to </a:t>
            </a:r>
            <a:r>
              <a:rPr lang="en-GB" sz="1800" dirty="0" smtClean="0"/>
              <a:t>social </a:t>
            </a:r>
            <a:r>
              <a:rPr lang="en-GB" sz="1800" dirty="0"/>
              <a:t>a</a:t>
            </a:r>
            <a:r>
              <a:rPr lang="en-GB" sz="1800" dirty="0" smtClean="0"/>
              <a:t>ssistance</a:t>
            </a:r>
            <a:r>
              <a:rPr lang="en-GB" sz="1800" dirty="0"/>
              <a:t>: joint delivery of </a:t>
            </a:r>
            <a:r>
              <a:rPr lang="en-GB" sz="1800" dirty="0" smtClean="0"/>
              <a:t>income support with </a:t>
            </a:r>
            <a:r>
              <a:rPr lang="en-GB" sz="1800" dirty="0"/>
              <a:t>municipaliti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/>
              <a:t>Beyond payments: labour market services and programm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Current developments </a:t>
            </a:r>
            <a:r>
              <a:rPr lang="en-GB" sz="1800" dirty="0"/>
              <a:t>and </a:t>
            </a:r>
            <a:r>
              <a:rPr lang="en-GB" sz="1800" dirty="0" smtClean="0"/>
              <a:t>challenges</a:t>
            </a:r>
            <a:endParaRPr lang="en-GB" sz="1800" dirty="0"/>
          </a:p>
        </p:txBody>
      </p:sp>
      <p:sp>
        <p:nvSpPr>
          <p:cNvPr id="1894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/>
              <a:t>Current Challenges in the Joint Delivery of Labor Market Services and Social Assistance in </a:t>
            </a:r>
            <a:r>
              <a:rPr lang="en-US" dirty="0" smtClean="0"/>
              <a:t>Germany</a:t>
            </a:r>
            <a:endParaRPr lang="en-GB" dirty="0" smtClean="0"/>
          </a:p>
        </p:txBody>
      </p:sp>
      <p:graphicFrame>
        <p:nvGraphicFramePr>
          <p:cNvPr id="18944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4A1AF54-4F23-4F38-AA52-64613277B7D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2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322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17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812800"/>
            <a:ext cx="8458200" cy="601663"/>
          </a:xfrm>
        </p:spPr>
        <p:txBody>
          <a:bodyPr anchor="b"/>
          <a:lstStyle/>
          <a:p>
            <a:pPr eaLnBrk="1" hangingPunct="1"/>
            <a:r>
              <a:rPr lang="en-GB" smtClean="0"/>
              <a:t>Policy making and agency steering: </a:t>
            </a:r>
            <a:br>
              <a:rPr lang="en-GB" smtClean="0"/>
            </a:br>
            <a:r>
              <a:rPr lang="en-GB" smtClean="0"/>
              <a:t>Federal Ministry of Labour and Social Affairs</a:t>
            </a:r>
          </a:p>
        </p:txBody>
      </p:sp>
      <p:graphicFrame>
        <p:nvGraphicFramePr>
          <p:cNvPr id="51917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51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9172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6A47A2CF-396F-4CB6-B407-2EE6E63A6F6D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3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19178" name="Rectangle 4"/>
          <p:cNvSpPr>
            <a:spLocks noChangeArrowheads="1"/>
          </p:cNvSpPr>
          <p:nvPr/>
        </p:nvSpPr>
        <p:spPr bwMode="auto">
          <a:xfrm>
            <a:off x="4202113" y="1751013"/>
            <a:ext cx="5126037" cy="45497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GB"/>
          </a:p>
        </p:txBody>
      </p:sp>
      <p:sp>
        <p:nvSpPr>
          <p:cNvPr id="51918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62175" y="1751013"/>
            <a:ext cx="1893888" cy="1106487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endParaRPr lang="en-GB" sz="1600"/>
          </a:p>
        </p:txBody>
      </p:sp>
      <p:sp>
        <p:nvSpPr>
          <p:cNvPr id="519182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150" y="3032125"/>
            <a:ext cx="3473450" cy="509588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Mission</a:t>
            </a:r>
          </a:p>
        </p:txBody>
      </p:sp>
      <p:sp>
        <p:nvSpPr>
          <p:cNvPr id="519183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5150" y="3529013"/>
            <a:ext cx="3473450" cy="1835150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r>
              <a:rPr lang="en-GB" sz="1400"/>
              <a:t>Responsible for policy and legislation in labour market policy, labour law, occupational safety and health, pensions, social security at large, disabilities.</a:t>
            </a:r>
          </a:p>
          <a:p>
            <a:pPr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r>
              <a:rPr lang="en-GB" sz="1400"/>
              <a:t>Steering of agencies: </a:t>
            </a:r>
            <a:r>
              <a:rPr lang="en-GB" sz="1400" b="1" u="sng"/>
              <a:t>Federal Labour Agency</a:t>
            </a:r>
            <a:r>
              <a:rPr lang="en-GB" sz="1400"/>
              <a:t>, Federal Social Court, Federal Labour Court, Federal Insurance Office, Federal Institute for OSH</a:t>
            </a:r>
          </a:p>
        </p:txBody>
      </p:sp>
      <p:sp>
        <p:nvSpPr>
          <p:cNvPr id="519179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5150" y="1751013"/>
            <a:ext cx="1597025" cy="1104900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 dirty="0">
                <a:solidFill>
                  <a:schemeClr val="bg1"/>
                </a:solidFill>
              </a:rPr>
              <a:t>Minister: </a:t>
            </a:r>
            <a:br>
              <a:rPr lang="en-GB" sz="1600" b="1" dirty="0">
                <a:solidFill>
                  <a:schemeClr val="bg1"/>
                </a:solidFill>
              </a:rPr>
            </a:br>
            <a:r>
              <a:rPr lang="en-GB" sz="1600" b="1" dirty="0" smtClean="0">
                <a:solidFill>
                  <a:schemeClr val="bg1"/>
                </a:solidFill>
              </a:rPr>
              <a:t>Andrea </a:t>
            </a:r>
            <a:r>
              <a:rPr lang="en-GB" sz="1600" b="1" dirty="0" err="1" smtClean="0">
                <a:solidFill>
                  <a:schemeClr val="bg1"/>
                </a:solidFill>
              </a:rPr>
              <a:t>Nahle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519185" name="Rectangle 17"/>
          <p:cNvSpPr>
            <a:spLocks noChangeArrowheads="1"/>
          </p:cNvSpPr>
          <p:nvPr/>
        </p:nvSpPr>
        <p:spPr bwMode="auto">
          <a:xfrm>
            <a:off x="6067425" y="1928813"/>
            <a:ext cx="1377950" cy="4016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200" b="1"/>
              <a:t>Minister</a:t>
            </a:r>
          </a:p>
        </p:txBody>
      </p:sp>
      <p:sp>
        <p:nvSpPr>
          <p:cNvPr id="519186" name="Rectangle 18"/>
          <p:cNvSpPr>
            <a:spLocks noChangeArrowheads="1"/>
          </p:cNvSpPr>
          <p:nvPr/>
        </p:nvSpPr>
        <p:spPr bwMode="auto">
          <a:xfrm>
            <a:off x="4327525" y="2236788"/>
            <a:ext cx="1377950" cy="4016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200" b="1"/>
              <a:t>DG Political Coordination</a:t>
            </a:r>
          </a:p>
        </p:txBody>
      </p:sp>
      <p:sp>
        <p:nvSpPr>
          <p:cNvPr id="519187" name="Rectangle 19"/>
          <p:cNvSpPr>
            <a:spLocks noChangeArrowheads="1"/>
          </p:cNvSpPr>
          <p:nvPr/>
        </p:nvSpPr>
        <p:spPr bwMode="auto">
          <a:xfrm>
            <a:off x="5948363" y="2535238"/>
            <a:ext cx="1614487" cy="6905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200" b="1"/>
              <a:t>2 Political- / </a:t>
            </a:r>
            <a:br>
              <a:rPr lang="en-GB" sz="1200" b="1"/>
            </a:br>
            <a:r>
              <a:rPr lang="en-GB" sz="1200" b="1"/>
              <a:t>2 Administrative- State Secretaries</a:t>
            </a:r>
          </a:p>
        </p:txBody>
      </p:sp>
      <p:sp>
        <p:nvSpPr>
          <p:cNvPr id="519188" name="Rectangle 20"/>
          <p:cNvSpPr>
            <a:spLocks noChangeArrowheads="1"/>
          </p:cNvSpPr>
          <p:nvPr/>
        </p:nvSpPr>
        <p:spPr bwMode="auto">
          <a:xfrm>
            <a:off x="4268788" y="3549650"/>
            <a:ext cx="1114425" cy="895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Central Services </a:t>
            </a:r>
            <a:br>
              <a:rPr lang="en-GB" sz="1200" b="1"/>
            </a:br>
            <a:r>
              <a:rPr lang="en-GB" sz="1100"/>
              <a:t>(HR, Budget, Organisation, ESF)</a:t>
            </a:r>
          </a:p>
        </p:txBody>
      </p:sp>
      <p:sp>
        <p:nvSpPr>
          <p:cNvPr id="519189" name="Rectangle 21"/>
          <p:cNvSpPr>
            <a:spLocks noChangeArrowheads="1"/>
          </p:cNvSpPr>
          <p:nvPr/>
        </p:nvSpPr>
        <p:spPr bwMode="auto">
          <a:xfrm>
            <a:off x="4918075" y="4756150"/>
            <a:ext cx="1114425" cy="895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I </a:t>
            </a:r>
            <a:br>
              <a:rPr lang="en-GB" sz="1200" b="1"/>
            </a:br>
            <a:r>
              <a:rPr lang="en-GB" sz="1100"/>
              <a:t>(Basic Issues of the Social State)</a:t>
            </a:r>
          </a:p>
        </p:txBody>
      </p:sp>
      <p:sp>
        <p:nvSpPr>
          <p:cNvPr id="519190" name="Rectangle 22"/>
          <p:cNvSpPr>
            <a:spLocks noChangeArrowheads="1"/>
          </p:cNvSpPr>
          <p:nvPr/>
        </p:nvSpPr>
        <p:spPr bwMode="auto">
          <a:xfrm>
            <a:off x="5562600" y="3549650"/>
            <a:ext cx="1114425" cy="895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II</a:t>
            </a:r>
            <a:br>
              <a:rPr lang="en-GB" sz="1200" b="1"/>
            </a:br>
            <a:r>
              <a:rPr lang="en-GB" sz="1100"/>
              <a:t>(LM Policy, UnE-Insu-rance, SA for Jobseekers)</a:t>
            </a:r>
          </a:p>
        </p:txBody>
      </p:sp>
      <p:sp>
        <p:nvSpPr>
          <p:cNvPr id="519191" name="Rectangle 23"/>
          <p:cNvSpPr>
            <a:spLocks noChangeArrowheads="1"/>
          </p:cNvSpPr>
          <p:nvPr/>
        </p:nvSpPr>
        <p:spPr bwMode="auto">
          <a:xfrm>
            <a:off x="6196013" y="4756150"/>
            <a:ext cx="1114425" cy="895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III</a:t>
            </a:r>
            <a:br>
              <a:rPr lang="en-GB" sz="1200" b="1"/>
            </a:br>
            <a:r>
              <a:rPr lang="en-GB" sz="1100"/>
              <a:t>(Labour Law, OSH)</a:t>
            </a:r>
          </a:p>
        </p:txBody>
      </p:sp>
      <p:sp>
        <p:nvSpPr>
          <p:cNvPr id="519192" name="Rectangle 24"/>
          <p:cNvSpPr>
            <a:spLocks noChangeArrowheads="1"/>
          </p:cNvSpPr>
          <p:nvPr/>
        </p:nvSpPr>
        <p:spPr bwMode="auto">
          <a:xfrm>
            <a:off x="6856413" y="3549650"/>
            <a:ext cx="1114425" cy="895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IV</a:t>
            </a:r>
          </a:p>
          <a:p>
            <a:pPr algn="ctr"/>
            <a:r>
              <a:rPr lang="en-GB" sz="1100"/>
              <a:t>(Social Insurance, Pensions, SA in general)</a:t>
            </a:r>
            <a:endParaRPr lang="en-GB" sz="1200" b="1"/>
          </a:p>
        </p:txBody>
      </p:sp>
      <p:sp>
        <p:nvSpPr>
          <p:cNvPr id="519193" name="Rectangle 25"/>
          <p:cNvSpPr>
            <a:spLocks noChangeArrowheads="1"/>
          </p:cNvSpPr>
          <p:nvPr/>
        </p:nvSpPr>
        <p:spPr bwMode="auto">
          <a:xfrm>
            <a:off x="7489825" y="4756150"/>
            <a:ext cx="1114425" cy="895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V</a:t>
            </a:r>
            <a:br>
              <a:rPr lang="en-GB" sz="1200" b="1"/>
            </a:br>
            <a:r>
              <a:rPr lang="en-GB" sz="1100"/>
              <a:t>(Disabilities, Rehabilitation)</a:t>
            </a:r>
          </a:p>
        </p:txBody>
      </p:sp>
      <p:sp>
        <p:nvSpPr>
          <p:cNvPr id="519194" name="Rectangle 26"/>
          <p:cNvSpPr>
            <a:spLocks noChangeArrowheads="1"/>
          </p:cNvSpPr>
          <p:nvPr/>
        </p:nvSpPr>
        <p:spPr bwMode="auto">
          <a:xfrm>
            <a:off x="8150225" y="3549650"/>
            <a:ext cx="1114425" cy="895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200" b="1"/>
              <a:t>DG VI</a:t>
            </a:r>
            <a:br>
              <a:rPr lang="en-GB" sz="1200" b="1"/>
            </a:br>
            <a:r>
              <a:rPr lang="en-GB" sz="1100"/>
              <a:t>(European and International Affairs)</a:t>
            </a:r>
          </a:p>
        </p:txBody>
      </p:sp>
      <p:sp>
        <p:nvSpPr>
          <p:cNvPr id="519196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62175" y="5456238"/>
            <a:ext cx="1893888" cy="84137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r>
              <a:rPr lang="en-GB" sz="1400" b="1">
                <a:sym typeface="Symbol" pitchFamily="18" charset="2"/>
              </a:rPr>
              <a:t> </a:t>
            </a:r>
            <a:r>
              <a:rPr lang="en-GB" sz="1400" b="1"/>
              <a:t>€ 130bn p.a</a:t>
            </a:r>
            <a:r>
              <a:rPr lang="en-GB" sz="1400"/>
              <a:t>. </a:t>
            </a:r>
            <a:br>
              <a:rPr lang="en-GB" sz="1400"/>
            </a:br>
            <a:r>
              <a:rPr lang="en-GB" sz="1200"/>
              <a:t>(</a:t>
            </a:r>
            <a:r>
              <a:rPr lang="en-GB" sz="1200">
                <a:sym typeface="Symbol" pitchFamily="18" charset="2"/>
              </a:rPr>
              <a:t></a:t>
            </a:r>
            <a:r>
              <a:rPr lang="en-GB" sz="1200"/>
              <a:t> 40% of fed. budget)</a:t>
            </a:r>
          </a:p>
          <a:p>
            <a:pPr algn="ctr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r>
              <a:rPr lang="en-GB" sz="1400" b="1">
                <a:sym typeface="Symbol" pitchFamily="18" charset="2"/>
              </a:rPr>
              <a:t></a:t>
            </a:r>
            <a:r>
              <a:rPr lang="en-GB" sz="1400" b="1"/>
              <a:t>1.000 Staff</a:t>
            </a:r>
          </a:p>
        </p:txBody>
      </p:sp>
      <p:sp>
        <p:nvSpPr>
          <p:cNvPr id="519197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65150" y="5456238"/>
            <a:ext cx="1597025" cy="844550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Budget and Core Staff</a:t>
            </a:r>
          </a:p>
        </p:txBody>
      </p:sp>
      <p:pic>
        <p:nvPicPr>
          <p:cNvPr id="519199" name="Picture 3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3600" y="0"/>
            <a:ext cx="1422400" cy="8080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19200" name="AutoShape 32"/>
          <p:cNvCxnSpPr>
            <a:cxnSpLocks noChangeShapeType="1"/>
            <a:stCxn id="519185" idx="2"/>
            <a:endCxn id="519187" idx="0"/>
          </p:cNvCxnSpPr>
          <p:nvPr/>
        </p:nvCxnSpPr>
        <p:spPr bwMode="auto">
          <a:xfrm rot="5400000">
            <a:off x="6654006" y="2432844"/>
            <a:ext cx="20478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201" name="AutoShape 33"/>
          <p:cNvCxnSpPr>
            <a:cxnSpLocks noChangeShapeType="1"/>
            <a:stCxn id="519186" idx="3"/>
            <a:endCxn id="519185" idx="2"/>
          </p:cNvCxnSpPr>
          <p:nvPr/>
        </p:nvCxnSpPr>
        <p:spPr bwMode="auto">
          <a:xfrm flipV="1">
            <a:off x="5705475" y="2330450"/>
            <a:ext cx="1050925" cy="107950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202" name="AutoShape 34"/>
          <p:cNvCxnSpPr>
            <a:cxnSpLocks noChangeShapeType="1"/>
            <a:stCxn id="519187" idx="2"/>
            <a:endCxn id="519188" idx="0"/>
          </p:cNvCxnSpPr>
          <p:nvPr/>
        </p:nvCxnSpPr>
        <p:spPr bwMode="auto">
          <a:xfrm rot="5400000">
            <a:off x="5629275" y="2422525"/>
            <a:ext cx="323850" cy="1930400"/>
          </a:xfrm>
          <a:prstGeom prst="bentConnector3">
            <a:avLst>
              <a:gd name="adj1" fmla="val 4950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203" name="AutoShape 35"/>
          <p:cNvCxnSpPr>
            <a:cxnSpLocks noChangeShapeType="1"/>
            <a:stCxn id="519187" idx="2"/>
            <a:endCxn id="519190" idx="0"/>
          </p:cNvCxnSpPr>
          <p:nvPr/>
        </p:nvCxnSpPr>
        <p:spPr bwMode="auto">
          <a:xfrm rot="5400000">
            <a:off x="6276182" y="3069431"/>
            <a:ext cx="323850" cy="636587"/>
          </a:xfrm>
          <a:prstGeom prst="bentConnector3">
            <a:avLst>
              <a:gd name="adj1" fmla="val 4950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204" name="AutoShape 36"/>
          <p:cNvCxnSpPr>
            <a:cxnSpLocks noChangeShapeType="1"/>
            <a:stCxn id="519187" idx="2"/>
            <a:endCxn id="519192" idx="0"/>
          </p:cNvCxnSpPr>
          <p:nvPr/>
        </p:nvCxnSpPr>
        <p:spPr bwMode="auto">
          <a:xfrm rot="16200000" flipH="1">
            <a:off x="6923088" y="3059112"/>
            <a:ext cx="323850" cy="657225"/>
          </a:xfrm>
          <a:prstGeom prst="bentConnector3">
            <a:avLst>
              <a:gd name="adj1" fmla="val 4950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205" name="AutoShape 37"/>
          <p:cNvCxnSpPr>
            <a:cxnSpLocks noChangeShapeType="1"/>
            <a:stCxn id="519187" idx="2"/>
            <a:endCxn id="519194" idx="0"/>
          </p:cNvCxnSpPr>
          <p:nvPr/>
        </p:nvCxnSpPr>
        <p:spPr bwMode="auto">
          <a:xfrm rot="16200000" flipH="1">
            <a:off x="7569994" y="2412206"/>
            <a:ext cx="323850" cy="1951038"/>
          </a:xfrm>
          <a:prstGeom prst="bentConnector3">
            <a:avLst>
              <a:gd name="adj1" fmla="val 4950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9207" name="Rectangle 39"/>
          <p:cNvSpPr>
            <a:spLocks noChangeArrowheads="1"/>
          </p:cNvSpPr>
          <p:nvPr/>
        </p:nvSpPr>
        <p:spPr bwMode="auto">
          <a:xfrm>
            <a:off x="5376863" y="3205163"/>
            <a:ext cx="190500" cy="18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19208" name="AutoShape 40"/>
          <p:cNvCxnSpPr>
            <a:cxnSpLocks noChangeShapeType="1"/>
            <a:stCxn id="519207" idx="2"/>
            <a:endCxn id="519189" idx="0"/>
          </p:cNvCxnSpPr>
          <p:nvPr/>
        </p:nvCxnSpPr>
        <p:spPr bwMode="auto">
          <a:xfrm>
            <a:off x="5472113" y="3390900"/>
            <a:ext cx="3175" cy="13652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9209" name="Rectangle 41"/>
          <p:cNvSpPr>
            <a:spLocks noChangeArrowheads="1"/>
          </p:cNvSpPr>
          <p:nvPr/>
        </p:nvSpPr>
        <p:spPr bwMode="auto">
          <a:xfrm>
            <a:off x="6661150" y="3203575"/>
            <a:ext cx="190500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19210" name="AutoShape 42"/>
          <p:cNvCxnSpPr>
            <a:cxnSpLocks noChangeShapeType="1"/>
            <a:stCxn id="519209" idx="2"/>
            <a:endCxn id="519191" idx="0"/>
          </p:cNvCxnSpPr>
          <p:nvPr/>
        </p:nvCxnSpPr>
        <p:spPr bwMode="auto">
          <a:xfrm flipH="1">
            <a:off x="6753225" y="3389313"/>
            <a:ext cx="3175" cy="13668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9211" name="Rectangle 43"/>
          <p:cNvSpPr>
            <a:spLocks noChangeArrowheads="1"/>
          </p:cNvSpPr>
          <p:nvPr/>
        </p:nvSpPr>
        <p:spPr bwMode="auto">
          <a:xfrm>
            <a:off x="7956550" y="3200400"/>
            <a:ext cx="190500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19212" name="AutoShape 44"/>
          <p:cNvCxnSpPr>
            <a:cxnSpLocks noChangeShapeType="1"/>
            <a:stCxn id="519211" idx="2"/>
            <a:endCxn id="519193" idx="0"/>
          </p:cNvCxnSpPr>
          <p:nvPr/>
        </p:nvCxnSpPr>
        <p:spPr bwMode="auto">
          <a:xfrm flipH="1">
            <a:off x="8047038" y="3386138"/>
            <a:ext cx="4762" cy="13700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9213" name="Rectangle 45"/>
          <p:cNvSpPr>
            <a:spLocks noChangeArrowheads="1"/>
          </p:cNvSpPr>
          <p:nvPr/>
        </p:nvSpPr>
        <p:spPr bwMode="auto">
          <a:xfrm>
            <a:off x="4281488" y="5989638"/>
            <a:ext cx="3924300" cy="2206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r"/>
            <a:r>
              <a:rPr lang="en-GB"/>
              <a:t>Main DG’s tasked with Labour Market Policy / Steering of FLA</a:t>
            </a:r>
          </a:p>
        </p:txBody>
      </p:sp>
      <p:sp>
        <p:nvSpPr>
          <p:cNvPr id="519214" name="Rectangle 46"/>
          <p:cNvSpPr>
            <a:spLocks noChangeArrowheads="1"/>
          </p:cNvSpPr>
          <p:nvPr/>
        </p:nvSpPr>
        <p:spPr bwMode="auto">
          <a:xfrm>
            <a:off x="4319588" y="6040438"/>
            <a:ext cx="273050" cy="1079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en-GB" sz="1100"/>
          </a:p>
        </p:txBody>
      </p:sp>
      <p:pic>
        <p:nvPicPr>
          <p:cNvPr id="611330" name="Picture 2" descr="Bundesarbeitsministerin Andrea Nahles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626" y="1826147"/>
            <a:ext cx="646074" cy="9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7174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22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Federal Labor Agency employs 600+ staff in HQ and directs services, products, standards and core processes</a:t>
            </a:r>
          </a:p>
        </p:txBody>
      </p:sp>
      <p:graphicFrame>
        <p:nvGraphicFramePr>
          <p:cNvPr id="56422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2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4228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A1C45846-F0B0-45E3-BE3F-20D8C2791E4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4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6422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0375" y="1668463"/>
            <a:ext cx="8867775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endParaRPr lang="en-GB" sz="1800">
              <a:sym typeface="Wingdings" pitchFamily="2" charset="2"/>
            </a:endParaRPr>
          </a:p>
        </p:txBody>
      </p:sp>
      <p:sp>
        <p:nvSpPr>
          <p:cNvPr id="564235" name="Rectangle 11"/>
          <p:cNvSpPr>
            <a:spLocks noChangeArrowheads="1"/>
          </p:cNvSpPr>
          <p:nvPr/>
        </p:nvSpPr>
        <p:spPr bwMode="auto">
          <a:xfrm>
            <a:off x="3635375" y="1768475"/>
            <a:ext cx="2613025" cy="4016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Executive Board</a:t>
            </a:r>
          </a:p>
        </p:txBody>
      </p:sp>
      <p:sp>
        <p:nvSpPr>
          <p:cNvPr id="564236" name="Rectangle 12"/>
          <p:cNvSpPr>
            <a:spLocks noChangeArrowheads="1"/>
          </p:cNvSpPr>
          <p:nvPr/>
        </p:nvSpPr>
        <p:spPr bwMode="auto">
          <a:xfrm>
            <a:off x="565150" y="1981200"/>
            <a:ext cx="1377950" cy="4016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200" b="1"/>
              <a:t>Staff council</a:t>
            </a:r>
          </a:p>
        </p:txBody>
      </p:sp>
      <p:sp>
        <p:nvSpPr>
          <p:cNvPr id="564238" name="Rectangle 14"/>
          <p:cNvSpPr>
            <a:spLocks noChangeArrowheads="1"/>
          </p:cNvSpPr>
          <p:nvPr/>
        </p:nvSpPr>
        <p:spPr bwMode="auto">
          <a:xfrm>
            <a:off x="4383088" y="2754313"/>
            <a:ext cx="1114425" cy="958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POE”</a:t>
            </a:r>
          </a:p>
          <a:p>
            <a:pPr algn="ctr"/>
            <a:r>
              <a:rPr lang="en-GB" sz="1100" b="1"/>
              <a:t>Personnel and Organi-zational Development</a:t>
            </a:r>
          </a:p>
        </p:txBody>
      </p:sp>
      <p:sp>
        <p:nvSpPr>
          <p:cNvPr id="564239" name="Rectangle 15"/>
          <p:cNvSpPr>
            <a:spLocks noChangeArrowheads="1"/>
          </p:cNvSpPr>
          <p:nvPr/>
        </p:nvSpPr>
        <p:spPr bwMode="auto">
          <a:xfrm>
            <a:off x="5665788" y="2754313"/>
            <a:ext cx="1114425" cy="9588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IT”</a:t>
            </a:r>
          </a:p>
          <a:p>
            <a:pPr algn="ctr"/>
            <a:r>
              <a:rPr lang="en-GB" sz="1100" b="1"/>
              <a:t>IT-Steering</a:t>
            </a:r>
          </a:p>
        </p:txBody>
      </p:sp>
      <p:sp>
        <p:nvSpPr>
          <p:cNvPr id="564240" name="Rectangle 16"/>
          <p:cNvSpPr>
            <a:spLocks noChangeArrowheads="1"/>
          </p:cNvSpPr>
          <p:nvPr/>
        </p:nvSpPr>
        <p:spPr bwMode="auto">
          <a:xfrm>
            <a:off x="6943725" y="2754313"/>
            <a:ext cx="1114425" cy="958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OS”</a:t>
            </a:r>
          </a:p>
          <a:p>
            <a:pPr algn="ctr"/>
            <a:r>
              <a:rPr lang="en-GB" sz="1100" b="1"/>
              <a:t>Operational Services</a:t>
            </a:r>
          </a:p>
        </p:txBody>
      </p:sp>
      <p:sp>
        <p:nvSpPr>
          <p:cNvPr id="564241" name="Rectangle 17"/>
          <p:cNvSpPr>
            <a:spLocks noChangeArrowheads="1"/>
          </p:cNvSpPr>
          <p:nvPr/>
        </p:nvSpPr>
        <p:spPr bwMode="auto">
          <a:xfrm>
            <a:off x="8221663" y="2754313"/>
            <a:ext cx="1114425" cy="958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MI”</a:t>
            </a:r>
          </a:p>
          <a:p>
            <a:pPr algn="ctr"/>
            <a:r>
              <a:rPr lang="en-GB" sz="1100" b="1"/>
              <a:t>Labour Market and Integration</a:t>
            </a:r>
          </a:p>
        </p:txBody>
      </p:sp>
      <p:sp>
        <p:nvSpPr>
          <p:cNvPr id="564251" name="Rectangle 27"/>
          <p:cNvSpPr>
            <a:spLocks noChangeArrowheads="1"/>
          </p:cNvSpPr>
          <p:nvPr/>
        </p:nvSpPr>
        <p:spPr bwMode="auto">
          <a:xfrm>
            <a:off x="7967663" y="1931988"/>
            <a:ext cx="1377950" cy="4016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1200" b="1"/>
              <a:t>Board of Governors</a:t>
            </a:r>
          </a:p>
        </p:txBody>
      </p:sp>
      <p:sp>
        <p:nvSpPr>
          <p:cNvPr id="564252" name="Oval 28"/>
          <p:cNvSpPr>
            <a:spLocks noChangeArrowheads="1"/>
          </p:cNvSpPr>
          <p:nvPr/>
        </p:nvSpPr>
        <p:spPr bwMode="auto">
          <a:xfrm>
            <a:off x="2070100" y="1768475"/>
            <a:ext cx="977900" cy="3175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de-DE" sz="800"/>
              <a:t>Research Institute IAB</a:t>
            </a:r>
          </a:p>
        </p:txBody>
      </p:sp>
      <p:sp>
        <p:nvSpPr>
          <p:cNvPr id="564253" name="Oval 29"/>
          <p:cNvSpPr>
            <a:spLocks noChangeArrowheads="1"/>
          </p:cNvSpPr>
          <p:nvPr/>
        </p:nvSpPr>
        <p:spPr bwMode="auto">
          <a:xfrm>
            <a:off x="2068513" y="2157413"/>
            <a:ext cx="977900" cy="3175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de-DE" sz="800"/>
              <a:t>FLA University</a:t>
            </a:r>
          </a:p>
        </p:txBody>
      </p:sp>
      <p:sp>
        <p:nvSpPr>
          <p:cNvPr id="564254" name="Rectangle 30"/>
          <p:cNvSpPr>
            <a:spLocks noChangeArrowheads="1"/>
          </p:cNvSpPr>
          <p:nvPr/>
        </p:nvSpPr>
        <p:spPr bwMode="auto">
          <a:xfrm>
            <a:off x="3132138" y="2263775"/>
            <a:ext cx="3619500" cy="3000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/>
              <a:t>Staff Functions, Press, Internal Control, </a:t>
            </a:r>
            <a:br>
              <a:rPr lang="en-GB"/>
            </a:br>
            <a:r>
              <a:rPr lang="en-GB"/>
              <a:t>Berlin and Brussels Offices</a:t>
            </a:r>
          </a:p>
        </p:txBody>
      </p:sp>
      <p:sp>
        <p:nvSpPr>
          <p:cNvPr id="564255" name="Rectangle 31"/>
          <p:cNvSpPr>
            <a:spLocks noChangeArrowheads="1"/>
          </p:cNvSpPr>
          <p:nvPr/>
        </p:nvSpPr>
        <p:spPr bwMode="auto">
          <a:xfrm>
            <a:off x="555625" y="2754313"/>
            <a:ext cx="1114425" cy="958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BM”</a:t>
            </a:r>
          </a:p>
          <a:p>
            <a:pPr algn="ctr"/>
            <a:r>
              <a:rPr lang="en-GB" sz="1100" b="1"/>
              <a:t>Cooperation Management Basic Income Support</a:t>
            </a:r>
          </a:p>
        </p:txBody>
      </p:sp>
      <p:sp>
        <p:nvSpPr>
          <p:cNvPr id="564256" name="Rectangle 32"/>
          <p:cNvSpPr>
            <a:spLocks noChangeArrowheads="1"/>
          </p:cNvSpPr>
          <p:nvPr/>
        </p:nvSpPr>
        <p:spPr bwMode="auto">
          <a:xfrm>
            <a:off x="1831975" y="2754313"/>
            <a:ext cx="1114425" cy="9588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PEG”</a:t>
            </a:r>
          </a:p>
          <a:p>
            <a:pPr algn="ctr"/>
            <a:r>
              <a:rPr lang="en-GB" sz="1100" b="1"/>
              <a:t>Product Development Basic Income Support</a:t>
            </a:r>
          </a:p>
        </p:txBody>
      </p:sp>
      <p:sp>
        <p:nvSpPr>
          <p:cNvPr id="564257" name="Rectangle 33"/>
          <p:cNvSpPr>
            <a:spLocks noChangeArrowheads="1"/>
          </p:cNvSpPr>
          <p:nvPr/>
        </p:nvSpPr>
        <p:spPr bwMode="auto">
          <a:xfrm>
            <a:off x="3092450" y="2754313"/>
            <a:ext cx="1114425" cy="958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Ctr="1"/>
          <a:lstStyle/>
          <a:p>
            <a:pPr algn="ctr"/>
            <a:r>
              <a:rPr lang="en-GB" sz="1100" b="1"/>
              <a:t>“CF”</a:t>
            </a:r>
          </a:p>
          <a:p>
            <a:pPr algn="ctr"/>
            <a:r>
              <a:rPr lang="en-GB" sz="1100" b="1"/>
              <a:t>Controlling and Finance</a:t>
            </a:r>
          </a:p>
        </p:txBody>
      </p:sp>
      <p:sp>
        <p:nvSpPr>
          <p:cNvPr id="564258" name="Text Box 19"/>
          <p:cNvSpPr txBox="1">
            <a:spLocks noChangeArrowheads="1"/>
          </p:cNvSpPr>
          <p:nvPr/>
        </p:nvSpPr>
        <p:spPr bwMode="auto">
          <a:xfrm>
            <a:off x="479425" y="3748088"/>
            <a:ext cx="1111250" cy="156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Cooperation models with municipalitie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Joint Delivery of Basic Income Support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Management support for Joint Delivery Unit heads</a:t>
            </a:r>
          </a:p>
        </p:txBody>
      </p:sp>
      <p:sp>
        <p:nvSpPr>
          <p:cNvPr id="564259" name="Text Box 19"/>
          <p:cNvSpPr txBox="1">
            <a:spLocks noChangeArrowheads="1"/>
          </p:cNvSpPr>
          <p:nvPr/>
        </p:nvSpPr>
        <p:spPr bwMode="auto">
          <a:xfrm>
            <a:off x="1754188" y="3756025"/>
            <a:ext cx="1111250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ALMP design for UBII client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Product develop-ment payment and legal solutions UBII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Medical and Psychiatric Service</a:t>
            </a:r>
          </a:p>
        </p:txBody>
      </p:sp>
      <p:sp>
        <p:nvSpPr>
          <p:cNvPr id="564260" name="Oval 36"/>
          <p:cNvSpPr>
            <a:spLocks noChangeArrowheads="1"/>
          </p:cNvSpPr>
          <p:nvPr/>
        </p:nvSpPr>
        <p:spPr bwMode="auto">
          <a:xfrm>
            <a:off x="623888" y="5297488"/>
            <a:ext cx="977900" cy="46513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800"/>
              <a:t>Family Benefit Offices</a:t>
            </a:r>
          </a:p>
        </p:txBody>
      </p:sp>
      <p:sp>
        <p:nvSpPr>
          <p:cNvPr id="564261" name="Text Box 19"/>
          <p:cNvSpPr txBox="1">
            <a:spLocks noChangeArrowheads="1"/>
          </p:cNvSpPr>
          <p:nvPr/>
        </p:nvSpPr>
        <p:spPr bwMode="auto">
          <a:xfrm>
            <a:off x="3038475" y="3754438"/>
            <a:ext cx="111125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Controlling, impact </a:t>
            </a:r>
            <a:br>
              <a:rPr lang="en-GB" sz="900"/>
            </a:br>
            <a:r>
              <a:rPr lang="en-GB" sz="900"/>
              <a:t>evaluation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Finance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Statistic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Labour market analysi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Infrastructure</a:t>
            </a:r>
          </a:p>
        </p:txBody>
      </p:sp>
      <p:sp>
        <p:nvSpPr>
          <p:cNvPr id="564262" name="Oval 38"/>
          <p:cNvSpPr>
            <a:spLocks noChangeArrowheads="1"/>
          </p:cNvSpPr>
          <p:nvPr/>
        </p:nvSpPr>
        <p:spPr bwMode="auto">
          <a:xfrm>
            <a:off x="3160713" y="5297488"/>
            <a:ext cx="977900" cy="46513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800"/>
              <a:t>Real Estate Manage-ment</a:t>
            </a:r>
          </a:p>
        </p:txBody>
      </p:sp>
      <p:sp>
        <p:nvSpPr>
          <p:cNvPr id="564264" name="Text Box 19"/>
          <p:cNvSpPr txBox="1">
            <a:spLocks noChangeArrowheads="1"/>
          </p:cNvSpPr>
          <p:nvPr/>
        </p:nvSpPr>
        <p:spPr bwMode="auto">
          <a:xfrm>
            <a:off x="4341813" y="3762375"/>
            <a:ext cx="111125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HR policies and development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Leadership development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HR law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HR Service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Organizational development</a:t>
            </a:r>
          </a:p>
        </p:txBody>
      </p:sp>
      <p:sp>
        <p:nvSpPr>
          <p:cNvPr id="564265" name="Oval 41"/>
          <p:cNvSpPr>
            <a:spLocks noChangeArrowheads="1"/>
          </p:cNvSpPr>
          <p:nvPr/>
        </p:nvSpPr>
        <p:spPr bwMode="auto">
          <a:xfrm>
            <a:off x="4451350" y="5305425"/>
            <a:ext cx="977900" cy="46513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800"/>
              <a:t>BA Service House</a:t>
            </a:r>
          </a:p>
        </p:txBody>
      </p:sp>
      <p:sp>
        <p:nvSpPr>
          <p:cNvPr id="564266" name="Text Box 19"/>
          <p:cNvSpPr txBox="1">
            <a:spLocks noChangeArrowheads="1"/>
          </p:cNvSpPr>
          <p:nvPr/>
        </p:nvSpPr>
        <p:spPr bwMode="auto">
          <a:xfrm>
            <a:off x="5616575" y="3760788"/>
            <a:ext cx="1111250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IT strategy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IT demand management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IT security</a:t>
            </a:r>
          </a:p>
        </p:txBody>
      </p:sp>
      <p:sp>
        <p:nvSpPr>
          <p:cNvPr id="564267" name="Oval 43"/>
          <p:cNvSpPr>
            <a:spLocks noChangeArrowheads="1"/>
          </p:cNvSpPr>
          <p:nvPr/>
        </p:nvSpPr>
        <p:spPr bwMode="auto">
          <a:xfrm>
            <a:off x="5726113" y="5303838"/>
            <a:ext cx="977900" cy="46513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800"/>
              <a:t>IT Systems House</a:t>
            </a:r>
          </a:p>
        </p:txBody>
      </p:sp>
      <p:sp>
        <p:nvSpPr>
          <p:cNvPr id="564268" name="Text Box 19"/>
          <p:cNvSpPr txBox="1">
            <a:spLocks noChangeArrowheads="1"/>
          </p:cNvSpPr>
          <p:nvPr/>
        </p:nvSpPr>
        <p:spPr bwMode="auto">
          <a:xfrm>
            <a:off x="6872288" y="3746500"/>
            <a:ext cx="1111250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Payment-related service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Electronic file and work-flow management</a:t>
            </a:r>
          </a:p>
        </p:txBody>
      </p:sp>
      <p:sp>
        <p:nvSpPr>
          <p:cNvPr id="564270" name="Text Box 19"/>
          <p:cNvSpPr txBox="1">
            <a:spLocks noChangeArrowheads="1"/>
          </p:cNvSpPr>
          <p:nvPr/>
        </p:nvSpPr>
        <p:spPr bwMode="auto">
          <a:xfrm>
            <a:off x="8139113" y="3744913"/>
            <a:ext cx="111125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ALMP design for UB I client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ALMP for youth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r>
              <a:rPr lang="en-GB" sz="900"/>
              <a:t>Management support and labour market analysis</a:t>
            </a:r>
          </a:p>
          <a:p>
            <a:pPr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</a:pPr>
            <a:endParaRPr lang="en-GB" sz="900"/>
          </a:p>
        </p:txBody>
      </p:sp>
      <p:sp>
        <p:nvSpPr>
          <p:cNvPr id="564271" name="Oval 47"/>
          <p:cNvSpPr>
            <a:spLocks noChangeArrowheads="1"/>
          </p:cNvSpPr>
          <p:nvPr/>
        </p:nvSpPr>
        <p:spPr bwMode="auto">
          <a:xfrm>
            <a:off x="8248650" y="5287963"/>
            <a:ext cx="977900" cy="46513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GB" sz="800"/>
              <a:t>Intl. Placement Service</a:t>
            </a:r>
          </a:p>
        </p:txBody>
      </p:sp>
      <p:sp>
        <p:nvSpPr>
          <p:cNvPr id="564272" name="Rectangle 13"/>
          <p:cNvSpPr>
            <a:spLocks noChangeArrowheads="1"/>
          </p:cNvSpPr>
          <p:nvPr/>
        </p:nvSpPr>
        <p:spPr bwMode="gray">
          <a:xfrm rot="637468">
            <a:off x="8461375" y="1309688"/>
            <a:ext cx="1303338" cy="3238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Simplified View</a:t>
            </a:r>
          </a:p>
        </p:txBody>
      </p:sp>
      <p:pic>
        <p:nvPicPr>
          <p:cNvPr id="564273" name="Picture 4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1675" y="1588"/>
            <a:ext cx="1587500" cy="6715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8871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338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52438" y="808038"/>
            <a:ext cx="8458200" cy="601662"/>
          </a:xfrm>
          <a:noFill/>
        </p:spPr>
        <p:txBody>
          <a:bodyPr anchor="b"/>
          <a:lstStyle/>
          <a:p>
            <a:r>
              <a:rPr lang="en-GB" dirty="0" smtClean="0"/>
              <a:t>Post-2011 governance model for joint local delivery units introduces a stronger role for state government</a:t>
            </a:r>
          </a:p>
        </p:txBody>
      </p:sp>
      <p:graphicFrame>
        <p:nvGraphicFramePr>
          <p:cNvPr id="526339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1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6340" name="Rectangle 4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93C22EA8-3912-49D7-BE88-879ECF6982E8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5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26341" name="Rectangle 5"/>
          <p:cNvSpPr>
            <a:spLocks noChangeArrowheads="1"/>
          </p:cNvSpPr>
          <p:nvPr/>
        </p:nvSpPr>
        <p:spPr bwMode="gray">
          <a:xfrm>
            <a:off x="3003550" y="3570288"/>
            <a:ext cx="3386138" cy="1487487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 dirty="0"/>
              <a:t>Joint Agency </a:t>
            </a:r>
            <a:r>
              <a:rPr lang="en-GB" sz="1400" b="1" dirty="0" smtClean="0"/>
              <a:t>(LOCAL)</a:t>
            </a:r>
            <a:r>
              <a:rPr lang="en-GB" sz="1400" b="1" dirty="0"/>
              <a:t/>
            </a:r>
            <a:br>
              <a:rPr lang="en-GB" sz="1400" b="1" dirty="0"/>
            </a:br>
            <a:endParaRPr lang="en-GB" sz="1200" dirty="0"/>
          </a:p>
        </p:txBody>
      </p:sp>
      <p:sp>
        <p:nvSpPr>
          <p:cNvPr id="526343" name="Rectangle 7"/>
          <p:cNvSpPr>
            <a:spLocks noChangeArrowheads="1"/>
          </p:cNvSpPr>
          <p:nvPr/>
        </p:nvSpPr>
        <p:spPr bwMode="gray">
          <a:xfrm>
            <a:off x="3090863" y="4038404"/>
            <a:ext cx="3225800" cy="2174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Managing Director</a:t>
            </a:r>
            <a:endParaRPr lang="en-GB" sz="1200"/>
          </a:p>
        </p:txBody>
      </p:sp>
      <p:sp>
        <p:nvSpPr>
          <p:cNvPr id="526344" name="Rectangle 8"/>
          <p:cNvSpPr>
            <a:spLocks noChangeArrowheads="1"/>
          </p:cNvSpPr>
          <p:nvPr/>
        </p:nvSpPr>
        <p:spPr bwMode="gray">
          <a:xfrm>
            <a:off x="3092450" y="4654550"/>
            <a:ext cx="1512888" cy="2540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dirty="0" smtClean="0">
                <a:solidFill>
                  <a:schemeClr val="bg1"/>
                </a:solidFill>
              </a:rPr>
              <a:t>Local Staff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526345" name="Rectangle 9"/>
          <p:cNvSpPr>
            <a:spLocks noChangeArrowheads="1"/>
          </p:cNvSpPr>
          <p:nvPr/>
        </p:nvSpPr>
        <p:spPr bwMode="gray">
          <a:xfrm>
            <a:off x="4799013" y="4654550"/>
            <a:ext cx="1512887" cy="254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FLA Staff</a:t>
            </a:r>
          </a:p>
        </p:txBody>
      </p:sp>
      <p:sp>
        <p:nvSpPr>
          <p:cNvPr id="526346" name="Rectangle 10"/>
          <p:cNvSpPr>
            <a:spLocks noChangeArrowheads="1"/>
          </p:cNvSpPr>
          <p:nvPr/>
        </p:nvSpPr>
        <p:spPr bwMode="gray">
          <a:xfrm>
            <a:off x="3082925" y="5767388"/>
            <a:ext cx="3225800" cy="5111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Advisory Board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/>
              <a:t>(Academia, Chartered Charities, City Council members, Trade Unions, Chamber of Commerce, …)</a:t>
            </a:r>
          </a:p>
        </p:txBody>
      </p:sp>
      <p:cxnSp>
        <p:nvCxnSpPr>
          <p:cNvPr id="526347" name="AutoShape 11"/>
          <p:cNvCxnSpPr>
            <a:cxnSpLocks noChangeShapeType="1"/>
            <a:stCxn id="526346" idx="0"/>
            <a:endCxn id="526341" idx="2"/>
          </p:cNvCxnSpPr>
          <p:nvPr/>
        </p:nvCxnSpPr>
        <p:spPr bwMode="gray">
          <a:xfrm flipV="1">
            <a:off x="4695825" y="5057775"/>
            <a:ext cx="1588" cy="7096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48" name="Text Box 12"/>
          <p:cNvSpPr txBox="1">
            <a:spLocks noChangeArrowheads="1"/>
          </p:cNvSpPr>
          <p:nvPr/>
        </p:nvSpPr>
        <p:spPr bwMode="gray">
          <a:xfrm>
            <a:off x="3949700" y="5303838"/>
            <a:ext cx="728663" cy="228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Advice</a:t>
            </a:r>
          </a:p>
        </p:txBody>
      </p:sp>
      <p:sp>
        <p:nvSpPr>
          <p:cNvPr id="526349" name="Rectangle 13"/>
          <p:cNvSpPr>
            <a:spLocks noChangeArrowheads="1"/>
          </p:cNvSpPr>
          <p:nvPr/>
        </p:nvSpPr>
        <p:spPr bwMode="gray">
          <a:xfrm>
            <a:off x="1255713" y="4675188"/>
            <a:ext cx="1512887" cy="6286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dirty="0" smtClean="0">
                <a:solidFill>
                  <a:schemeClr val="bg1"/>
                </a:solidFill>
              </a:rPr>
              <a:t>City Government 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526350" name="Rectangle 14"/>
          <p:cNvSpPr>
            <a:spLocks noChangeArrowheads="1"/>
          </p:cNvSpPr>
          <p:nvPr/>
        </p:nvSpPr>
        <p:spPr bwMode="gray">
          <a:xfrm>
            <a:off x="6648450" y="4683125"/>
            <a:ext cx="1512888" cy="62071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Federal Labour Agency</a:t>
            </a:r>
          </a:p>
        </p:txBody>
      </p:sp>
      <p:sp>
        <p:nvSpPr>
          <p:cNvPr id="526351" name="Rectangle 15"/>
          <p:cNvSpPr>
            <a:spLocks noChangeArrowheads="1"/>
          </p:cNvSpPr>
          <p:nvPr/>
        </p:nvSpPr>
        <p:spPr bwMode="gray">
          <a:xfrm>
            <a:off x="8158584" y="2413746"/>
            <a:ext cx="714375" cy="698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i="1"/>
              <a:t>Federal Court of Accounts</a:t>
            </a:r>
            <a:endParaRPr lang="en-GB" sz="1200" i="1"/>
          </a:p>
        </p:txBody>
      </p:sp>
      <p:sp>
        <p:nvSpPr>
          <p:cNvPr id="526352" name="Rectangle 16"/>
          <p:cNvSpPr>
            <a:spLocks noChangeArrowheads="1"/>
          </p:cNvSpPr>
          <p:nvPr/>
        </p:nvSpPr>
        <p:spPr bwMode="gray">
          <a:xfrm>
            <a:off x="1684338" y="1751013"/>
            <a:ext cx="6022975" cy="2381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i="1"/>
              <a:t>Federal Ministry of Labour and Social Affairs (BMAS)</a:t>
            </a:r>
            <a:endParaRPr lang="en-GB" sz="1200" i="1"/>
          </a:p>
        </p:txBody>
      </p:sp>
      <p:sp>
        <p:nvSpPr>
          <p:cNvPr id="526353" name="Rectangle 17"/>
          <p:cNvSpPr>
            <a:spLocks noChangeArrowheads="1"/>
          </p:cNvSpPr>
          <p:nvPr/>
        </p:nvSpPr>
        <p:spPr bwMode="gray">
          <a:xfrm>
            <a:off x="2536825" y="2589213"/>
            <a:ext cx="4318000" cy="238125"/>
          </a:xfrm>
          <a:prstGeom prst="rect">
            <a:avLst/>
          </a:prstGeom>
          <a:solidFill>
            <a:srgbClr val="73B4C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i="1" dirty="0" smtClean="0"/>
              <a:t>State Ministry of Labor &amp; Social Affairs </a:t>
            </a:r>
            <a:endParaRPr lang="en-GB" sz="1200" i="1" dirty="0"/>
          </a:p>
        </p:txBody>
      </p:sp>
      <p:sp>
        <p:nvSpPr>
          <p:cNvPr id="526354" name="Oval 18"/>
          <p:cNvSpPr>
            <a:spLocks noChangeArrowheads="1"/>
          </p:cNvSpPr>
          <p:nvPr/>
        </p:nvSpPr>
        <p:spPr bwMode="gray">
          <a:xfrm>
            <a:off x="2643188" y="2168525"/>
            <a:ext cx="1790700" cy="2635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b="1"/>
              <a:t>Co-operation Committee</a:t>
            </a:r>
          </a:p>
        </p:txBody>
      </p:sp>
      <p:sp>
        <p:nvSpPr>
          <p:cNvPr id="526355" name="Oval 19"/>
          <p:cNvSpPr>
            <a:spLocks noChangeArrowheads="1"/>
          </p:cNvSpPr>
          <p:nvPr/>
        </p:nvSpPr>
        <p:spPr bwMode="gray">
          <a:xfrm>
            <a:off x="4989513" y="2160588"/>
            <a:ext cx="1790700" cy="2635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b="1"/>
              <a:t>Federal-State Committee</a:t>
            </a:r>
          </a:p>
        </p:txBody>
      </p:sp>
      <p:sp>
        <p:nvSpPr>
          <p:cNvPr id="526356" name="Oval 20"/>
          <p:cNvSpPr>
            <a:spLocks noChangeArrowheads="1"/>
          </p:cNvSpPr>
          <p:nvPr/>
        </p:nvSpPr>
        <p:spPr bwMode="gray">
          <a:xfrm>
            <a:off x="2759075" y="3035300"/>
            <a:ext cx="3994150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b="1"/>
              <a:t>Assembly of Owners (Local)</a:t>
            </a:r>
          </a:p>
        </p:txBody>
      </p:sp>
      <p:sp>
        <p:nvSpPr>
          <p:cNvPr id="526357" name="Rectangle 21"/>
          <p:cNvSpPr>
            <a:spLocks noChangeArrowheads="1"/>
          </p:cNvSpPr>
          <p:nvPr/>
        </p:nvSpPr>
        <p:spPr bwMode="gray">
          <a:xfrm>
            <a:off x="6237288" y="3619500"/>
            <a:ext cx="150812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26358" name="AutoShape 22"/>
          <p:cNvCxnSpPr>
            <a:cxnSpLocks noChangeShapeType="1"/>
            <a:stCxn id="526351" idx="2"/>
            <a:endCxn id="526357" idx="3"/>
          </p:cNvCxnSpPr>
          <p:nvPr/>
        </p:nvCxnSpPr>
        <p:spPr bwMode="gray">
          <a:xfrm rot="5400000">
            <a:off x="7157431" y="2342915"/>
            <a:ext cx="589011" cy="212767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59" name="Text Box 23"/>
          <p:cNvSpPr txBox="1">
            <a:spLocks noChangeArrowheads="1"/>
          </p:cNvSpPr>
          <p:nvPr/>
        </p:nvSpPr>
        <p:spPr bwMode="gray">
          <a:xfrm>
            <a:off x="7413715" y="3478213"/>
            <a:ext cx="1104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 dirty="0"/>
              <a:t>Control / Audit</a:t>
            </a:r>
          </a:p>
        </p:txBody>
      </p:sp>
      <p:sp>
        <p:nvSpPr>
          <p:cNvPr id="526360" name="Rectangle 24"/>
          <p:cNvSpPr>
            <a:spLocks noChangeArrowheads="1"/>
          </p:cNvSpPr>
          <p:nvPr/>
        </p:nvSpPr>
        <p:spPr bwMode="gray">
          <a:xfrm rot="-1078509">
            <a:off x="139700" y="1639888"/>
            <a:ext cx="1303338" cy="3238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dirty="0"/>
              <a:t>Simplified </a:t>
            </a:r>
            <a:r>
              <a:rPr lang="en-GB" sz="1200" b="1" dirty="0" smtClean="0"/>
              <a:t>Model View</a:t>
            </a:r>
            <a:endParaRPr lang="en-GB" sz="1200" b="1" dirty="0"/>
          </a:p>
        </p:txBody>
      </p:sp>
      <p:sp>
        <p:nvSpPr>
          <p:cNvPr id="526361" name="Rectangle 25"/>
          <p:cNvSpPr>
            <a:spLocks noChangeArrowheads="1"/>
          </p:cNvSpPr>
          <p:nvPr/>
        </p:nvSpPr>
        <p:spPr bwMode="gray">
          <a:xfrm>
            <a:off x="2995613" y="3560763"/>
            <a:ext cx="150812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26362" name="AutoShape 26"/>
          <p:cNvCxnSpPr>
            <a:cxnSpLocks noChangeShapeType="1"/>
            <a:stCxn id="526352" idx="1"/>
            <a:endCxn id="526356" idx="2"/>
          </p:cNvCxnSpPr>
          <p:nvPr/>
        </p:nvCxnSpPr>
        <p:spPr bwMode="gray">
          <a:xfrm rot="10800000" flipH="1" flipV="1">
            <a:off x="1684338" y="1870075"/>
            <a:ext cx="1074737" cy="1316038"/>
          </a:xfrm>
          <a:prstGeom prst="bentConnector3">
            <a:avLst>
              <a:gd name="adj1" fmla="val -21269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363" name="AutoShape 27"/>
          <p:cNvCxnSpPr>
            <a:cxnSpLocks noChangeShapeType="1"/>
            <a:stCxn id="526352" idx="1"/>
            <a:endCxn id="526361" idx="1"/>
          </p:cNvCxnSpPr>
          <p:nvPr/>
        </p:nvCxnSpPr>
        <p:spPr bwMode="gray">
          <a:xfrm rot="10800000" flipH="1" flipV="1">
            <a:off x="1684338" y="1870075"/>
            <a:ext cx="1311275" cy="1773238"/>
          </a:xfrm>
          <a:prstGeom prst="bentConnector3">
            <a:avLst>
              <a:gd name="adj1" fmla="val -17435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64" name="Text Box 28"/>
          <p:cNvSpPr txBox="1">
            <a:spLocks noChangeArrowheads="1"/>
          </p:cNvSpPr>
          <p:nvPr/>
        </p:nvSpPr>
        <p:spPr bwMode="gray">
          <a:xfrm rot="16200000">
            <a:off x="688181" y="2496344"/>
            <a:ext cx="138588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Legal Framework</a:t>
            </a:r>
          </a:p>
        </p:txBody>
      </p:sp>
      <p:cxnSp>
        <p:nvCxnSpPr>
          <p:cNvPr id="526365" name="AutoShape 29"/>
          <p:cNvCxnSpPr>
            <a:cxnSpLocks noChangeShapeType="1"/>
            <a:stCxn id="526349" idx="0"/>
            <a:endCxn id="526343" idx="1"/>
          </p:cNvCxnSpPr>
          <p:nvPr/>
        </p:nvCxnSpPr>
        <p:spPr bwMode="gray">
          <a:xfrm rot="5400000" flipH="1" flipV="1">
            <a:off x="2287490" y="3871815"/>
            <a:ext cx="528040" cy="1078706"/>
          </a:xfrm>
          <a:prstGeom prst="bentConnector2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366" name="AutoShape 30"/>
          <p:cNvCxnSpPr>
            <a:cxnSpLocks noChangeShapeType="1"/>
            <a:stCxn id="526350" idx="0"/>
            <a:endCxn id="526343" idx="3"/>
          </p:cNvCxnSpPr>
          <p:nvPr/>
        </p:nvCxnSpPr>
        <p:spPr bwMode="gray">
          <a:xfrm rot="16200000" flipV="1">
            <a:off x="6592791" y="3871021"/>
            <a:ext cx="535977" cy="1088231"/>
          </a:xfrm>
          <a:prstGeom prst="bentConnector2">
            <a:avLst/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67" name="Text Box 31"/>
          <p:cNvSpPr txBox="1">
            <a:spLocks noChangeArrowheads="1"/>
          </p:cNvSpPr>
          <p:nvPr/>
        </p:nvSpPr>
        <p:spPr bwMode="gray">
          <a:xfrm>
            <a:off x="6337300" y="4117403"/>
            <a:ext cx="1104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 dirty="0"/>
              <a:t>Targets</a:t>
            </a:r>
          </a:p>
        </p:txBody>
      </p:sp>
      <p:sp>
        <p:nvSpPr>
          <p:cNvPr id="526368" name="Text Box 32"/>
          <p:cNvSpPr txBox="1">
            <a:spLocks noChangeArrowheads="1"/>
          </p:cNvSpPr>
          <p:nvPr/>
        </p:nvSpPr>
        <p:spPr bwMode="gray">
          <a:xfrm>
            <a:off x="1466850" y="4096766"/>
            <a:ext cx="1104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 dirty="0"/>
              <a:t>Targets</a:t>
            </a:r>
          </a:p>
        </p:txBody>
      </p:sp>
      <p:sp>
        <p:nvSpPr>
          <p:cNvPr id="526369" name="Rectangle 33"/>
          <p:cNvSpPr>
            <a:spLocks noChangeArrowheads="1"/>
          </p:cNvSpPr>
          <p:nvPr/>
        </p:nvSpPr>
        <p:spPr bwMode="gray">
          <a:xfrm>
            <a:off x="2708275" y="3038475"/>
            <a:ext cx="150813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26370" name="Rectangle 34"/>
          <p:cNvSpPr>
            <a:spLocks noChangeArrowheads="1"/>
          </p:cNvSpPr>
          <p:nvPr/>
        </p:nvSpPr>
        <p:spPr bwMode="gray">
          <a:xfrm>
            <a:off x="6615113" y="3030538"/>
            <a:ext cx="150812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26371" name="AutoShape 35"/>
          <p:cNvCxnSpPr>
            <a:cxnSpLocks noChangeShapeType="1"/>
            <a:stCxn id="526349" idx="0"/>
            <a:endCxn id="526369" idx="2"/>
          </p:cNvCxnSpPr>
          <p:nvPr/>
        </p:nvCxnSpPr>
        <p:spPr bwMode="gray">
          <a:xfrm rot="16200000">
            <a:off x="1662113" y="3552825"/>
            <a:ext cx="1473200" cy="7715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372" name="AutoShape 36"/>
          <p:cNvCxnSpPr>
            <a:cxnSpLocks noChangeShapeType="1"/>
            <a:stCxn id="526350" idx="0"/>
            <a:endCxn id="526370" idx="2"/>
          </p:cNvCxnSpPr>
          <p:nvPr/>
        </p:nvCxnSpPr>
        <p:spPr bwMode="gray">
          <a:xfrm rot="5400000" flipH="1">
            <a:off x="6303963" y="3581400"/>
            <a:ext cx="1489075" cy="7143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73" name="Text Box 37"/>
          <p:cNvSpPr txBox="1">
            <a:spLocks noChangeArrowheads="1"/>
          </p:cNvSpPr>
          <p:nvPr/>
        </p:nvSpPr>
        <p:spPr bwMode="gray">
          <a:xfrm>
            <a:off x="1646238" y="3752850"/>
            <a:ext cx="1204912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Representatives</a:t>
            </a:r>
          </a:p>
        </p:txBody>
      </p:sp>
      <p:sp>
        <p:nvSpPr>
          <p:cNvPr id="526374" name="Text Box 38"/>
          <p:cNvSpPr txBox="1">
            <a:spLocks noChangeArrowheads="1"/>
          </p:cNvSpPr>
          <p:nvPr/>
        </p:nvSpPr>
        <p:spPr bwMode="gray">
          <a:xfrm>
            <a:off x="6611938" y="3733800"/>
            <a:ext cx="1204912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Representatives</a:t>
            </a:r>
          </a:p>
        </p:txBody>
      </p:sp>
      <p:cxnSp>
        <p:nvCxnSpPr>
          <p:cNvPr id="526375" name="AutoShape 39"/>
          <p:cNvCxnSpPr>
            <a:cxnSpLocks noChangeShapeType="1"/>
            <a:stCxn id="526353" idx="1"/>
            <a:endCxn id="526349" idx="1"/>
          </p:cNvCxnSpPr>
          <p:nvPr/>
        </p:nvCxnSpPr>
        <p:spPr bwMode="gray">
          <a:xfrm rot="10800000" flipV="1">
            <a:off x="1255713" y="2708275"/>
            <a:ext cx="1281112" cy="2281238"/>
          </a:xfrm>
          <a:prstGeom prst="bentConnector3">
            <a:avLst>
              <a:gd name="adj1" fmla="val 117843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376" name="AutoShape 40"/>
          <p:cNvCxnSpPr>
            <a:cxnSpLocks noChangeShapeType="1"/>
            <a:stCxn id="526352" idx="2"/>
            <a:endCxn id="526353" idx="0"/>
          </p:cNvCxnSpPr>
          <p:nvPr/>
        </p:nvCxnSpPr>
        <p:spPr bwMode="gray">
          <a:xfrm>
            <a:off x="4695825" y="1989138"/>
            <a:ext cx="0" cy="600075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6377" name="Text Box 41"/>
          <p:cNvSpPr txBox="1">
            <a:spLocks noChangeArrowheads="1"/>
          </p:cNvSpPr>
          <p:nvPr/>
        </p:nvSpPr>
        <p:spPr bwMode="gray">
          <a:xfrm rot="5400000">
            <a:off x="4281488" y="1931988"/>
            <a:ext cx="11049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Targets</a:t>
            </a:r>
          </a:p>
        </p:txBody>
      </p:sp>
      <p:cxnSp>
        <p:nvCxnSpPr>
          <p:cNvPr id="3" name="Elbow Connector 2"/>
          <p:cNvCxnSpPr>
            <a:stCxn id="526352" idx="3"/>
            <a:endCxn id="526350" idx="3"/>
          </p:cNvCxnSpPr>
          <p:nvPr/>
        </p:nvCxnSpPr>
        <p:spPr bwMode="auto">
          <a:xfrm>
            <a:off x="7707313" y="1870076"/>
            <a:ext cx="454025" cy="3123406"/>
          </a:xfrm>
          <a:prstGeom prst="bentConnector3">
            <a:avLst>
              <a:gd name="adj1" fmla="val 35475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6" name="Text Box 23"/>
          <p:cNvSpPr txBox="1">
            <a:spLocks noChangeArrowheads="1"/>
          </p:cNvSpPr>
          <p:nvPr/>
        </p:nvSpPr>
        <p:spPr bwMode="gray">
          <a:xfrm>
            <a:off x="8229600" y="1870075"/>
            <a:ext cx="11049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 dirty="0" smtClean="0"/>
              <a:t>Executive Agency</a:t>
            </a:r>
            <a:endParaRPr lang="en-GB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8" y="8207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smtClean="0"/>
              <a:t>Background information: High-level financing flows for Social Insurance and Social Assistance in Germany (€bn, 2010)</a:t>
            </a:r>
          </a:p>
        </p:txBody>
      </p:sp>
      <p:graphicFrame>
        <p:nvGraphicFramePr>
          <p:cNvPr id="459779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49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9780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72505FB-20C4-4EAB-9812-1B61D2EBAC1C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6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459781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150" y="1751013"/>
            <a:ext cx="1833563" cy="461962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Federal Government</a:t>
            </a:r>
          </a:p>
        </p:txBody>
      </p:sp>
      <p:sp>
        <p:nvSpPr>
          <p:cNvPr id="459782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150" y="2205038"/>
            <a:ext cx="1833563" cy="388302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endParaRPr lang="en-US" sz="1200"/>
          </a:p>
        </p:txBody>
      </p:sp>
      <p:sp>
        <p:nvSpPr>
          <p:cNvPr id="459783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494588" y="2208213"/>
            <a:ext cx="1833562" cy="847725"/>
          </a:xfrm>
          <a:prstGeom prst="rect">
            <a:avLst/>
          </a:prstGeom>
          <a:solidFill>
            <a:srgbClr val="808080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Employees / Employers</a:t>
            </a:r>
          </a:p>
        </p:txBody>
      </p:sp>
      <p:sp>
        <p:nvSpPr>
          <p:cNvPr id="297998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494588" y="4402138"/>
            <a:ext cx="1833562" cy="1660525"/>
          </a:xfrm>
          <a:prstGeom prst="rect">
            <a:avLst/>
          </a:prstGeom>
          <a:solidFill>
            <a:srgbClr val="808080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Municipalities</a:t>
            </a:r>
          </a:p>
        </p:txBody>
      </p:sp>
      <p:sp>
        <p:nvSpPr>
          <p:cNvPr id="459785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13025" y="1751013"/>
            <a:ext cx="3875088" cy="461962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Federal Labour Agency / </a:t>
            </a:r>
            <a:br>
              <a:rPr lang="en-US" sz="1600" b="1">
                <a:solidFill>
                  <a:schemeClr val="bg1"/>
                </a:solidFill>
              </a:rPr>
            </a:br>
            <a:r>
              <a:rPr lang="en-US" sz="1600" b="1">
                <a:solidFill>
                  <a:schemeClr val="bg1"/>
                </a:solidFill>
              </a:rPr>
              <a:t>Joint Delivery Units (ARGE/gE)</a:t>
            </a:r>
          </a:p>
        </p:txBody>
      </p:sp>
      <p:sp>
        <p:nvSpPr>
          <p:cNvPr id="459786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90863" y="2205038"/>
            <a:ext cx="3397250" cy="213042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Federal Support of ALMPs	+8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Payor Contributions	+23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Other	+6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 b="1"/>
              <a:t>	Revenue SI		+37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endParaRPr lang="en-US" sz="1200"/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ALMPs (incl. job-placement)	-20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Unemployment Benefit I	-17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“Integration”-Payment	-5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Other	-3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 b="1"/>
              <a:t>	Spending SI		-45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 i="1"/>
              <a:t>Deficit SI		- 8,0</a:t>
            </a:r>
            <a:endParaRPr lang="en-US" sz="1200"/>
          </a:p>
        </p:txBody>
      </p:sp>
      <p:sp>
        <p:nvSpPr>
          <p:cNvPr id="459787" name="Rectangle 17"/>
          <p:cNvSpPr>
            <a:spLocks noChangeArrowheads="1"/>
          </p:cNvSpPr>
          <p:nvPr/>
        </p:nvSpPr>
        <p:spPr bwMode="auto">
          <a:xfrm>
            <a:off x="2620963" y="2205038"/>
            <a:ext cx="476250" cy="2130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200" b="1"/>
              <a:t>UB I</a:t>
            </a:r>
            <a:br>
              <a:rPr lang="en-US" sz="1200" b="1"/>
            </a:br>
            <a:r>
              <a:rPr lang="en-US" sz="1200" b="1"/>
              <a:t>(SI)</a:t>
            </a:r>
          </a:p>
        </p:txBody>
      </p:sp>
      <p:sp>
        <p:nvSpPr>
          <p:cNvPr id="459788" name="Line 18"/>
          <p:cNvSpPr>
            <a:spLocks noChangeShapeType="1"/>
          </p:cNvSpPr>
          <p:nvPr/>
        </p:nvSpPr>
        <p:spPr bwMode="auto">
          <a:xfrm flipH="1">
            <a:off x="5816600" y="2535238"/>
            <a:ext cx="17097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9789" name="Text Box 19"/>
          <p:cNvSpPr txBox="1">
            <a:spLocks noChangeArrowheads="1"/>
          </p:cNvSpPr>
          <p:nvPr/>
        </p:nvSpPr>
        <p:spPr bwMode="auto">
          <a:xfrm>
            <a:off x="6451600" y="2271713"/>
            <a:ext cx="121920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30000"/>
              </a:lnSpc>
              <a:spcBef>
                <a:spcPct val="50000"/>
              </a:spcBef>
            </a:pPr>
            <a:r>
              <a:rPr lang="en-US"/>
              <a:t>Payroll Contributions</a:t>
            </a:r>
          </a:p>
        </p:txBody>
      </p:sp>
      <p:sp>
        <p:nvSpPr>
          <p:cNvPr id="459790" name="Line 20"/>
          <p:cNvSpPr>
            <a:spLocks noChangeShapeType="1"/>
          </p:cNvSpPr>
          <p:nvPr/>
        </p:nvSpPr>
        <p:spPr bwMode="auto">
          <a:xfrm flipV="1">
            <a:off x="1911350" y="2330450"/>
            <a:ext cx="125888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9791" name="Line 21"/>
          <p:cNvSpPr>
            <a:spLocks noChangeShapeType="1"/>
          </p:cNvSpPr>
          <p:nvPr/>
        </p:nvSpPr>
        <p:spPr bwMode="auto">
          <a:xfrm flipH="1" flipV="1">
            <a:off x="1982788" y="3619500"/>
            <a:ext cx="118110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9792" name="Text Box 23"/>
          <p:cNvSpPr txBox="1">
            <a:spLocks noChangeArrowheads="1"/>
          </p:cNvSpPr>
          <p:nvPr/>
        </p:nvSpPr>
        <p:spPr bwMode="auto">
          <a:xfrm>
            <a:off x="768350" y="2216150"/>
            <a:ext cx="117633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1200"/>
              <a:t>ALMPs    -8,0</a:t>
            </a:r>
          </a:p>
        </p:txBody>
      </p:sp>
      <p:sp>
        <p:nvSpPr>
          <p:cNvPr id="459793" name="Text Box 24"/>
          <p:cNvSpPr txBox="1">
            <a:spLocks noChangeArrowheads="1"/>
          </p:cNvSpPr>
          <p:nvPr/>
        </p:nvSpPr>
        <p:spPr bwMode="auto">
          <a:xfrm>
            <a:off x="615950" y="2890838"/>
            <a:ext cx="1381125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200"/>
              <a:t>„Compensation“ for transition from SI to SA      </a:t>
            </a:r>
          </a:p>
          <a:p>
            <a:pPr>
              <a:spcBef>
                <a:spcPct val="50000"/>
              </a:spcBef>
            </a:pPr>
            <a:r>
              <a:rPr lang="en-US" sz="1200"/>
              <a:t>                    +5,0</a:t>
            </a:r>
          </a:p>
        </p:txBody>
      </p:sp>
      <p:sp>
        <p:nvSpPr>
          <p:cNvPr id="298009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94038" y="4338638"/>
            <a:ext cx="3394075" cy="174942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 b="1"/>
              <a:t>Joint Delivery Units ARGE/gE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Unemployment Benefit II	19,5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endParaRPr lang="en-US" sz="1200"/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Housing Cost*	14,5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endParaRPr lang="en-US" sz="1200"/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ALMPs**	5,0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endParaRPr lang="en-US" sz="1200"/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/>
              <a:t>Admin-Cost 	3,8</a:t>
            </a:r>
          </a:p>
          <a:p>
            <a:pPr defTabSz="857250" eaLnBrk="0" hangingPunct="0">
              <a:buClr>
                <a:schemeClr val="bg2"/>
              </a:buClr>
              <a:buSzPct val="80000"/>
              <a:buFont typeface="Wingdings" pitchFamily="2" charset="2"/>
              <a:buNone/>
              <a:tabLst>
                <a:tab pos="185738" algn="l"/>
                <a:tab pos="2597150" algn="r"/>
                <a:tab pos="3048000" algn="r"/>
              </a:tabLst>
            </a:pPr>
            <a:r>
              <a:rPr lang="en-US" sz="1200" b="1"/>
              <a:t>	Total Spending		42,8</a:t>
            </a:r>
          </a:p>
        </p:txBody>
      </p:sp>
      <p:sp>
        <p:nvSpPr>
          <p:cNvPr id="298010" name="Rectangle 26"/>
          <p:cNvSpPr>
            <a:spLocks noChangeArrowheads="1"/>
          </p:cNvSpPr>
          <p:nvPr/>
        </p:nvSpPr>
        <p:spPr bwMode="auto">
          <a:xfrm>
            <a:off x="2619375" y="4338638"/>
            <a:ext cx="476250" cy="1749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US" sz="1200" b="1"/>
          </a:p>
          <a:p>
            <a:pPr algn="ctr" eaLnBrk="0" hangingPunct="0">
              <a:lnSpc>
                <a:spcPct val="90000"/>
              </a:lnSpc>
            </a:pPr>
            <a:endParaRPr lang="en-US" sz="1200" b="1"/>
          </a:p>
          <a:p>
            <a:pPr algn="ctr" eaLnBrk="0" hangingPunct="0">
              <a:lnSpc>
                <a:spcPct val="90000"/>
              </a:lnSpc>
            </a:pPr>
            <a:r>
              <a:rPr lang="en-US" sz="1200" b="1"/>
              <a:t>UB II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sz="1200" b="1"/>
              <a:t/>
            </a:r>
            <a:br>
              <a:rPr lang="en-US" sz="1200" b="1"/>
            </a:br>
            <a:r>
              <a:rPr lang="en-US" sz="1200" b="1"/>
              <a:t>(SA)</a:t>
            </a:r>
          </a:p>
        </p:txBody>
      </p:sp>
      <p:sp>
        <p:nvSpPr>
          <p:cNvPr id="298011" name="AutoShape 27"/>
          <p:cNvSpPr>
            <a:spLocks noChangeArrowheads="1"/>
          </p:cNvSpPr>
          <p:nvPr/>
        </p:nvSpPr>
        <p:spPr bwMode="auto">
          <a:xfrm>
            <a:off x="300038" y="3305175"/>
            <a:ext cx="1579562" cy="1076325"/>
          </a:xfrm>
          <a:prstGeom prst="irregularSeal1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>
                <a:solidFill>
                  <a:schemeClr val="bg1"/>
                </a:solidFill>
              </a:rPr>
              <a:t>Break with contribution / fiscal logic</a:t>
            </a:r>
          </a:p>
        </p:txBody>
      </p:sp>
      <p:sp>
        <p:nvSpPr>
          <p:cNvPr id="459797" name="Text Box 32"/>
          <p:cNvSpPr txBox="1">
            <a:spLocks noChangeArrowheads="1"/>
          </p:cNvSpPr>
          <p:nvPr/>
        </p:nvSpPr>
        <p:spPr bwMode="auto">
          <a:xfrm>
            <a:off x="501650" y="6143625"/>
            <a:ext cx="834072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en-GB" sz="800"/>
              <a:t>* Measure of total-system housing cost not consistent with local 26% federal / 74% municipal cost share owing to “Option/zkT” delivery model in some localities</a:t>
            </a:r>
          </a:p>
          <a:p>
            <a:pPr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en-GB" sz="800"/>
              <a:t>** of which: Public-Employment-Schemes 33%, Employer-Subsidies 20%, Training 16%, Job-Placement 12%</a:t>
            </a:r>
          </a:p>
        </p:txBody>
      </p:sp>
      <p:sp>
        <p:nvSpPr>
          <p:cNvPr id="298017" name="Line 33"/>
          <p:cNvSpPr>
            <a:spLocks noChangeShapeType="1"/>
          </p:cNvSpPr>
          <p:nvPr/>
        </p:nvSpPr>
        <p:spPr bwMode="auto">
          <a:xfrm flipV="1">
            <a:off x="1925638" y="4668838"/>
            <a:ext cx="12588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18" name="Text Box 34"/>
          <p:cNvSpPr txBox="1">
            <a:spLocks noChangeArrowheads="1"/>
          </p:cNvSpPr>
          <p:nvPr/>
        </p:nvSpPr>
        <p:spPr bwMode="auto">
          <a:xfrm>
            <a:off x="782638" y="4554538"/>
            <a:ext cx="1176337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1200"/>
              <a:t>Benefit   19,5</a:t>
            </a:r>
          </a:p>
        </p:txBody>
      </p:sp>
      <p:sp>
        <p:nvSpPr>
          <p:cNvPr id="298020" name="Text Box 36"/>
          <p:cNvSpPr txBox="1">
            <a:spLocks noChangeArrowheads="1"/>
          </p:cNvSpPr>
          <p:nvPr/>
        </p:nvSpPr>
        <p:spPr bwMode="auto">
          <a:xfrm>
            <a:off x="565150" y="4899025"/>
            <a:ext cx="140811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1200"/>
              <a:t>Housing Cost  2,8</a:t>
            </a:r>
          </a:p>
        </p:txBody>
      </p:sp>
      <p:sp>
        <p:nvSpPr>
          <p:cNvPr id="298023" name="Line 39"/>
          <p:cNvSpPr>
            <a:spLocks noChangeShapeType="1"/>
          </p:cNvSpPr>
          <p:nvPr/>
        </p:nvSpPr>
        <p:spPr bwMode="auto">
          <a:xfrm flipH="1">
            <a:off x="5830888" y="5026025"/>
            <a:ext cx="17097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24" name="Text Box 40"/>
          <p:cNvSpPr txBox="1">
            <a:spLocks noChangeArrowheads="1"/>
          </p:cNvSpPr>
          <p:nvPr/>
        </p:nvSpPr>
        <p:spPr bwMode="auto">
          <a:xfrm>
            <a:off x="6732588" y="4737100"/>
            <a:ext cx="12192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30000"/>
              </a:lnSpc>
              <a:spcBef>
                <a:spcPct val="50000"/>
              </a:spcBef>
            </a:pPr>
            <a:r>
              <a:rPr lang="en-US" sz="1200"/>
              <a:t>11,7</a:t>
            </a:r>
          </a:p>
        </p:txBody>
      </p:sp>
      <p:sp>
        <p:nvSpPr>
          <p:cNvPr id="298025" name="Line 41"/>
          <p:cNvSpPr>
            <a:spLocks noChangeShapeType="1"/>
          </p:cNvSpPr>
          <p:nvPr/>
        </p:nvSpPr>
        <p:spPr bwMode="auto">
          <a:xfrm flipV="1">
            <a:off x="1927225" y="5038725"/>
            <a:ext cx="125888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26" name="Text Box 42"/>
          <p:cNvSpPr txBox="1">
            <a:spLocks noChangeArrowheads="1"/>
          </p:cNvSpPr>
          <p:nvPr/>
        </p:nvSpPr>
        <p:spPr bwMode="auto">
          <a:xfrm>
            <a:off x="554038" y="5256213"/>
            <a:ext cx="140811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1200"/>
              <a:t>ALMPs     5,0</a:t>
            </a:r>
          </a:p>
        </p:txBody>
      </p:sp>
      <p:sp>
        <p:nvSpPr>
          <p:cNvPr id="298027" name="Line 43"/>
          <p:cNvSpPr>
            <a:spLocks noChangeShapeType="1"/>
          </p:cNvSpPr>
          <p:nvPr/>
        </p:nvSpPr>
        <p:spPr bwMode="auto">
          <a:xfrm flipV="1">
            <a:off x="1928813" y="5395913"/>
            <a:ext cx="125888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28" name="Text Box 44"/>
          <p:cNvSpPr txBox="1">
            <a:spLocks noChangeArrowheads="1"/>
          </p:cNvSpPr>
          <p:nvPr/>
        </p:nvSpPr>
        <p:spPr bwMode="auto">
          <a:xfrm>
            <a:off x="555625" y="5626100"/>
            <a:ext cx="140811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1200"/>
              <a:t>Admin     2,7</a:t>
            </a:r>
          </a:p>
        </p:txBody>
      </p:sp>
      <p:sp>
        <p:nvSpPr>
          <p:cNvPr id="298029" name="Line 45"/>
          <p:cNvSpPr>
            <a:spLocks noChangeShapeType="1"/>
          </p:cNvSpPr>
          <p:nvPr/>
        </p:nvSpPr>
        <p:spPr bwMode="auto">
          <a:xfrm flipV="1">
            <a:off x="1930400" y="5765800"/>
            <a:ext cx="125888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30" name="Line 46"/>
          <p:cNvSpPr>
            <a:spLocks noChangeShapeType="1"/>
          </p:cNvSpPr>
          <p:nvPr/>
        </p:nvSpPr>
        <p:spPr bwMode="auto">
          <a:xfrm flipH="1">
            <a:off x="5832475" y="5764213"/>
            <a:ext cx="17097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8031" name="Text Box 47"/>
          <p:cNvSpPr txBox="1">
            <a:spLocks noChangeArrowheads="1"/>
          </p:cNvSpPr>
          <p:nvPr/>
        </p:nvSpPr>
        <p:spPr bwMode="auto">
          <a:xfrm>
            <a:off x="6734175" y="5475288"/>
            <a:ext cx="12192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30000"/>
              </a:lnSpc>
              <a:spcBef>
                <a:spcPct val="50000"/>
              </a:spcBef>
            </a:pPr>
            <a:r>
              <a:rPr lang="en-US" sz="1200"/>
              <a:t>1,1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980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7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597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597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979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980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2980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980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2980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2980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2980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298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298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298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298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298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4" dur="500"/>
                                        <p:tgtEl>
                                          <p:spTgt spid="298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298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0" dur="500"/>
                                        <p:tgtEl>
                                          <p:spTgt spid="298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998" grpId="0" animBg="1"/>
      <p:bldP spid="459791" grpId="0" animBg="1"/>
      <p:bldP spid="459793" grpId="0"/>
      <p:bldP spid="298009" grpId="0" animBg="1"/>
      <p:bldP spid="298010" grpId="0" animBg="1"/>
      <p:bldP spid="298011" grpId="0" animBg="1"/>
      <p:bldP spid="298017" grpId="0" animBg="1"/>
      <p:bldP spid="298018" grpId="0"/>
      <p:bldP spid="298020" grpId="0"/>
      <p:bldP spid="298023" grpId="0" animBg="1"/>
      <p:bldP spid="298024" grpId="0"/>
      <p:bldP spid="298025" grpId="0" animBg="1"/>
      <p:bldP spid="298026" grpId="0"/>
      <p:bldP spid="298027" grpId="0" animBg="1"/>
      <p:bldP spid="298028" grpId="0"/>
      <p:bldP spid="298029" grpId="0" animBg="1"/>
      <p:bldP spid="298030" grpId="0" animBg="1"/>
      <p:bldP spid="29803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938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52438" y="808038"/>
            <a:ext cx="8875712" cy="601662"/>
          </a:xfrm>
          <a:noFill/>
        </p:spPr>
        <p:txBody>
          <a:bodyPr anchor="b"/>
          <a:lstStyle/>
          <a:p>
            <a:r>
              <a:rPr lang="en-GB" smtClean="0"/>
              <a:t>Hartz reform increased the number of SA beneficiaries in 2005 –</a:t>
            </a:r>
            <a:br>
              <a:rPr lang="en-GB" smtClean="0"/>
            </a:br>
            <a:endParaRPr lang="en-GB" smtClean="0"/>
          </a:p>
        </p:txBody>
      </p:sp>
      <p:graphicFrame>
        <p:nvGraphicFramePr>
          <p:cNvPr id="423939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37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3940" name="Object 4"/>
          <p:cNvGraphicFramePr>
            <a:graphicFrameLocks noChangeAspect="1"/>
          </p:cNvGraphicFramePr>
          <p:nvPr/>
        </p:nvGraphicFramePr>
        <p:xfrm>
          <a:off x="331788" y="1530350"/>
          <a:ext cx="5886450" cy="4835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38" name="Diagramm" r:id="rId9" imgW="6134100" imgH="5038725" progId="MSGraph.Chart.8">
                  <p:embed followColorScheme="full"/>
                </p:oleObj>
              </mc:Choice>
              <mc:Fallback>
                <p:oleObj name="Diagramm" r:id="rId9" imgW="6134100" imgH="5038725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31788" y="1530350"/>
                        <a:ext cx="5886450" cy="4835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3941" name="Text Box 5"/>
          <p:cNvSpPr txBox="1">
            <a:spLocks noChangeArrowheads="1"/>
          </p:cNvSpPr>
          <p:nvPr/>
        </p:nvSpPr>
        <p:spPr bwMode="gray">
          <a:xfrm>
            <a:off x="463550" y="6069013"/>
            <a:ext cx="5486400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800"/>
              <a:t>Source: Konle-Seidl 2009, BMAS 2010, OECD 2010, FLA 08-2011, Federal and State Statistical Offices 2010</a:t>
            </a:r>
            <a:br>
              <a:rPr lang="en-GB" sz="800"/>
            </a:br>
            <a:r>
              <a:rPr lang="en-GB" sz="800"/>
              <a:t>* 90,000 cases of double-benefits UB I and UB II eliminated from summation</a:t>
            </a:r>
            <a:br>
              <a:rPr lang="en-GB" sz="800"/>
            </a:br>
            <a:r>
              <a:rPr lang="en-GB" sz="800"/>
              <a:t>** Sozialgeld (SGB II transfer for dependents not able and required to work) 1.8m beneficiaries, Sozialhilfe (SGB XII transfer mainly for old-age income support) 0.8m beneficiaries (2008 data)</a:t>
            </a:r>
          </a:p>
        </p:txBody>
      </p:sp>
      <p:sp>
        <p:nvSpPr>
          <p:cNvPr id="423942" name="AutoShape 6"/>
          <p:cNvSpPr>
            <a:spLocks noChangeArrowheads="1"/>
          </p:cNvSpPr>
          <p:nvPr/>
        </p:nvSpPr>
        <p:spPr bwMode="gray">
          <a:xfrm>
            <a:off x="4692650" y="5127625"/>
            <a:ext cx="1589088" cy="593725"/>
          </a:xfrm>
          <a:prstGeom prst="wedgeRoundRectCallout">
            <a:avLst>
              <a:gd name="adj1" fmla="val 16134"/>
              <a:gd name="adj2" fmla="val -123528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50% of which registered as unemployed</a:t>
            </a:r>
          </a:p>
        </p:txBody>
      </p:sp>
      <p:sp>
        <p:nvSpPr>
          <p:cNvPr id="423943" name="Rectangle 7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319D9476-18F0-418B-8463-0F31B8CB8CAD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7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423944" name="Text Box 8"/>
          <p:cNvSpPr txBox="1">
            <a:spLocks noChangeArrowheads="1"/>
          </p:cNvSpPr>
          <p:nvPr/>
        </p:nvSpPr>
        <p:spPr bwMode="gray">
          <a:xfrm>
            <a:off x="903288" y="3906838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3,16</a:t>
            </a:r>
          </a:p>
        </p:txBody>
      </p:sp>
      <p:sp>
        <p:nvSpPr>
          <p:cNvPr id="423945" name="Text Box 9"/>
          <p:cNvSpPr txBox="1">
            <a:spLocks noChangeArrowheads="1"/>
          </p:cNvSpPr>
          <p:nvPr/>
        </p:nvSpPr>
        <p:spPr bwMode="gray">
          <a:xfrm>
            <a:off x="1346200" y="3884613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3,21</a:t>
            </a:r>
          </a:p>
        </p:txBody>
      </p:sp>
      <p:sp>
        <p:nvSpPr>
          <p:cNvPr id="423946" name="Text Box 10"/>
          <p:cNvSpPr txBox="1">
            <a:spLocks noChangeArrowheads="1"/>
          </p:cNvSpPr>
          <p:nvPr/>
        </p:nvSpPr>
        <p:spPr bwMode="gray">
          <a:xfrm>
            <a:off x="1827213" y="3700463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3,59</a:t>
            </a:r>
          </a:p>
        </p:txBody>
      </p:sp>
      <p:sp>
        <p:nvSpPr>
          <p:cNvPr id="423947" name="Text Box 11"/>
          <p:cNvSpPr txBox="1">
            <a:spLocks noChangeArrowheads="1"/>
          </p:cNvSpPr>
          <p:nvPr/>
        </p:nvSpPr>
        <p:spPr bwMode="gray">
          <a:xfrm>
            <a:off x="2244725" y="3529013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3,91</a:t>
            </a:r>
          </a:p>
        </p:txBody>
      </p:sp>
      <p:sp>
        <p:nvSpPr>
          <p:cNvPr id="423948" name="Text Box 12"/>
          <p:cNvSpPr txBox="1">
            <a:spLocks noChangeArrowheads="1"/>
          </p:cNvSpPr>
          <p:nvPr/>
        </p:nvSpPr>
        <p:spPr bwMode="gray">
          <a:xfrm>
            <a:off x="2724150" y="3457575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4,04</a:t>
            </a:r>
          </a:p>
        </p:txBody>
      </p:sp>
      <p:sp>
        <p:nvSpPr>
          <p:cNvPr id="423949" name="Text Box 13"/>
          <p:cNvSpPr txBox="1">
            <a:spLocks noChangeArrowheads="1"/>
          </p:cNvSpPr>
          <p:nvPr/>
        </p:nvSpPr>
        <p:spPr bwMode="gray">
          <a:xfrm>
            <a:off x="3179763" y="2176463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6,71</a:t>
            </a:r>
          </a:p>
        </p:txBody>
      </p:sp>
      <p:sp>
        <p:nvSpPr>
          <p:cNvPr id="423950" name="Text Box 14"/>
          <p:cNvSpPr txBox="1">
            <a:spLocks noChangeArrowheads="1"/>
          </p:cNvSpPr>
          <p:nvPr/>
        </p:nvSpPr>
        <p:spPr bwMode="gray">
          <a:xfrm>
            <a:off x="3635375" y="2117725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6,84</a:t>
            </a:r>
          </a:p>
        </p:txBody>
      </p:sp>
      <p:sp>
        <p:nvSpPr>
          <p:cNvPr id="423951" name="Text Box 15"/>
          <p:cNvSpPr txBox="1">
            <a:spLocks noChangeArrowheads="1"/>
          </p:cNvSpPr>
          <p:nvPr/>
        </p:nvSpPr>
        <p:spPr bwMode="gray">
          <a:xfrm>
            <a:off x="4127500" y="2354263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6,36</a:t>
            </a:r>
          </a:p>
        </p:txBody>
      </p:sp>
      <p:sp>
        <p:nvSpPr>
          <p:cNvPr id="423952" name="Text Box 16"/>
          <p:cNvSpPr txBox="1">
            <a:spLocks noChangeArrowheads="1"/>
          </p:cNvSpPr>
          <p:nvPr/>
        </p:nvSpPr>
        <p:spPr bwMode="gray">
          <a:xfrm>
            <a:off x="4570413" y="2586038"/>
            <a:ext cx="4984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5,93</a:t>
            </a:r>
          </a:p>
        </p:txBody>
      </p:sp>
      <p:sp>
        <p:nvSpPr>
          <p:cNvPr id="423953" name="Text Box 17"/>
          <p:cNvSpPr txBox="1">
            <a:spLocks noChangeArrowheads="1"/>
          </p:cNvSpPr>
          <p:nvPr/>
        </p:nvSpPr>
        <p:spPr bwMode="gray">
          <a:xfrm>
            <a:off x="5462588" y="2751138"/>
            <a:ext cx="5873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1200" b="1"/>
              <a:t>5,49*</a:t>
            </a:r>
          </a:p>
        </p:txBody>
      </p:sp>
      <p:sp>
        <p:nvSpPr>
          <p:cNvPr id="42395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92850" y="3698875"/>
            <a:ext cx="3222625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Basic Income Support covers 5.7% of population in Germany (including 1.4m in-work-benefits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In addition: 2.6m recipients of “Sozialgeld” and “Sozialhilfe” not able and required to work (3.1% of population)**</a:t>
            </a:r>
          </a:p>
        </p:txBody>
      </p:sp>
      <p:sp>
        <p:nvSpPr>
          <p:cNvPr id="423955" name="Rectangle 19"/>
          <p:cNvSpPr>
            <a:spLocks noChangeArrowheads="1"/>
          </p:cNvSpPr>
          <p:nvPr/>
        </p:nvSpPr>
        <p:spPr bwMode="gray">
          <a:xfrm rot="16200000">
            <a:off x="-71437" y="3621087"/>
            <a:ext cx="755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Million Beneficiaries</a:t>
            </a:r>
          </a:p>
        </p:txBody>
      </p:sp>
      <p:sp>
        <p:nvSpPr>
          <p:cNvPr id="423956" name="Oval 20"/>
          <p:cNvSpPr>
            <a:spLocks noChangeArrowheads="1"/>
          </p:cNvSpPr>
          <p:nvPr/>
        </p:nvSpPr>
        <p:spPr bwMode="auto">
          <a:xfrm>
            <a:off x="3155950" y="3106738"/>
            <a:ext cx="523875" cy="247650"/>
          </a:xfrm>
          <a:prstGeom prst="ellipse">
            <a:avLst/>
          </a:prstGeom>
          <a:solidFill>
            <a:srgbClr val="FF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200" b="1"/>
              <a:t>25%</a:t>
            </a:r>
          </a:p>
        </p:txBody>
      </p:sp>
      <p:sp>
        <p:nvSpPr>
          <p:cNvPr id="423957" name="Oval 21"/>
          <p:cNvSpPr>
            <a:spLocks noChangeArrowheads="1"/>
          </p:cNvSpPr>
          <p:nvPr/>
        </p:nvSpPr>
        <p:spPr bwMode="auto">
          <a:xfrm>
            <a:off x="5494338" y="3308350"/>
            <a:ext cx="523875" cy="247650"/>
          </a:xfrm>
          <a:prstGeom prst="ellipse">
            <a:avLst/>
          </a:prstGeom>
          <a:solidFill>
            <a:srgbClr val="FF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200" b="1"/>
              <a:t>15%</a:t>
            </a:r>
          </a:p>
        </p:txBody>
      </p:sp>
      <p:sp>
        <p:nvSpPr>
          <p:cNvPr id="423958" name="Oval 22"/>
          <p:cNvSpPr>
            <a:spLocks noChangeArrowheads="1"/>
          </p:cNvSpPr>
          <p:nvPr/>
        </p:nvSpPr>
        <p:spPr bwMode="auto">
          <a:xfrm>
            <a:off x="990600" y="2655888"/>
            <a:ext cx="1843088" cy="320675"/>
          </a:xfrm>
          <a:prstGeom prst="ellipse">
            <a:avLst/>
          </a:prstGeom>
          <a:solidFill>
            <a:srgbClr val="FF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/>
            <a:r>
              <a:rPr lang="de-DE" sz="800" b="1"/>
              <a:t>Share of Social Insurance Beneficiaries</a:t>
            </a:r>
          </a:p>
        </p:txBody>
      </p:sp>
      <p:sp>
        <p:nvSpPr>
          <p:cNvPr id="423959" name="Rectangle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0375" y="803275"/>
            <a:ext cx="8875713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GB" sz="2200" b="1"/>
              <a:t>share of Social Insurance beneficiaries now in decline</a:t>
            </a:r>
          </a:p>
        </p:txBody>
      </p:sp>
      <p:sp>
        <p:nvSpPr>
          <p:cNvPr id="423960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291263" y="1665288"/>
            <a:ext cx="3222625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Number of “classical” unemployed in constant decline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“Hardening” of stock of hard-to-serve cases in Basic Income Support popula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239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239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4239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239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239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4239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4239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3942" grpId="0" animBg="1"/>
      <p:bldP spid="423954" grpId="0"/>
      <p:bldP spid="423956" grpId="0" animBg="1"/>
      <p:bldP spid="423957" grpId="0" animBg="1"/>
      <p:bldP spid="423958" grpId="0" animBg="1"/>
      <p:bldP spid="423959" grpId="0"/>
      <p:bldP spid="42396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325438" y="2753953"/>
            <a:ext cx="9367837" cy="403225"/>
          </a:xfrm>
          <a:prstGeom prst="rect">
            <a:avLst/>
          </a:prstGeom>
          <a:solidFill>
            <a:srgbClr val="EAEAEA"/>
          </a:solidFill>
          <a:ln w="381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b="1"/>
          </a:p>
        </p:txBody>
      </p:sp>
      <p:sp>
        <p:nvSpPr>
          <p:cNvPr id="18944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438" y="1652588"/>
            <a:ext cx="9109075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abor-market </a:t>
            </a:r>
            <a:r>
              <a:rPr lang="en-GB" sz="1800" dirty="0"/>
              <a:t>and reforms in </a:t>
            </a:r>
            <a:r>
              <a:rPr lang="en-GB" sz="1800" dirty="0" smtClean="0"/>
              <a:t>Germany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All together now: governance of </a:t>
            </a:r>
            <a:r>
              <a:rPr lang="en-GB" sz="1800" dirty="0" err="1" smtClean="0"/>
              <a:t>labor</a:t>
            </a:r>
            <a:r>
              <a:rPr lang="en-GB" sz="1800" dirty="0" smtClean="0"/>
              <a:t> market and social inclusion programs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b="1" dirty="0" smtClean="0"/>
              <a:t>Linkage </a:t>
            </a:r>
            <a:r>
              <a:rPr lang="en-GB" sz="1800" b="1" dirty="0"/>
              <a:t>to </a:t>
            </a:r>
            <a:r>
              <a:rPr lang="en-GB" sz="1800" b="1" dirty="0" smtClean="0"/>
              <a:t>social </a:t>
            </a:r>
            <a:r>
              <a:rPr lang="en-GB" sz="1800" b="1" dirty="0"/>
              <a:t>a</a:t>
            </a:r>
            <a:r>
              <a:rPr lang="en-GB" sz="1800" b="1" dirty="0" smtClean="0"/>
              <a:t>ssistance</a:t>
            </a:r>
            <a:r>
              <a:rPr lang="en-GB" sz="1800" b="1" dirty="0"/>
              <a:t>: joint delivery of </a:t>
            </a:r>
            <a:r>
              <a:rPr lang="en-GB" sz="1800" b="1" dirty="0" smtClean="0"/>
              <a:t>income support with </a:t>
            </a:r>
            <a:r>
              <a:rPr lang="en-GB" sz="1800" b="1" dirty="0"/>
              <a:t>municipaliti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/>
              <a:t>Beyond payments: labour market services and programm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Current developments </a:t>
            </a:r>
            <a:r>
              <a:rPr lang="en-GB" sz="1800" dirty="0"/>
              <a:t>and </a:t>
            </a:r>
            <a:r>
              <a:rPr lang="en-GB" sz="1800" dirty="0" smtClean="0"/>
              <a:t>challenges</a:t>
            </a:r>
            <a:endParaRPr lang="en-GB" sz="1800" dirty="0"/>
          </a:p>
        </p:txBody>
      </p:sp>
      <p:sp>
        <p:nvSpPr>
          <p:cNvPr id="1894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/>
              <a:t>Current Challenges in the Joint Delivery of Labor Market Services and Social Assistance in </a:t>
            </a:r>
            <a:r>
              <a:rPr lang="en-US" dirty="0" smtClean="0"/>
              <a:t>Germany</a:t>
            </a:r>
            <a:endParaRPr lang="en-GB" dirty="0" smtClean="0"/>
          </a:p>
        </p:txBody>
      </p:sp>
      <p:graphicFrame>
        <p:nvGraphicFramePr>
          <p:cNvPr id="18944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4A1AF54-4F23-4F38-AA52-64613277B7D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8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580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4025" y="8112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Basic Income Support mainly delivered via cooperation of Federal Labour Agency (FLA) and municipalities</a:t>
            </a:r>
          </a:p>
        </p:txBody>
      </p:sp>
      <p:graphicFrame>
        <p:nvGraphicFramePr>
          <p:cNvPr id="44544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9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389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40175" y="1649413"/>
            <a:ext cx="5592763" cy="465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 dirty="0">
                <a:sym typeface="Wingdings" pitchFamily="2" charset="2"/>
              </a:rPr>
              <a:t>Approx. 330 “ARGE/</a:t>
            </a:r>
            <a:r>
              <a:rPr lang="en-GB" sz="1800" dirty="0" err="1">
                <a:sym typeface="Wingdings" pitchFamily="2" charset="2"/>
              </a:rPr>
              <a:t>gE</a:t>
            </a:r>
            <a:r>
              <a:rPr lang="en-GB" sz="1800" dirty="0">
                <a:sym typeface="Wingdings" pitchFamily="2" charset="2"/>
              </a:rPr>
              <a:t>”* joint delivery units established between FLA and municipalities</a:t>
            </a:r>
          </a:p>
          <a:p>
            <a:pPr marL="917575" lvl="1" indent="-3810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 smtClean="0">
                <a:sym typeface="Wingdings" pitchFamily="2" charset="2"/>
              </a:rPr>
              <a:t>110 “option</a:t>
            </a:r>
            <a:r>
              <a:rPr lang="en-GB" sz="1700" dirty="0">
                <a:sym typeface="Wingdings" pitchFamily="2" charset="2"/>
              </a:rPr>
              <a:t>” municipalities deliver services by themselves (without FLA)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 dirty="0">
                <a:sym typeface="Wingdings" pitchFamily="2" charset="2"/>
              </a:rPr>
              <a:t>ARGE/</a:t>
            </a:r>
            <a:r>
              <a:rPr lang="en-GB" sz="1800" dirty="0" err="1">
                <a:sym typeface="Wingdings" pitchFamily="2" charset="2"/>
              </a:rPr>
              <a:t>gE</a:t>
            </a:r>
            <a:r>
              <a:rPr lang="en-GB" sz="1800" dirty="0">
                <a:sym typeface="Wingdings" pitchFamily="2" charset="2"/>
              </a:rPr>
              <a:t> merges two logics:</a:t>
            </a:r>
          </a:p>
          <a:p>
            <a:pPr marL="917575" lvl="1" indent="-381000"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u="sng" dirty="0">
                <a:sym typeface="Wingdings" pitchFamily="2" charset="2"/>
              </a:rPr>
              <a:t>Central:</a:t>
            </a:r>
            <a:r>
              <a:rPr lang="en-GB" sz="1700" dirty="0">
                <a:sym typeface="Wingdings" pitchFamily="2" charset="2"/>
              </a:rPr>
              <a:t> labour market, integration, training, standards, controlling, etc.</a:t>
            </a:r>
          </a:p>
          <a:p>
            <a:pPr marL="917575" lvl="1" indent="-381000"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u="sng" dirty="0">
                <a:sym typeface="Wingdings" pitchFamily="2" charset="2"/>
              </a:rPr>
              <a:t>Local:</a:t>
            </a:r>
            <a:r>
              <a:rPr lang="en-GB" sz="1700" dirty="0">
                <a:sym typeface="Wingdings" pitchFamily="2" charset="2"/>
              </a:rPr>
              <a:t> social worker logic, focus on individual, neighbourhood work, etc.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 dirty="0">
                <a:sym typeface="Wingdings" pitchFamily="2" charset="2"/>
              </a:rPr>
              <a:t>Central data and controlling systems </a:t>
            </a:r>
            <a:r>
              <a:rPr lang="en-GB" sz="1800" dirty="0" smtClean="0">
                <a:sym typeface="Wingdings" pitchFamily="2" charset="2"/>
              </a:rPr>
              <a:t>supposed to ensure </a:t>
            </a:r>
            <a:r>
              <a:rPr lang="en-GB" sz="1800" dirty="0">
                <a:sym typeface="Wingdings" pitchFamily="2" charset="2"/>
              </a:rPr>
              <a:t>results-orientation of the </a:t>
            </a:r>
            <a:r>
              <a:rPr lang="en-GB" sz="1800" dirty="0" smtClean="0">
                <a:sym typeface="Wingdings" pitchFamily="2" charset="2"/>
              </a:rPr>
              <a:t>organization (but often resisted from local / state level!)</a:t>
            </a:r>
            <a:endParaRPr lang="en-GB" sz="1800" dirty="0">
              <a:sym typeface="Wingdings" pitchFamily="2" charset="2"/>
            </a:endParaRP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 dirty="0">
                <a:sym typeface="Wingdings" pitchFamily="2" charset="2"/>
              </a:rPr>
              <a:t>Evaluation shows success factors:</a:t>
            </a:r>
          </a:p>
          <a:p>
            <a:pPr marL="917575" lvl="1" indent="-381000"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 smtClean="0">
                <a:sym typeface="Wingdings" pitchFamily="2" charset="2"/>
              </a:rPr>
              <a:t>Intensive and activating case </a:t>
            </a:r>
            <a:r>
              <a:rPr lang="en-GB" sz="1700" dirty="0">
                <a:sym typeface="Wingdings" pitchFamily="2" charset="2"/>
              </a:rPr>
              <a:t>management</a:t>
            </a:r>
          </a:p>
          <a:p>
            <a:pPr marL="917575" lvl="1" indent="-381000"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company-based training / activation measures</a:t>
            </a:r>
          </a:p>
          <a:p>
            <a:pPr marL="917575" lvl="1" indent="-381000"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linkage to social </a:t>
            </a:r>
            <a:r>
              <a:rPr lang="en-GB" sz="1700" dirty="0" smtClean="0">
                <a:sym typeface="Wingdings" pitchFamily="2" charset="2"/>
              </a:rPr>
              <a:t>services (with problems!)</a:t>
            </a:r>
            <a:endParaRPr lang="en-GB" sz="1700" dirty="0">
              <a:sym typeface="Wingdings" pitchFamily="2" charset="2"/>
            </a:endParaRPr>
          </a:p>
        </p:txBody>
      </p:sp>
      <p:sp>
        <p:nvSpPr>
          <p:cNvPr id="44544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150" y="1751013"/>
            <a:ext cx="3346450" cy="45497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8001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445446" name="Rectangle 7"/>
          <p:cNvSpPr>
            <a:spLocks noChangeArrowheads="1"/>
          </p:cNvSpPr>
          <p:nvPr/>
        </p:nvSpPr>
        <p:spPr bwMode="gray">
          <a:xfrm>
            <a:off x="646113" y="2754313"/>
            <a:ext cx="3090862" cy="333375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marL="174625" indent="-174625" algn="ctr" eaLnBrk="0" hangingPunct="0">
              <a:spcBef>
                <a:spcPct val="10000"/>
              </a:spcBef>
              <a:spcAft>
                <a:spcPct val="10000"/>
              </a:spcAft>
            </a:pPr>
            <a:r>
              <a:rPr lang="en-GB" sz="1400" b="1"/>
              <a:t>Municipalities and</a:t>
            </a:r>
          </a:p>
          <a:p>
            <a:pPr marL="174625" indent="-174625" algn="ctr" eaLnBrk="0" hangingPunct="0">
              <a:spcBef>
                <a:spcPct val="10000"/>
              </a:spcBef>
              <a:spcAft>
                <a:spcPct val="10000"/>
              </a:spcAft>
            </a:pPr>
            <a:r>
              <a:rPr lang="en-GB" sz="1400" b="1"/>
              <a:t>local job FLA office</a:t>
            </a:r>
          </a:p>
          <a:p>
            <a:pPr marL="174625" indent="-174625" algn="ctr" eaLnBrk="0" hangingPunct="0">
              <a:spcBef>
                <a:spcPct val="10000"/>
              </a:spcBef>
              <a:spcAft>
                <a:spcPct val="10000"/>
              </a:spcAft>
            </a:pPr>
            <a:r>
              <a:rPr lang="en-GB" sz="1400" b="1"/>
              <a:t>working together on: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rgbClr val="C80000"/>
              </a:buClr>
              <a:buFont typeface="Wingdings" pitchFamily="2" charset="2"/>
              <a:buChar char="§"/>
            </a:pPr>
            <a:r>
              <a:rPr lang="en-GB" sz="1400" b="1"/>
              <a:t>Benefits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rgbClr val="C80000"/>
              </a:buClr>
              <a:buFont typeface="Wingdings" pitchFamily="2" charset="2"/>
              <a:buChar char="§"/>
            </a:pPr>
            <a:r>
              <a:rPr lang="en-GB" sz="1400" b="1"/>
              <a:t>Training Schemes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rgbClr val="C80000"/>
              </a:buClr>
              <a:buFont typeface="Wingdings" pitchFamily="2" charset="2"/>
              <a:buChar char="§"/>
            </a:pPr>
            <a:r>
              <a:rPr lang="en-GB" sz="1400" b="1"/>
              <a:t>Job Placement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rgbClr val="C80000"/>
              </a:buClr>
              <a:buFont typeface="Wingdings" pitchFamily="2" charset="2"/>
              <a:buChar char="§"/>
            </a:pPr>
            <a:r>
              <a:rPr lang="en-GB" sz="1400" b="1"/>
              <a:t>Additional Social Services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rgbClr val="C80000"/>
              </a:buClr>
              <a:buFont typeface="Wingdings" pitchFamily="2" charset="2"/>
              <a:buChar char="§"/>
            </a:pPr>
            <a:r>
              <a:rPr lang="en-GB" sz="1400" b="1"/>
              <a:t>…</a:t>
            </a:r>
          </a:p>
        </p:txBody>
      </p:sp>
      <p:sp>
        <p:nvSpPr>
          <p:cNvPr id="445447" name="AutoShape 8"/>
          <p:cNvSpPr>
            <a:spLocks noChangeArrowheads="1"/>
          </p:cNvSpPr>
          <p:nvPr/>
        </p:nvSpPr>
        <p:spPr bwMode="gray">
          <a:xfrm>
            <a:off x="646113" y="1865313"/>
            <a:ext cx="3103562" cy="889000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b="1"/>
              <a:t>Joint </a:t>
            </a:r>
            <a:br>
              <a:rPr lang="en-GB" sz="1600" b="1"/>
            </a:br>
            <a:r>
              <a:rPr lang="en-GB" sz="1600" b="1"/>
              <a:t>Delivery Structure</a:t>
            </a:r>
          </a:p>
        </p:txBody>
      </p:sp>
      <p:pic>
        <p:nvPicPr>
          <p:cNvPr id="445448" name="Picture 9" descr="Logo B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8" t="16895" r="11687" b="9361"/>
          <a:stretch>
            <a:fillRect/>
          </a:stretch>
        </p:blipFill>
        <p:spPr bwMode="gray">
          <a:xfrm>
            <a:off x="2676525" y="2857500"/>
            <a:ext cx="887413" cy="931863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5449" name="Picture 10" descr="rathau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8675" y="2857500"/>
            <a:ext cx="1576388" cy="938213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5450" name="Rectangle 10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8BAAF7BE-320F-46C5-903A-4018DDA28730}" type="slidenum">
              <a:rPr lang="de-DE" sz="1200" b="1">
                <a:solidFill>
                  <a:srgbClr val="C80000"/>
                </a:solidFill>
              </a:rPr>
              <a:pPr algn="r" eaLnBrk="0" hangingPunct="0"/>
              <a:t>19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445451" name="Rectangle 11"/>
          <p:cNvSpPr>
            <a:spLocks noChangeArrowheads="1"/>
          </p:cNvSpPr>
          <p:nvPr/>
        </p:nvSpPr>
        <p:spPr bwMode="auto">
          <a:xfrm rot="-1172634">
            <a:off x="209550" y="1751013"/>
            <a:ext cx="1593850" cy="3937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200" b="1"/>
              <a:t>Model for majority of localities</a:t>
            </a:r>
          </a:p>
        </p:txBody>
      </p:sp>
      <p:sp>
        <p:nvSpPr>
          <p:cNvPr id="445452" name="Text Box 12"/>
          <p:cNvSpPr txBox="1">
            <a:spLocks noChangeArrowheads="1"/>
          </p:cNvSpPr>
          <p:nvPr/>
        </p:nvSpPr>
        <p:spPr bwMode="auto">
          <a:xfrm>
            <a:off x="479425" y="6307138"/>
            <a:ext cx="877570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539750" indent="-539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/>
              <a:t>* ARGE = Arbeitsgemeinschaft (pre-2010 term), gE = gemeinsame Einrichtung (post 2010 term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62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8" y="801688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Germany’s federal political structure is a key framework for labour market policy and social safety net design</a:t>
            </a:r>
          </a:p>
        </p:txBody>
      </p:sp>
      <p:graphicFrame>
        <p:nvGraphicFramePr>
          <p:cNvPr id="50176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8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76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150" y="1751013"/>
            <a:ext cx="2889250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Federal Republic of Germany</a:t>
            </a:r>
          </a:p>
        </p:txBody>
      </p:sp>
      <p:sp>
        <p:nvSpPr>
          <p:cNvPr id="50176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150" y="2260600"/>
            <a:ext cx="2889250" cy="3748088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269875" indent="-269875" defTabSz="857250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0000"/>
              <a:buFont typeface="Wingdings" pitchFamily="2" charset="2"/>
              <a:buNone/>
            </a:pPr>
            <a:endParaRPr lang="en-GB" sz="1400"/>
          </a:p>
        </p:txBody>
      </p:sp>
      <p:graphicFrame>
        <p:nvGraphicFramePr>
          <p:cNvPr id="501947" name="Group 187"/>
          <p:cNvGraphicFramePr>
            <a:graphicFrameLocks noGrp="1"/>
          </p:cNvGraphicFramePr>
          <p:nvPr/>
        </p:nvGraphicFramePr>
        <p:xfrm>
          <a:off x="3657600" y="1751013"/>
          <a:ext cx="5986463" cy="4280548"/>
        </p:xfrm>
        <a:graphic>
          <a:graphicData uri="http://schemas.openxmlformats.org/drawingml/2006/table">
            <a:tbl>
              <a:tblPr/>
              <a:tblGrid>
                <a:gridCol w="1620838"/>
                <a:gridCol w="2287587"/>
                <a:gridCol w="2078038"/>
              </a:tblGrid>
              <a:tr h="508000">
                <a:tc>
                  <a:txBody>
                    <a:bodyPr/>
                    <a:lstStyle/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Level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275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ey Figures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275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sponsible for …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27591"/>
                    </a:solidFill>
                  </a:tcPr>
                </a:tc>
              </a:tr>
              <a:tr h="698500">
                <a:tc>
                  <a:txBody>
                    <a:bodyPr/>
                    <a:lstStyle/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ederal 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“Bund”)</a:t>
                      </a:r>
                    </a:p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en-GB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2m population </a:t>
                      </a:r>
                      <a:b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79m by 2030)*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€2,400bn Total GDP (2009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€363bn total federal budget (2009) (15% GDP)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bour market policy and Federal Labor Agency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employment Benefit I (social insurance) and II (tax-financed base benefit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ublic pensions and health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  <a:tr h="698500">
                <a:tc>
                  <a:txBody>
                    <a:bodyPr/>
                    <a:lstStyle/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ates 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“Länder”)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180975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 states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180975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€309bn total state budgets (2009) (13% GDP)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chools (teachers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ild-care (w/ mun.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olice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ulture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  <a:tr h="1414463">
                <a:tc>
                  <a:txBody>
                    <a:bodyPr/>
                    <a:lstStyle/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unicipalities </a:t>
                      </a: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“Städte, Kreise und Kommunen”)</a:t>
                      </a:r>
                    </a:p>
                    <a:p>
                      <a:pPr marL="0" marR="0" lvl="0" indent="0" algn="l" defTabSz="449263" rtl="0" eaLnBrk="0" fontAlgn="base" latinLnBrk="0" hangingPunct="0">
                        <a:lnSpc>
                          <a:spcPct val="74000"/>
                        </a:lnSpc>
                        <a:spcBef>
                          <a:spcPts val="4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en-GB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,300 Municipalities “Kommunen”, of which …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 111 large cities  ”Kreisfreie Städte”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 1,951 cities (“Städte”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01 Counties (“Kreise”) outside of “large cities”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€186bn total municipal budgets (2009) (8% GDP)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employment Benefit II (housing cost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ocial Assistance </a:t>
                      </a:r>
                      <a:b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SGB XII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chools (buildings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ild care (w/ states)</a:t>
                      </a:r>
                    </a:p>
                    <a:p>
                      <a:pPr marL="180975" marR="0" lvl="0" indent="-180975" algn="l" defTabSz="449263" rtl="0" eaLnBrk="0" fontAlgn="base" latinLnBrk="0" hangingPunct="0">
                        <a:lnSpc>
                          <a:spcPct val="100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90000" marR="90000" marT="54000" marB="46800" horzOverflow="overflow">
                    <a:lnL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01810" name="AutoShape 50"/>
          <p:cNvSpPr>
            <a:spLocks noChangeAspect="1" noChangeArrowheads="1" noTextEdit="1"/>
          </p:cNvSpPr>
          <p:nvPr/>
        </p:nvSpPr>
        <p:spPr bwMode="auto">
          <a:xfrm>
            <a:off x="1230313" y="3568700"/>
            <a:ext cx="2017712" cy="217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01811" name="Group 51"/>
          <p:cNvGrpSpPr>
            <a:grpSpLocks/>
          </p:cNvGrpSpPr>
          <p:nvPr/>
        </p:nvGrpSpPr>
        <p:grpSpPr bwMode="auto">
          <a:xfrm>
            <a:off x="677863" y="2335213"/>
            <a:ext cx="2647950" cy="3517900"/>
            <a:chOff x="754" y="2341"/>
            <a:chExt cx="1025" cy="1361"/>
          </a:xfrm>
        </p:grpSpPr>
        <p:sp>
          <p:nvSpPr>
            <p:cNvPr id="501812" name="Freeform 52"/>
            <p:cNvSpPr>
              <a:spLocks/>
            </p:cNvSpPr>
            <p:nvPr/>
          </p:nvSpPr>
          <p:spPr bwMode="auto">
            <a:xfrm>
              <a:off x="1326" y="2434"/>
              <a:ext cx="33" cy="21"/>
            </a:xfrm>
            <a:custGeom>
              <a:avLst/>
              <a:gdLst>
                <a:gd name="T0" fmla="*/ 2 w 33"/>
                <a:gd name="T1" fmla="*/ 8 h 21"/>
                <a:gd name="T2" fmla="*/ 5 w 33"/>
                <a:gd name="T3" fmla="*/ 0 h 21"/>
                <a:gd name="T4" fmla="*/ 7 w 33"/>
                <a:gd name="T5" fmla="*/ 0 h 21"/>
                <a:gd name="T6" fmla="*/ 13 w 33"/>
                <a:gd name="T7" fmla="*/ 0 h 21"/>
                <a:gd name="T8" fmla="*/ 23 w 33"/>
                <a:gd name="T9" fmla="*/ 3 h 21"/>
                <a:gd name="T10" fmla="*/ 26 w 33"/>
                <a:gd name="T11" fmla="*/ 5 h 21"/>
                <a:gd name="T12" fmla="*/ 28 w 33"/>
                <a:gd name="T13" fmla="*/ 5 h 21"/>
                <a:gd name="T14" fmla="*/ 28 w 33"/>
                <a:gd name="T15" fmla="*/ 8 h 21"/>
                <a:gd name="T16" fmla="*/ 31 w 33"/>
                <a:gd name="T17" fmla="*/ 10 h 21"/>
                <a:gd name="T18" fmla="*/ 33 w 33"/>
                <a:gd name="T19" fmla="*/ 13 h 21"/>
                <a:gd name="T20" fmla="*/ 33 w 33"/>
                <a:gd name="T21" fmla="*/ 21 h 21"/>
                <a:gd name="T22" fmla="*/ 33 w 33"/>
                <a:gd name="T23" fmla="*/ 21 h 21"/>
                <a:gd name="T24" fmla="*/ 31 w 33"/>
                <a:gd name="T25" fmla="*/ 21 h 21"/>
                <a:gd name="T26" fmla="*/ 26 w 33"/>
                <a:gd name="T27" fmla="*/ 18 h 21"/>
                <a:gd name="T28" fmla="*/ 23 w 33"/>
                <a:gd name="T29" fmla="*/ 21 h 21"/>
                <a:gd name="T30" fmla="*/ 23 w 33"/>
                <a:gd name="T31" fmla="*/ 18 h 21"/>
                <a:gd name="T32" fmla="*/ 23 w 33"/>
                <a:gd name="T33" fmla="*/ 18 h 21"/>
                <a:gd name="T34" fmla="*/ 20 w 33"/>
                <a:gd name="T35" fmla="*/ 18 h 21"/>
                <a:gd name="T36" fmla="*/ 20 w 33"/>
                <a:gd name="T37" fmla="*/ 18 h 21"/>
                <a:gd name="T38" fmla="*/ 18 w 33"/>
                <a:gd name="T39" fmla="*/ 21 h 21"/>
                <a:gd name="T40" fmla="*/ 20 w 33"/>
                <a:gd name="T41" fmla="*/ 21 h 21"/>
                <a:gd name="T42" fmla="*/ 13 w 33"/>
                <a:gd name="T43" fmla="*/ 21 h 21"/>
                <a:gd name="T44" fmla="*/ 10 w 33"/>
                <a:gd name="T45" fmla="*/ 18 h 21"/>
                <a:gd name="T46" fmla="*/ 10 w 33"/>
                <a:gd name="T47" fmla="*/ 13 h 21"/>
                <a:gd name="T48" fmla="*/ 10 w 33"/>
                <a:gd name="T49" fmla="*/ 13 h 21"/>
                <a:gd name="T50" fmla="*/ 10 w 33"/>
                <a:gd name="T51" fmla="*/ 13 h 21"/>
                <a:gd name="T52" fmla="*/ 7 w 33"/>
                <a:gd name="T53" fmla="*/ 13 h 21"/>
                <a:gd name="T54" fmla="*/ 7 w 33"/>
                <a:gd name="T55" fmla="*/ 10 h 21"/>
                <a:gd name="T56" fmla="*/ 7 w 33"/>
                <a:gd name="T57" fmla="*/ 10 h 21"/>
                <a:gd name="T58" fmla="*/ 7 w 33"/>
                <a:gd name="T59" fmla="*/ 13 h 21"/>
                <a:gd name="T60" fmla="*/ 5 w 33"/>
                <a:gd name="T61" fmla="*/ 13 h 21"/>
                <a:gd name="T62" fmla="*/ 5 w 33"/>
                <a:gd name="T63" fmla="*/ 13 h 21"/>
                <a:gd name="T64" fmla="*/ 2 w 33"/>
                <a:gd name="T65" fmla="*/ 13 h 21"/>
                <a:gd name="T66" fmla="*/ 2 w 33"/>
                <a:gd name="T67" fmla="*/ 15 h 21"/>
                <a:gd name="T68" fmla="*/ 5 w 33"/>
                <a:gd name="T69" fmla="*/ 15 h 21"/>
                <a:gd name="T70" fmla="*/ 2 w 33"/>
                <a:gd name="T71" fmla="*/ 15 h 21"/>
                <a:gd name="T72" fmla="*/ 0 w 33"/>
                <a:gd name="T7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" h="21">
                  <a:moveTo>
                    <a:pt x="0" y="13"/>
                  </a:moveTo>
                  <a:lnTo>
                    <a:pt x="2" y="8"/>
                  </a:ln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3" y="13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0" y="21"/>
                  </a:lnTo>
                  <a:lnTo>
                    <a:pt x="10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3" name="Freeform 53"/>
            <p:cNvSpPr>
              <a:spLocks/>
            </p:cNvSpPr>
            <p:nvPr/>
          </p:nvSpPr>
          <p:spPr bwMode="auto">
            <a:xfrm>
              <a:off x="1326" y="2434"/>
              <a:ext cx="33" cy="21"/>
            </a:xfrm>
            <a:custGeom>
              <a:avLst/>
              <a:gdLst>
                <a:gd name="T0" fmla="*/ 2 w 33"/>
                <a:gd name="T1" fmla="*/ 8 h 21"/>
                <a:gd name="T2" fmla="*/ 5 w 33"/>
                <a:gd name="T3" fmla="*/ 0 h 21"/>
                <a:gd name="T4" fmla="*/ 7 w 33"/>
                <a:gd name="T5" fmla="*/ 0 h 21"/>
                <a:gd name="T6" fmla="*/ 13 w 33"/>
                <a:gd name="T7" fmla="*/ 0 h 21"/>
                <a:gd name="T8" fmla="*/ 23 w 33"/>
                <a:gd name="T9" fmla="*/ 3 h 21"/>
                <a:gd name="T10" fmla="*/ 26 w 33"/>
                <a:gd name="T11" fmla="*/ 5 h 21"/>
                <a:gd name="T12" fmla="*/ 28 w 33"/>
                <a:gd name="T13" fmla="*/ 5 h 21"/>
                <a:gd name="T14" fmla="*/ 28 w 33"/>
                <a:gd name="T15" fmla="*/ 8 h 21"/>
                <a:gd name="T16" fmla="*/ 31 w 33"/>
                <a:gd name="T17" fmla="*/ 10 h 21"/>
                <a:gd name="T18" fmla="*/ 33 w 33"/>
                <a:gd name="T19" fmla="*/ 13 h 21"/>
                <a:gd name="T20" fmla="*/ 33 w 33"/>
                <a:gd name="T21" fmla="*/ 21 h 21"/>
                <a:gd name="T22" fmla="*/ 33 w 33"/>
                <a:gd name="T23" fmla="*/ 21 h 21"/>
                <a:gd name="T24" fmla="*/ 31 w 33"/>
                <a:gd name="T25" fmla="*/ 21 h 21"/>
                <a:gd name="T26" fmla="*/ 26 w 33"/>
                <a:gd name="T27" fmla="*/ 18 h 21"/>
                <a:gd name="T28" fmla="*/ 23 w 33"/>
                <a:gd name="T29" fmla="*/ 21 h 21"/>
                <a:gd name="T30" fmla="*/ 23 w 33"/>
                <a:gd name="T31" fmla="*/ 18 h 21"/>
                <a:gd name="T32" fmla="*/ 23 w 33"/>
                <a:gd name="T33" fmla="*/ 18 h 21"/>
                <a:gd name="T34" fmla="*/ 20 w 33"/>
                <a:gd name="T35" fmla="*/ 18 h 21"/>
                <a:gd name="T36" fmla="*/ 20 w 33"/>
                <a:gd name="T37" fmla="*/ 18 h 21"/>
                <a:gd name="T38" fmla="*/ 18 w 33"/>
                <a:gd name="T39" fmla="*/ 21 h 21"/>
                <a:gd name="T40" fmla="*/ 20 w 33"/>
                <a:gd name="T41" fmla="*/ 21 h 21"/>
                <a:gd name="T42" fmla="*/ 13 w 33"/>
                <a:gd name="T43" fmla="*/ 21 h 21"/>
                <a:gd name="T44" fmla="*/ 10 w 33"/>
                <a:gd name="T45" fmla="*/ 18 h 21"/>
                <a:gd name="T46" fmla="*/ 10 w 33"/>
                <a:gd name="T47" fmla="*/ 13 h 21"/>
                <a:gd name="T48" fmla="*/ 10 w 33"/>
                <a:gd name="T49" fmla="*/ 13 h 21"/>
                <a:gd name="T50" fmla="*/ 10 w 33"/>
                <a:gd name="T51" fmla="*/ 13 h 21"/>
                <a:gd name="T52" fmla="*/ 7 w 33"/>
                <a:gd name="T53" fmla="*/ 13 h 21"/>
                <a:gd name="T54" fmla="*/ 7 w 33"/>
                <a:gd name="T55" fmla="*/ 10 h 21"/>
                <a:gd name="T56" fmla="*/ 7 w 33"/>
                <a:gd name="T57" fmla="*/ 10 h 21"/>
                <a:gd name="T58" fmla="*/ 7 w 33"/>
                <a:gd name="T59" fmla="*/ 13 h 21"/>
                <a:gd name="T60" fmla="*/ 5 w 33"/>
                <a:gd name="T61" fmla="*/ 13 h 21"/>
                <a:gd name="T62" fmla="*/ 5 w 33"/>
                <a:gd name="T63" fmla="*/ 13 h 21"/>
                <a:gd name="T64" fmla="*/ 2 w 33"/>
                <a:gd name="T65" fmla="*/ 13 h 21"/>
                <a:gd name="T66" fmla="*/ 2 w 33"/>
                <a:gd name="T67" fmla="*/ 15 h 21"/>
                <a:gd name="T68" fmla="*/ 5 w 33"/>
                <a:gd name="T69" fmla="*/ 15 h 21"/>
                <a:gd name="T70" fmla="*/ 2 w 33"/>
                <a:gd name="T71" fmla="*/ 15 h 21"/>
                <a:gd name="T72" fmla="*/ 0 w 33"/>
                <a:gd name="T7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" h="21">
                  <a:moveTo>
                    <a:pt x="0" y="13"/>
                  </a:moveTo>
                  <a:lnTo>
                    <a:pt x="2" y="8"/>
                  </a:ln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3" y="13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0" y="21"/>
                  </a:lnTo>
                  <a:lnTo>
                    <a:pt x="10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4" name="Freeform 54"/>
            <p:cNvSpPr>
              <a:spLocks/>
            </p:cNvSpPr>
            <p:nvPr/>
          </p:nvSpPr>
          <p:spPr bwMode="auto">
            <a:xfrm>
              <a:off x="1326" y="2434"/>
              <a:ext cx="33" cy="21"/>
            </a:xfrm>
            <a:custGeom>
              <a:avLst/>
              <a:gdLst>
                <a:gd name="T0" fmla="*/ 2 w 33"/>
                <a:gd name="T1" fmla="*/ 8 h 21"/>
                <a:gd name="T2" fmla="*/ 5 w 33"/>
                <a:gd name="T3" fmla="*/ 0 h 21"/>
                <a:gd name="T4" fmla="*/ 7 w 33"/>
                <a:gd name="T5" fmla="*/ 0 h 21"/>
                <a:gd name="T6" fmla="*/ 13 w 33"/>
                <a:gd name="T7" fmla="*/ 0 h 21"/>
                <a:gd name="T8" fmla="*/ 23 w 33"/>
                <a:gd name="T9" fmla="*/ 3 h 21"/>
                <a:gd name="T10" fmla="*/ 26 w 33"/>
                <a:gd name="T11" fmla="*/ 5 h 21"/>
                <a:gd name="T12" fmla="*/ 28 w 33"/>
                <a:gd name="T13" fmla="*/ 5 h 21"/>
                <a:gd name="T14" fmla="*/ 28 w 33"/>
                <a:gd name="T15" fmla="*/ 8 h 21"/>
                <a:gd name="T16" fmla="*/ 31 w 33"/>
                <a:gd name="T17" fmla="*/ 10 h 21"/>
                <a:gd name="T18" fmla="*/ 33 w 33"/>
                <a:gd name="T19" fmla="*/ 13 h 21"/>
                <a:gd name="T20" fmla="*/ 33 w 33"/>
                <a:gd name="T21" fmla="*/ 21 h 21"/>
                <a:gd name="T22" fmla="*/ 33 w 33"/>
                <a:gd name="T23" fmla="*/ 21 h 21"/>
                <a:gd name="T24" fmla="*/ 31 w 33"/>
                <a:gd name="T25" fmla="*/ 21 h 21"/>
                <a:gd name="T26" fmla="*/ 26 w 33"/>
                <a:gd name="T27" fmla="*/ 18 h 21"/>
                <a:gd name="T28" fmla="*/ 23 w 33"/>
                <a:gd name="T29" fmla="*/ 21 h 21"/>
                <a:gd name="T30" fmla="*/ 23 w 33"/>
                <a:gd name="T31" fmla="*/ 18 h 21"/>
                <a:gd name="T32" fmla="*/ 23 w 33"/>
                <a:gd name="T33" fmla="*/ 18 h 21"/>
                <a:gd name="T34" fmla="*/ 20 w 33"/>
                <a:gd name="T35" fmla="*/ 18 h 21"/>
                <a:gd name="T36" fmla="*/ 20 w 33"/>
                <a:gd name="T37" fmla="*/ 18 h 21"/>
                <a:gd name="T38" fmla="*/ 18 w 33"/>
                <a:gd name="T39" fmla="*/ 21 h 21"/>
                <a:gd name="T40" fmla="*/ 20 w 33"/>
                <a:gd name="T41" fmla="*/ 21 h 21"/>
                <a:gd name="T42" fmla="*/ 13 w 33"/>
                <a:gd name="T43" fmla="*/ 21 h 21"/>
                <a:gd name="T44" fmla="*/ 10 w 33"/>
                <a:gd name="T45" fmla="*/ 18 h 21"/>
                <a:gd name="T46" fmla="*/ 10 w 33"/>
                <a:gd name="T47" fmla="*/ 13 h 21"/>
                <a:gd name="T48" fmla="*/ 10 w 33"/>
                <a:gd name="T49" fmla="*/ 13 h 21"/>
                <a:gd name="T50" fmla="*/ 10 w 33"/>
                <a:gd name="T51" fmla="*/ 13 h 21"/>
                <a:gd name="T52" fmla="*/ 7 w 33"/>
                <a:gd name="T53" fmla="*/ 13 h 21"/>
                <a:gd name="T54" fmla="*/ 7 w 33"/>
                <a:gd name="T55" fmla="*/ 10 h 21"/>
                <a:gd name="T56" fmla="*/ 7 w 33"/>
                <a:gd name="T57" fmla="*/ 10 h 21"/>
                <a:gd name="T58" fmla="*/ 7 w 33"/>
                <a:gd name="T59" fmla="*/ 13 h 21"/>
                <a:gd name="T60" fmla="*/ 5 w 33"/>
                <a:gd name="T61" fmla="*/ 13 h 21"/>
                <a:gd name="T62" fmla="*/ 5 w 33"/>
                <a:gd name="T63" fmla="*/ 13 h 21"/>
                <a:gd name="T64" fmla="*/ 2 w 33"/>
                <a:gd name="T65" fmla="*/ 13 h 21"/>
                <a:gd name="T66" fmla="*/ 2 w 33"/>
                <a:gd name="T67" fmla="*/ 15 h 21"/>
                <a:gd name="T68" fmla="*/ 5 w 33"/>
                <a:gd name="T69" fmla="*/ 15 h 21"/>
                <a:gd name="T70" fmla="*/ 2 w 33"/>
                <a:gd name="T71" fmla="*/ 15 h 21"/>
                <a:gd name="T72" fmla="*/ 0 w 33"/>
                <a:gd name="T7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" h="21">
                  <a:moveTo>
                    <a:pt x="0" y="13"/>
                  </a:moveTo>
                  <a:lnTo>
                    <a:pt x="2" y="8"/>
                  </a:ln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3" y="13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0" y="21"/>
                  </a:lnTo>
                  <a:lnTo>
                    <a:pt x="10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5" name="Freeform 55"/>
            <p:cNvSpPr>
              <a:spLocks/>
            </p:cNvSpPr>
            <p:nvPr/>
          </p:nvSpPr>
          <p:spPr bwMode="auto">
            <a:xfrm>
              <a:off x="1326" y="2434"/>
              <a:ext cx="33" cy="21"/>
            </a:xfrm>
            <a:custGeom>
              <a:avLst/>
              <a:gdLst>
                <a:gd name="T0" fmla="*/ 2 w 33"/>
                <a:gd name="T1" fmla="*/ 8 h 21"/>
                <a:gd name="T2" fmla="*/ 5 w 33"/>
                <a:gd name="T3" fmla="*/ 0 h 21"/>
                <a:gd name="T4" fmla="*/ 7 w 33"/>
                <a:gd name="T5" fmla="*/ 0 h 21"/>
                <a:gd name="T6" fmla="*/ 13 w 33"/>
                <a:gd name="T7" fmla="*/ 0 h 21"/>
                <a:gd name="T8" fmla="*/ 23 w 33"/>
                <a:gd name="T9" fmla="*/ 3 h 21"/>
                <a:gd name="T10" fmla="*/ 26 w 33"/>
                <a:gd name="T11" fmla="*/ 5 h 21"/>
                <a:gd name="T12" fmla="*/ 28 w 33"/>
                <a:gd name="T13" fmla="*/ 5 h 21"/>
                <a:gd name="T14" fmla="*/ 28 w 33"/>
                <a:gd name="T15" fmla="*/ 8 h 21"/>
                <a:gd name="T16" fmla="*/ 31 w 33"/>
                <a:gd name="T17" fmla="*/ 10 h 21"/>
                <a:gd name="T18" fmla="*/ 33 w 33"/>
                <a:gd name="T19" fmla="*/ 13 h 21"/>
                <a:gd name="T20" fmla="*/ 33 w 33"/>
                <a:gd name="T21" fmla="*/ 21 h 21"/>
                <a:gd name="T22" fmla="*/ 33 w 33"/>
                <a:gd name="T23" fmla="*/ 21 h 21"/>
                <a:gd name="T24" fmla="*/ 31 w 33"/>
                <a:gd name="T25" fmla="*/ 21 h 21"/>
                <a:gd name="T26" fmla="*/ 26 w 33"/>
                <a:gd name="T27" fmla="*/ 18 h 21"/>
                <a:gd name="T28" fmla="*/ 23 w 33"/>
                <a:gd name="T29" fmla="*/ 21 h 21"/>
                <a:gd name="T30" fmla="*/ 23 w 33"/>
                <a:gd name="T31" fmla="*/ 18 h 21"/>
                <a:gd name="T32" fmla="*/ 23 w 33"/>
                <a:gd name="T33" fmla="*/ 18 h 21"/>
                <a:gd name="T34" fmla="*/ 20 w 33"/>
                <a:gd name="T35" fmla="*/ 18 h 21"/>
                <a:gd name="T36" fmla="*/ 20 w 33"/>
                <a:gd name="T37" fmla="*/ 18 h 21"/>
                <a:gd name="T38" fmla="*/ 18 w 33"/>
                <a:gd name="T39" fmla="*/ 21 h 21"/>
                <a:gd name="T40" fmla="*/ 20 w 33"/>
                <a:gd name="T41" fmla="*/ 21 h 21"/>
                <a:gd name="T42" fmla="*/ 13 w 33"/>
                <a:gd name="T43" fmla="*/ 21 h 21"/>
                <a:gd name="T44" fmla="*/ 10 w 33"/>
                <a:gd name="T45" fmla="*/ 18 h 21"/>
                <a:gd name="T46" fmla="*/ 10 w 33"/>
                <a:gd name="T47" fmla="*/ 13 h 21"/>
                <a:gd name="T48" fmla="*/ 10 w 33"/>
                <a:gd name="T49" fmla="*/ 13 h 21"/>
                <a:gd name="T50" fmla="*/ 10 w 33"/>
                <a:gd name="T51" fmla="*/ 13 h 21"/>
                <a:gd name="T52" fmla="*/ 7 w 33"/>
                <a:gd name="T53" fmla="*/ 13 h 21"/>
                <a:gd name="T54" fmla="*/ 7 w 33"/>
                <a:gd name="T55" fmla="*/ 10 h 21"/>
                <a:gd name="T56" fmla="*/ 7 w 33"/>
                <a:gd name="T57" fmla="*/ 10 h 21"/>
                <a:gd name="T58" fmla="*/ 7 w 33"/>
                <a:gd name="T59" fmla="*/ 13 h 21"/>
                <a:gd name="T60" fmla="*/ 5 w 33"/>
                <a:gd name="T61" fmla="*/ 13 h 21"/>
                <a:gd name="T62" fmla="*/ 5 w 33"/>
                <a:gd name="T63" fmla="*/ 13 h 21"/>
                <a:gd name="T64" fmla="*/ 2 w 33"/>
                <a:gd name="T65" fmla="*/ 13 h 21"/>
                <a:gd name="T66" fmla="*/ 2 w 33"/>
                <a:gd name="T67" fmla="*/ 15 h 21"/>
                <a:gd name="T68" fmla="*/ 5 w 33"/>
                <a:gd name="T69" fmla="*/ 15 h 21"/>
                <a:gd name="T70" fmla="*/ 2 w 33"/>
                <a:gd name="T71" fmla="*/ 15 h 21"/>
                <a:gd name="T72" fmla="*/ 0 w 33"/>
                <a:gd name="T7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" h="21">
                  <a:moveTo>
                    <a:pt x="0" y="13"/>
                  </a:moveTo>
                  <a:lnTo>
                    <a:pt x="2" y="8"/>
                  </a:lnTo>
                  <a:lnTo>
                    <a:pt x="2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3" y="13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0" y="21"/>
                  </a:lnTo>
                  <a:lnTo>
                    <a:pt x="10" y="18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6" name="Freeform 56"/>
            <p:cNvSpPr>
              <a:spLocks/>
            </p:cNvSpPr>
            <p:nvPr/>
          </p:nvSpPr>
          <p:spPr bwMode="auto">
            <a:xfrm>
              <a:off x="1310" y="2535"/>
              <a:ext cx="5" cy="0"/>
            </a:xfrm>
            <a:custGeom>
              <a:avLst/>
              <a:gdLst>
                <a:gd name="T0" fmla="*/ 0 w 5"/>
                <a:gd name="T1" fmla="*/ 3 w 5"/>
                <a:gd name="T2" fmla="*/ 3 w 5"/>
                <a:gd name="T3" fmla="*/ 5 w 5"/>
                <a:gd name="T4" fmla="*/ 5 w 5"/>
                <a:gd name="T5" fmla="*/ 5 w 5"/>
                <a:gd name="T6" fmla="*/ 3 w 5"/>
                <a:gd name="T7" fmla="*/ 3 w 5"/>
                <a:gd name="T8" fmla="*/ 0 w 5"/>
                <a:gd name="T9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7" name="Freeform 57"/>
            <p:cNvSpPr>
              <a:spLocks/>
            </p:cNvSpPr>
            <p:nvPr/>
          </p:nvSpPr>
          <p:spPr bwMode="auto">
            <a:xfrm>
              <a:off x="1310" y="2535"/>
              <a:ext cx="5" cy="0"/>
            </a:xfrm>
            <a:custGeom>
              <a:avLst/>
              <a:gdLst>
                <a:gd name="T0" fmla="*/ 0 w 5"/>
                <a:gd name="T1" fmla="*/ 3 w 5"/>
                <a:gd name="T2" fmla="*/ 3 w 5"/>
                <a:gd name="T3" fmla="*/ 5 w 5"/>
                <a:gd name="T4" fmla="*/ 5 w 5"/>
                <a:gd name="T5" fmla="*/ 5 w 5"/>
                <a:gd name="T6" fmla="*/ 3 w 5"/>
                <a:gd name="T7" fmla="*/ 3 w 5"/>
                <a:gd name="T8" fmla="*/ 0 w 5"/>
                <a:gd name="T9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8" name="Freeform 58"/>
            <p:cNvSpPr>
              <a:spLocks/>
            </p:cNvSpPr>
            <p:nvPr/>
          </p:nvSpPr>
          <p:spPr bwMode="auto">
            <a:xfrm>
              <a:off x="1310" y="2535"/>
              <a:ext cx="5" cy="0"/>
            </a:xfrm>
            <a:custGeom>
              <a:avLst/>
              <a:gdLst>
                <a:gd name="T0" fmla="*/ 0 w 5"/>
                <a:gd name="T1" fmla="*/ 3 w 5"/>
                <a:gd name="T2" fmla="*/ 3 w 5"/>
                <a:gd name="T3" fmla="*/ 5 w 5"/>
                <a:gd name="T4" fmla="*/ 5 w 5"/>
                <a:gd name="T5" fmla="*/ 5 w 5"/>
                <a:gd name="T6" fmla="*/ 3 w 5"/>
                <a:gd name="T7" fmla="*/ 3 w 5"/>
                <a:gd name="T8" fmla="*/ 0 w 5"/>
                <a:gd name="T9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19" name="Freeform 59"/>
            <p:cNvSpPr>
              <a:spLocks/>
            </p:cNvSpPr>
            <p:nvPr/>
          </p:nvSpPr>
          <p:spPr bwMode="auto">
            <a:xfrm>
              <a:off x="1310" y="2535"/>
              <a:ext cx="5" cy="0"/>
            </a:xfrm>
            <a:custGeom>
              <a:avLst/>
              <a:gdLst>
                <a:gd name="T0" fmla="*/ 0 w 5"/>
                <a:gd name="T1" fmla="*/ 3 w 5"/>
                <a:gd name="T2" fmla="*/ 3 w 5"/>
                <a:gd name="T3" fmla="*/ 5 w 5"/>
                <a:gd name="T4" fmla="*/ 5 w 5"/>
                <a:gd name="T5" fmla="*/ 5 w 5"/>
                <a:gd name="T6" fmla="*/ 3 w 5"/>
                <a:gd name="T7" fmla="*/ 3 w 5"/>
                <a:gd name="T8" fmla="*/ 0 w 5"/>
                <a:gd name="T9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0" name="Freeform 60"/>
            <p:cNvSpPr>
              <a:spLocks noEditPoints="1"/>
            </p:cNvSpPr>
            <p:nvPr/>
          </p:nvSpPr>
          <p:spPr bwMode="auto">
            <a:xfrm>
              <a:off x="1023" y="2341"/>
              <a:ext cx="318" cy="295"/>
            </a:xfrm>
            <a:custGeom>
              <a:avLst/>
              <a:gdLst>
                <a:gd name="T0" fmla="*/ 44 w 318"/>
                <a:gd name="T1" fmla="*/ 98 h 295"/>
                <a:gd name="T2" fmla="*/ 39 w 318"/>
                <a:gd name="T3" fmla="*/ 98 h 295"/>
                <a:gd name="T4" fmla="*/ 28 w 318"/>
                <a:gd name="T5" fmla="*/ 72 h 295"/>
                <a:gd name="T6" fmla="*/ 31 w 318"/>
                <a:gd name="T7" fmla="*/ 103 h 295"/>
                <a:gd name="T8" fmla="*/ 8 w 318"/>
                <a:gd name="T9" fmla="*/ 64 h 295"/>
                <a:gd name="T10" fmla="*/ 13 w 318"/>
                <a:gd name="T11" fmla="*/ 75 h 295"/>
                <a:gd name="T12" fmla="*/ 33 w 318"/>
                <a:gd name="T13" fmla="*/ 51 h 295"/>
                <a:gd name="T14" fmla="*/ 31 w 318"/>
                <a:gd name="T15" fmla="*/ 64 h 295"/>
                <a:gd name="T16" fmla="*/ 59 w 318"/>
                <a:gd name="T17" fmla="*/ 101 h 295"/>
                <a:gd name="T18" fmla="*/ 54 w 318"/>
                <a:gd name="T19" fmla="*/ 72 h 295"/>
                <a:gd name="T20" fmla="*/ 303 w 318"/>
                <a:gd name="T21" fmla="*/ 119 h 295"/>
                <a:gd name="T22" fmla="*/ 266 w 318"/>
                <a:gd name="T23" fmla="*/ 132 h 295"/>
                <a:gd name="T24" fmla="*/ 225 w 318"/>
                <a:gd name="T25" fmla="*/ 108 h 295"/>
                <a:gd name="T26" fmla="*/ 212 w 318"/>
                <a:gd name="T27" fmla="*/ 127 h 295"/>
                <a:gd name="T28" fmla="*/ 204 w 318"/>
                <a:gd name="T29" fmla="*/ 121 h 295"/>
                <a:gd name="T30" fmla="*/ 204 w 318"/>
                <a:gd name="T31" fmla="*/ 101 h 295"/>
                <a:gd name="T32" fmla="*/ 194 w 318"/>
                <a:gd name="T33" fmla="*/ 90 h 295"/>
                <a:gd name="T34" fmla="*/ 194 w 318"/>
                <a:gd name="T35" fmla="*/ 70 h 295"/>
                <a:gd name="T36" fmla="*/ 173 w 318"/>
                <a:gd name="T37" fmla="*/ 83 h 295"/>
                <a:gd name="T38" fmla="*/ 160 w 318"/>
                <a:gd name="T39" fmla="*/ 93 h 295"/>
                <a:gd name="T40" fmla="*/ 173 w 318"/>
                <a:gd name="T41" fmla="*/ 80 h 295"/>
                <a:gd name="T42" fmla="*/ 189 w 318"/>
                <a:gd name="T43" fmla="*/ 62 h 295"/>
                <a:gd name="T44" fmla="*/ 186 w 318"/>
                <a:gd name="T45" fmla="*/ 46 h 295"/>
                <a:gd name="T46" fmla="*/ 158 w 318"/>
                <a:gd name="T47" fmla="*/ 41 h 295"/>
                <a:gd name="T48" fmla="*/ 129 w 318"/>
                <a:gd name="T49" fmla="*/ 46 h 295"/>
                <a:gd name="T50" fmla="*/ 114 w 318"/>
                <a:gd name="T51" fmla="*/ 44 h 295"/>
                <a:gd name="T52" fmla="*/ 70 w 318"/>
                <a:gd name="T53" fmla="*/ 26 h 295"/>
                <a:gd name="T54" fmla="*/ 23 w 318"/>
                <a:gd name="T55" fmla="*/ 31 h 295"/>
                <a:gd name="T56" fmla="*/ 18 w 318"/>
                <a:gd name="T57" fmla="*/ 5 h 295"/>
                <a:gd name="T58" fmla="*/ 0 w 318"/>
                <a:gd name="T59" fmla="*/ 51 h 295"/>
                <a:gd name="T60" fmla="*/ 5 w 318"/>
                <a:gd name="T61" fmla="*/ 33 h 295"/>
                <a:gd name="T62" fmla="*/ 36 w 318"/>
                <a:gd name="T63" fmla="*/ 33 h 295"/>
                <a:gd name="T64" fmla="*/ 49 w 318"/>
                <a:gd name="T65" fmla="*/ 57 h 295"/>
                <a:gd name="T66" fmla="*/ 77 w 318"/>
                <a:gd name="T67" fmla="*/ 93 h 295"/>
                <a:gd name="T68" fmla="*/ 72 w 318"/>
                <a:gd name="T69" fmla="*/ 111 h 295"/>
                <a:gd name="T70" fmla="*/ 36 w 318"/>
                <a:gd name="T71" fmla="*/ 119 h 295"/>
                <a:gd name="T72" fmla="*/ 41 w 318"/>
                <a:gd name="T73" fmla="*/ 124 h 295"/>
                <a:gd name="T74" fmla="*/ 49 w 318"/>
                <a:gd name="T75" fmla="*/ 134 h 295"/>
                <a:gd name="T76" fmla="*/ 77 w 318"/>
                <a:gd name="T77" fmla="*/ 129 h 295"/>
                <a:gd name="T78" fmla="*/ 62 w 318"/>
                <a:gd name="T79" fmla="*/ 147 h 295"/>
                <a:gd name="T80" fmla="*/ 75 w 318"/>
                <a:gd name="T81" fmla="*/ 173 h 295"/>
                <a:gd name="T82" fmla="*/ 67 w 318"/>
                <a:gd name="T83" fmla="*/ 186 h 295"/>
                <a:gd name="T84" fmla="*/ 85 w 318"/>
                <a:gd name="T85" fmla="*/ 202 h 295"/>
                <a:gd name="T86" fmla="*/ 124 w 318"/>
                <a:gd name="T87" fmla="*/ 220 h 295"/>
                <a:gd name="T88" fmla="*/ 140 w 318"/>
                <a:gd name="T89" fmla="*/ 246 h 295"/>
                <a:gd name="T90" fmla="*/ 165 w 318"/>
                <a:gd name="T91" fmla="*/ 251 h 295"/>
                <a:gd name="T92" fmla="*/ 191 w 318"/>
                <a:gd name="T93" fmla="*/ 246 h 295"/>
                <a:gd name="T94" fmla="*/ 204 w 318"/>
                <a:gd name="T95" fmla="*/ 236 h 295"/>
                <a:gd name="T96" fmla="*/ 209 w 318"/>
                <a:gd name="T97" fmla="*/ 243 h 295"/>
                <a:gd name="T98" fmla="*/ 209 w 318"/>
                <a:gd name="T99" fmla="*/ 259 h 295"/>
                <a:gd name="T100" fmla="*/ 220 w 318"/>
                <a:gd name="T101" fmla="*/ 277 h 295"/>
                <a:gd name="T102" fmla="*/ 228 w 318"/>
                <a:gd name="T103" fmla="*/ 285 h 295"/>
                <a:gd name="T104" fmla="*/ 269 w 318"/>
                <a:gd name="T105" fmla="*/ 280 h 295"/>
                <a:gd name="T106" fmla="*/ 285 w 318"/>
                <a:gd name="T107" fmla="*/ 267 h 295"/>
                <a:gd name="T108" fmla="*/ 297 w 318"/>
                <a:gd name="T109" fmla="*/ 249 h 295"/>
                <a:gd name="T110" fmla="*/ 285 w 318"/>
                <a:gd name="T111" fmla="*/ 236 h 295"/>
                <a:gd name="T112" fmla="*/ 282 w 318"/>
                <a:gd name="T113" fmla="*/ 204 h 295"/>
                <a:gd name="T114" fmla="*/ 290 w 318"/>
                <a:gd name="T115" fmla="*/ 186 h 295"/>
                <a:gd name="T116" fmla="*/ 282 w 318"/>
                <a:gd name="T117" fmla="*/ 168 h 295"/>
                <a:gd name="T118" fmla="*/ 310 w 318"/>
                <a:gd name="T119" fmla="*/ 127 h 295"/>
                <a:gd name="T120" fmla="*/ 171 w 318"/>
                <a:gd name="T121" fmla="*/ 83 h 295"/>
                <a:gd name="T122" fmla="*/ 44 w 318"/>
                <a:gd name="T123" fmla="*/ 6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8" h="295">
                  <a:moveTo>
                    <a:pt x="2" y="153"/>
                  </a:move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close/>
                  <a:moveTo>
                    <a:pt x="5" y="153"/>
                  </a:moveTo>
                  <a:lnTo>
                    <a:pt x="5" y="153"/>
                  </a:lnTo>
                  <a:lnTo>
                    <a:pt x="5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3"/>
                  </a:lnTo>
                  <a:close/>
                  <a:moveTo>
                    <a:pt x="44" y="98"/>
                  </a:moveTo>
                  <a:lnTo>
                    <a:pt x="44" y="98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39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9" y="98"/>
                  </a:lnTo>
                  <a:lnTo>
                    <a:pt x="41" y="98"/>
                  </a:lnTo>
                  <a:lnTo>
                    <a:pt x="44" y="98"/>
                  </a:lnTo>
                  <a:lnTo>
                    <a:pt x="44" y="98"/>
                  </a:lnTo>
                  <a:close/>
                  <a:moveTo>
                    <a:pt x="26" y="83"/>
                  </a:moveTo>
                  <a:lnTo>
                    <a:pt x="26" y="85"/>
                  </a:lnTo>
                  <a:lnTo>
                    <a:pt x="26" y="85"/>
                  </a:lnTo>
                  <a:lnTo>
                    <a:pt x="28" y="88"/>
                  </a:lnTo>
                  <a:lnTo>
                    <a:pt x="31" y="88"/>
                  </a:lnTo>
                  <a:lnTo>
                    <a:pt x="31" y="88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3" y="83"/>
                  </a:lnTo>
                  <a:lnTo>
                    <a:pt x="31" y="83"/>
                  </a:lnTo>
                  <a:lnTo>
                    <a:pt x="28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close/>
                  <a:moveTo>
                    <a:pt x="41" y="70"/>
                  </a:moveTo>
                  <a:lnTo>
                    <a:pt x="41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6" y="70"/>
                  </a:lnTo>
                  <a:lnTo>
                    <a:pt x="36" y="72"/>
                  </a:lnTo>
                  <a:lnTo>
                    <a:pt x="31" y="72"/>
                  </a:lnTo>
                  <a:lnTo>
                    <a:pt x="28" y="72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31" y="75"/>
                  </a:lnTo>
                  <a:lnTo>
                    <a:pt x="31" y="77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0"/>
                  </a:lnTo>
                  <a:lnTo>
                    <a:pt x="44" y="70"/>
                  </a:lnTo>
                  <a:lnTo>
                    <a:pt x="44" y="67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1" y="70"/>
                  </a:lnTo>
                  <a:close/>
                  <a:moveTo>
                    <a:pt x="28" y="103"/>
                  </a:move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28" y="103"/>
                  </a:lnTo>
                  <a:lnTo>
                    <a:pt x="28" y="103"/>
                  </a:lnTo>
                  <a:close/>
                  <a:moveTo>
                    <a:pt x="26" y="93"/>
                  </a:move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close/>
                  <a:moveTo>
                    <a:pt x="13" y="72"/>
                  </a:moveTo>
                  <a:lnTo>
                    <a:pt x="10" y="72"/>
                  </a:lnTo>
                  <a:lnTo>
                    <a:pt x="10" y="72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8" y="70"/>
                  </a:lnTo>
                  <a:lnTo>
                    <a:pt x="8" y="67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8" y="59"/>
                  </a:lnTo>
                  <a:lnTo>
                    <a:pt x="8" y="62"/>
                  </a:lnTo>
                  <a:lnTo>
                    <a:pt x="5" y="62"/>
                  </a:lnTo>
                  <a:lnTo>
                    <a:pt x="2" y="64"/>
                  </a:lnTo>
                  <a:lnTo>
                    <a:pt x="2" y="67"/>
                  </a:lnTo>
                  <a:lnTo>
                    <a:pt x="2" y="72"/>
                  </a:lnTo>
                  <a:lnTo>
                    <a:pt x="5" y="75"/>
                  </a:lnTo>
                  <a:lnTo>
                    <a:pt x="8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3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2"/>
                  </a:lnTo>
                  <a:close/>
                  <a:moveTo>
                    <a:pt x="31" y="64"/>
                  </a:moveTo>
                  <a:lnTo>
                    <a:pt x="33" y="64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1"/>
                  </a:lnTo>
                  <a:lnTo>
                    <a:pt x="31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3" y="54"/>
                  </a:lnTo>
                  <a:lnTo>
                    <a:pt x="21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5" y="54"/>
                  </a:lnTo>
                  <a:lnTo>
                    <a:pt x="13" y="57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3" y="64"/>
                  </a:lnTo>
                  <a:lnTo>
                    <a:pt x="23" y="67"/>
                  </a:lnTo>
                  <a:lnTo>
                    <a:pt x="28" y="67"/>
                  </a:lnTo>
                  <a:lnTo>
                    <a:pt x="31" y="67"/>
                  </a:lnTo>
                  <a:lnTo>
                    <a:pt x="31" y="64"/>
                  </a:lnTo>
                  <a:lnTo>
                    <a:pt x="31" y="64"/>
                  </a:lnTo>
                  <a:close/>
                  <a:moveTo>
                    <a:pt x="70" y="103"/>
                  </a:moveTo>
                  <a:lnTo>
                    <a:pt x="70" y="103"/>
                  </a:lnTo>
                  <a:lnTo>
                    <a:pt x="72" y="103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98"/>
                  </a:lnTo>
                  <a:lnTo>
                    <a:pt x="72" y="98"/>
                  </a:lnTo>
                  <a:lnTo>
                    <a:pt x="72" y="98"/>
                  </a:lnTo>
                  <a:lnTo>
                    <a:pt x="75" y="98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72" y="93"/>
                  </a:lnTo>
                  <a:lnTo>
                    <a:pt x="70" y="93"/>
                  </a:lnTo>
                  <a:lnTo>
                    <a:pt x="67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2" y="96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9" y="101"/>
                  </a:lnTo>
                  <a:lnTo>
                    <a:pt x="59" y="103"/>
                  </a:lnTo>
                  <a:lnTo>
                    <a:pt x="62" y="103"/>
                  </a:lnTo>
                  <a:lnTo>
                    <a:pt x="65" y="106"/>
                  </a:lnTo>
                  <a:lnTo>
                    <a:pt x="67" y="106"/>
                  </a:lnTo>
                  <a:lnTo>
                    <a:pt x="70" y="103"/>
                  </a:lnTo>
                  <a:lnTo>
                    <a:pt x="70" y="103"/>
                  </a:lnTo>
                  <a:close/>
                  <a:moveTo>
                    <a:pt x="62" y="80"/>
                  </a:move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close/>
                  <a:moveTo>
                    <a:pt x="46" y="72"/>
                  </a:moveTo>
                  <a:lnTo>
                    <a:pt x="49" y="75"/>
                  </a:lnTo>
                  <a:lnTo>
                    <a:pt x="49" y="75"/>
                  </a:lnTo>
                  <a:lnTo>
                    <a:pt x="52" y="72"/>
                  </a:lnTo>
                  <a:lnTo>
                    <a:pt x="52" y="70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2"/>
                  </a:lnTo>
                  <a:close/>
                  <a:moveTo>
                    <a:pt x="52" y="72"/>
                  </a:move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close/>
                  <a:moveTo>
                    <a:pt x="57" y="88"/>
                  </a:moveTo>
                  <a:lnTo>
                    <a:pt x="57" y="88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62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8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3" y="116"/>
                  </a:lnTo>
                  <a:lnTo>
                    <a:pt x="313" y="116"/>
                  </a:lnTo>
                  <a:lnTo>
                    <a:pt x="313" y="119"/>
                  </a:lnTo>
                  <a:lnTo>
                    <a:pt x="313" y="119"/>
                  </a:lnTo>
                  <a:lnTo>
                    <a:pt x="310" y="119"/>
                  </a:lnTo>
                  <a:lnTo>
                    <a:pt x="305" y="121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5" y="119"/>
                  </a:lnTo>
                  <a:lnTo>
                    <a:pt x="305" y="116"/>
                  </a:lnTo>
                  <a:lnTo>
                    <a:pt x="300" y="119"/>
                  </a:lnTo>
                  <a:lnTo>
                    <a:pt x="295" y="119"/>
                  </a:lnTo>
                  <a:lnTo>
                    <a:pt x="290" y="121"/>
                  </a:lnTo>
                  <a:lnTo>
                    <a:pt x="287" y="124"/>
                  </a:lnTo>
                  <a:lnTo>
                    <a:pt x="285" y="127"/>
                  </a:lnTo>
                  <a:lnTo>
                    <a:pt x="282" y="129"/>
                  </a:lnTo>
                  <a:lnTo>
                    <a:pt x="279" y="129"/>
                  </a:lnTo>
                  <a:lnTo>
                    <a:pt x="277" y="129"/>
                  </a:lnTo>
                  <a:lnTo>
                    <a:pt x="274" y="129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2" y="132"/>
                  </a:lnTo>
                  <a:lnTo>
                    <a:pt x="272" y="132"/>
                  </a:lnTo>
                  <a:lnTo>
                    <a:pt x="269" y="132"/>
                  </a:lnTo>
                  <a:lnTo>
                    <a:pt x="269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6" y="129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9" y="129"/>
                  </a:lnTo>
                  <a:lnTo>
                    <a:pt x="269" y="129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4" y="124"/>
                  </a:lnTo>
                  <a:lnTo>
                    <a:pt x="264" y="124"/>
                  </a:lnTo>
                  <a:lnTo>
                    <a:pt x="264" y="124"/>
                  </a:lnTo>
                  <a:lnTo>
                    <a:pt x="259" y="121"/>
                  </a:lnTo>
                  <a:lnTo>
                    <a:pt x="256" y="119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4"/>
                  </a:lnTo>
                  <a:lnTo>
                    <a:pt x="235" y="111"/>
                  </a:lnTo>
                  <a:lnTo>
                    <a:pt x="235" y="108"/>
                  </a:lnTo>
                  <a:lnTo>
                    <a:pt x="233" y="108"/>
                  </a:lnTo>
                  <a:lnTo>
                    <a:pt x="230" y="108"/>
                  </a:lnTo>
                  <a:lnTo>
                    <a:pt x="228" y="108"/>
                  </a:lnTo>
                  <a:lnTo>
                    <a:pt x="225" y="108"/>
                  </a:lnTo>
                  <a:lnTo>
                    <a:pt x="225" y="108"/>
                  </a:lnTo>
                  <a:lnTo>
                    <a:pt x="222" y="111"/>
                  </a:lnTo>
                  <a:lnTo>
                    <a:pt x="225" y="111"/>
                  </a:lnTo>
                  <a:lnTo>
                    <a:pt x="225" y="111"/>
                  </a:lnTo>
                  <a:lnTo>
                    <a:pt x="222" y="111"/>
                  </a:lnTo>
                  <a:lnTo>
                    <a:pt x="222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17" y="111"/>
                  </a:lnTo>
                  <a:lnTo>
                    <a:pt x="217" y="114"/>
                  </a:lnTo>
                  <a:lnTo>
                    <a:pt x="215" y="114"/>
                  </a:lnTo>
                  <a:lnTo>
                    <a:pt x="215" y="116"/>
                  </a:lnTo>
                  <a:lnTo>
                    <a:pt x="215" y="116"/>
                  </a:lnTo>
                  <a:lnTo>
                    <a:pt x="215" y="119"/>
                  </a:lnTo>
                  <a:lnTo>
                    <a:pt x="215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21"/>
                  </a:lnTo>
                  <a:lnTo>
                    <a:pt x="212" y="121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2" y="127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09" y="124"/>
                  </a:lnTo>
                  <a:lnTo>
                    <a:pt x="207" y="124"/>
                  </a:lnTo>
                  <a:lnTo>
                    <a:pt x="207" y="121"/>
                  </a:lnTo>
                  <a:lnTo>
                    <a:pt x="207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1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4" y="121"/>
                  </a:lnTo>
                  <a:lnTo>
                    <a:pt x="202" y="121"/>
                  </a:lnTo>
                  <a:lnTo>
                    <a:pt x="204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6"/>
                  </a:lnTo>
                  <a:lnTo>
                    <a:pt x="212" y="116"/>
                  </a:lnTo>
                  <a:lnTo>
                    <a:pt x="212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2" y="114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12" y="108"/>
                  </a:lnTo>
                  <a:lnTo>
                    <a:pt x="212" y="106"/>
                  </a:lnTo>
                  <a:lnTo>
                    <a:pt x="215" y="106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09" y="101"/>
                  </a:lnTo>
                  <a:lnTo>
                    <a:pt x="207" y="101"/>
                  </a:lnTo>
                  <a:lnTo>
                    <a:pt x="204" y="101"/>
                  </a:lnTo>
                  <a:lnTo>
                    <a:pt x="204" y="101"/>
                  </a:lnTo>
                  <a:lnTo>
                    <a:pt x="199" y="101"/>
                  </a:lnTo>
                  <a:lnTo>
                    <a:pt x="194" y="101"/>
                  </a:lnTo>
                  <a:lnTo>
                    <a:pt x="191" y="101"/>
                  </a:lnTo>
                  <a:lnTo>
                    <a:pt x="189" y="103"/>
                  </a:lnTo>
                  <a:lnTo>
                    <a:pt x="186" y="103"/>
                  </a:lnTo>
                  <a:lnTo>
                    <a:pt x="184" y="103"/>
                  </a:lnTo>
                  <a:lnTo>
                    <a:pt x="181" y="106"/>
                  </a:lnTo>
                  <a:lnTo>
                    <a:pt x="181" y="106"/>
                  </a:lnTo>
                  <a:lnTo>
                    <a:pt x="178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3" y="103"/>
                  </a:lnTo>
                  <a:lnTo>
                    <a:pt x="173" y="101"/>
                  </a:lnTo>
                  <a:lnTo>
                    <a:pt x="176" y="101"/>
                  </a:lnTo>
                  <a:lnTo>
                    <a:pt x="178" y="101"/>
                  </a:lnTo>
                  <a:lnTo>
                    <a:pt x="181" y="101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6" y="98"/>
                  </a:lnTo>
                  <a:lnTo>
                    <a:pt x="189" y="96"/>
                  </a:lnTo>
                  <a:lnTo>
                    <a:pt x="191" y="96"/>
                  </a:lnTo>
                  <a:lnTo>
                    <a:pt x="191" y="93"/>
                  </a:lnTo>
                  <a:lnTo>
                    <a:pt x="191" y="93"/>
                  </a:lnTo>
                  <a:lnTo>
                    <a:pt x="191" y="90"/>
                  </a:lnTo>
                  <a:lnTo>
                    <a:pt x="194" y="90"/>
                  </a:lnTo>
                  <a:lnTo>
                    <a:pt x="194" y="9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85"/>
                  </a:lnTo>
                  <a:lnTo>
                    <a:pt x="194" y="85"/>
                  </a:lnTo>
                  <a:lnTo>
                    <a:pt x="194" y="83"/>
                  </a:lnTo>
                  <a:lnTo>
                    <a:pt x="194" y="80"/>
                  </a:lnTo>
                  <a:lnTo>
                    <a:pt x="194" y="77"/>
                  </a:lnTo>
                  <a:lnTo>
                    <a:pt x="197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0"/>
                  </a:lnTo>
                  <a:lnTo>
                    <a:pt x="197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7" y="70"/>
                  </a:lnTo>
                  <a:lnTo>
                    <a:pt x="197" y="70"/>
                  </a:lnTo>
                  <a:lnTo>
                    <a:pt x="197" y="70"/>
                  </a:lnTo>
                  <a:lnTo>
                    <a:pt x="197" y="67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1" y="70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89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4" y="70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1" y="77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3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8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5" y="93"/>
                  </a:lnTo>
                  <a:lnTo>
                    <a:pt x="165" y="93"/>
                  </a:lnTo>
                  <a:lnTo>
                    <a:pt x="165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3" y="90"/>
                  </a:lnTo>
                  <a:lnTo>
                    <a:pt x="165" y="88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3" y="83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6" y="77"/>
                  </a:lnTo>
                  <a:lnTo>
                    <a:pt x="176" y="77"/>
                  </a:lnTo>
                  <a:lnTo>
                    <a:pt x="178" y="77"/>
                  </a:lnTo>
                  <a:lnTo>
                    <a:pt x="181" y="75"/>
                  </a:lnTo>
                  <a:lnTo>
                    <a:pt x="181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0"/>
                  </a:lnTo>
                  <a:lnTo>
                    <a:pt x="184" y="67"/>
                  </a:lnTo>
                  <a:lnTo>
                    <a:pt x="186" y="64"/>
                  </a:lnTo>
                  <a:lnTo>
                    <a:pt x="186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91" y="62"/>
                  </a:lnTo>
                  <a:lnTo>
                    <a:pt x="191" y="62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4" y="64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1" y="62"/>
                  </a:lnTo>
                  <a:lnTo>
                    <a:pt x="191" y="59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4"/>
                  </a:lnTo>
                  <a:lnTo>
                    <a:pt x="189" y="51"/>
                  </a:lnTo>
                  <a:lnTo>
                    <a:pt x="189" y="51"/>
                  </a:lnTo>
                  <a:lnTo>
                    <a:pt x="189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6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1" y="46"/>
                  </a:lnTo>
                  <a:lnTo>
                    <a:pt x="181" y="46"/>
                  </a:lnTo>
                  <a:lnTo>
                    <a:pt x="181" y="46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78" y="51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4"/>
                  </a:lnTo>
                  <a:lnTo>
                    <a:pt x="176" y="51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1" y="49"/>
                  </a:lnTo>
                  <a:lnTo>
                    <a:pt x="171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0" y="44"/>
                  </a:lnTo>
                  <a:lnTo>
                    <a:pt x="158" y="41"/>
                  </a:lnTo>
                  <a:lnTo>
                    <a:pt x="155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0" y="41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5" y="38"/>
                  </a:lnTo>
                  <a:lnTo>
                    <a:pt x="145" y="36"/>
                  </a:lnTo>
                  <a:lnTo>
                    <a:pt x="147" y="33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2" y="33"/>
                  </a:lnTo>
                  <a:lnTo>
                    <a:pt x="140" y="36"/>
                  </a:lnTo>
                  <a:lnTo>
                    <a:pt x="140" y="38"/>
                  </a:lnTo>
                  <a:lnTo>
                    <a:pt x="137" y="38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2" y="44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7" y="46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7" y="41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4" y="44"/>
                  </a:lnTo>
                  <a:lnTo>
                    <a:pt x="114" y="41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06" y="41"/>
                  </a:lnTo>
                  <a:lnTo>
                    <a:pt x="106" y="38"/>
                  </a:lnTo>
                  <a:lnTo>
                    <a:pt x="109" y="36"/>
                  </a:lnTo>
                  <a:lnTo>
                    <a:pt x="106" y="36"/>
                  </a:lnTo>
                  <a:lnTo>
                    <a:pt x="103" y="33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98" y="33"/>
                  </a:lnTo>
                  <a:lnTo>
                    <a:pt x="96" y="31"/>
                  </a:lnTo>
                  <a:lnTo>
                    <a:pt x="93" y="31"/>
                  </a:lnTo>
                  <a:lnTo>
                    <a:pt x="90" y="33"/>
                  </a:lnTo>
                  <a:lnTo>
                    <a:pt x="88" y="33"/>
                  </a:lnTo>
                  <a:lnTo>
                    <a:pt x="88" y="31"/>
                  </a:lnTo>
                  <a:lnTo>
                    <a:pt x="85" y="31"/>
                  </a:lnTo>
                  <a:lnTo>
                    <a:pt x="83" y="31"/>
                  </a:lnTo>
                  <a:lnTo>
                    <a:pt x="80" y="28"/>
                  </a:lnTo>
                  <a:lnTo>
                    <a:pt x="77" y="28"/>
                  </a:lnTo>
                  <a:lnTo>
                    <a:pt x="75" y="28"/>
                  </a:lnTo>
                  <a:lnTo>
                    <a:pt x="72" y="26"/>
                  </a:lnTo>
                  <a:lnTo>
                    <a:pt x="70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2" y="26"/>
                  </a:lnTo>
                  <a:lnTo>
                    <a:pt x="59" y="26"/>
                  </a:lnTo>
                  <a:lnTo>
                    <a:pt x="57" y="26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4" y="26"/>
                  </a:lnTo>
                  <a:lnTo>
                    <a:pt x="41" y="26"/>
                  </a:lnTo>
                  <a:lnTo>
                    <a:pt x="41" y="23"/>
                  </a:lnTo>
                  <a:lnTo>
                    <a:pt x="39" y="26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6" y="28"/>
                  </a:lnTo>
                  <a:lnTo>
                    <a:pt x="33" y="31"/>
                  </a:lnTo>
                  <a:lnTo>
                    <a:pt x="31" y="31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8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8" y="10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2" y="20"/>
                  </a:lnTo>
                  <a:lnTo>
                    <a:pt x="2" y="26"/>
                  </a:lnTo>
                  <a:lnTo>
                    <a:pt x="0" y="33"/>
                  </a:lnTo>
                  <a:lnTo>
                    <a:pt x="0" y="4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0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3" y="33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3" y="31"/>
                  </a:lnTo>
                  <a:lnTo>
                    <a:pt x="26" y="31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28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1" y="41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4"/>
                  </a:lnTo>
                  <a:lnTo>
                    <a:pt x="49" y="54"/>
                  </a:lnTo>
                  <a:lnTo>
                    <a:pt x="46" y="54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4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70" y="80"/>
                  </a:lnTo>
                  <a:lnTo>
                    <a:pt x="70" y="83"/>
                  </a:lnTo>
                  <a:lnTo>
                    <a:pt x="72" y="85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7" y="90"/>
                  </a:lnTo>
                  <a:lnTo>
                    <a:pt x="77" y="93"/>
                  </a:lnTo>
                  <a:lnTo>
                    <a:pt x="80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80" y="93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3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0" y="103"/>
                  </a:lnTo>
                  <a:lnTo>
                    <a:pt x="77" y="103"/>
                  </a:lnTo>
                  <a:lnTo>
                    <a:pt x="77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1"/>
                  </a:lnTo>
                  <a:lnTo>
                    <a:pt x="70" y="111"/>
                  </a:lnTo>
                  <a:lnTo>
                    <a:pt x="67" y="114"/>
                  </a:lnTo>
                  <a:lnTo>
                    <a:pt x="65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2" y="114"/>
                  </a:lnTo>
                  <a:lnTo>
                    <a:pt x="46" y="114"/>
                  </a:lnTo>
                  <a:lnTo>
                    <a:pt x="44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1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21"/>
                  </a:lnTo>
                  <a:lnTo>
                    <a:pt x="39" y="121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6" y="121"/>
                  </a:lnTo>
                  <a:lnTo>
                    <a:pt x="44" y="121"/>
                  </a:lnTo>
                  <a:lnTo>
                    <a:pt x="44" y="121"/>
                  </a:lnTo>
                  <a:lnTo>
                    <a:pt x="44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4" y="121"/>
                  </a:lnTo>
                  <a:lnTo>
                    <a:pt x="44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7"/>
                  </a:lnTo>
                  <a:lnTo>
                    <a:pt x="36" y="127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34"/>
                  </a:lnTo>
                  <a:lnTo>
                    <a:pt x="39" y="134"/>
                  </a:lnTo>
                  <a:lnTo>
                    <a:pt x="41" y="137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6" y="140"/>
                  </a:lnTo>
                  <a:lnTo>
                    <a:pt x="46" y="140"/>
                  </a:lnTo>
                  <a:lnTo>
                    <a:pt x="46" y="137"/>
                  </a:lnTo>
                  <a:lnTo>
                    <a:pt x="46" y="137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52" y="134"/>
                  </a:lnTo>
                  <a:lnTo>
                    <a:pt x="52" y="132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7" y="137"/>
                  </a:lnTo>
                  <a:lnTo>
                    <a:pt x="57" y="134"/>
                  </a:lnTo>
                  <a:lnTo>
                    <a:pt x="59" y="134"/>
                  </a:lnTo>
                  <a:lnTo>
                    <a:pt x="59" y="134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7"/>
                  </a:lnTo>
                  <a:lnTo>
                    <a:pt x="65" y="137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4"/>
                  </a:lnTo>
                  <a:lnTo>
                    <a:pt x="70" y="132"/>
                  </a:lnTo>
                  <a:lnTo>
                    <a:pt x="72" y="129"/>
                  </a:lnTo>
                  <a:lnTo>
                    <a:pt x="75" y="129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5" y="132"/>
                  </a:lnTo>
                  <a:lnTo>
                    <a:pt x="75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0" y="137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0" y="137"/>
                  </a:lnTo>
                  <a:lnTo>
                    <a:pt x="70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9" y="155"/>
                  </a:lnTo>
                  <a:lnTo>
                    <a:pt x="59" y="155"/>
                  </a:lnTo>
                  <a:lnTo>
                    <a:pt x="59" y="158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3"/>
                  </a:lnTo>
                  <a:lnTo>
                    <a:pt x="65" y="163"/>
                  </a:lnTo>
                  <a:lnTo>
                    <a:pt x="65" y="163"/>
                  </a:lnTo>
                  <a:lnTo>
                    <a:pt x="67" y="163"/>
                  </a:lnTo>
                  <a:lnTo>
                    <a:pt x="67" y="160"/>
                  </a:lnTo>
                  <a:lnTo>
                    <a:pt x="70" y="160"/>
                  </a:lnTo>
                  <a:lnTo>
                    <a:pt x="72" y="160"/>
                  </a:lnTo>
                  <a:lnTo>
                    <a:pt x="72" y="163"/>
                  </a:lnTo>
                  <a:lnTo>
                    <a:pt x="72" y="166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71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7" y="173"/>
                  </a:lnTo>
                  <a:lnTo>
                    <a:pt x="77" y="173"/>
                  </a:lnTo>
                  <a:lnTo>
                    <a:pt x="77" y="176"/>
                  </a:lnTo>
                  <a:lnTo>
                    <a:pt x="77" y="178"/>
                  </a:lnTo>
                  <a:lnTo>
                    <a:pt x="75" y="178"/>
                  </a:lnTo>
                  <a:lnTo>
                    <a:pt x="75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5" y="176"/>
                  </a:lnTo>
                  <a:lnTo>
                    <a:pt x="65" y="176"/>
                  </a:lnTo>
                  <a:lnTo>
                    <a:pt x="62" y="178"/>
                  </a:lnTo>
                  <a:lnTo>
                    <a:pt x="62" y="178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5" y="181"/>
                  </a:lnTo>
                  <a:lnTo>
                    <a:pt x="65" y="184"/>
                  </a:lnTo>
                  <a:lnTo>
                    <a:pt x="65" y="184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9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0" y="197"/>
                  </a:lnTo>
                  <a:lnTo>
                    <a:pt x="72" y="197"/>
                  </a:lnTo>
                  <a:lnTo>
                    <a:pt x="72" y="197"/>
                  </a:lnTo>
                  <a:lnTo>
                    <a:pt x="70" y="197"/>
                  </a:lnTo>
                  <a:lnTo>
                    <a:pt x="70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5" y="202"/>
                  </a:lnTo>
                  <a:lnTo>
                    <a:pt x="77" y="202"/>
                  </a:lnTo>
                  <a:lnTo>
                    <a:pt x="77" y="204"/>
                  </a:lnTo>
                  <a:lnTo>
                    <a:pt x="80" y="204"/>
                  </a:lnTo>
                  <a:lnTo>
                    <a:pt x="80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5" y="202"/>
                  </a:lnTo>
                  <a:lnTo>
                    <a:pt x="88" y="204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103" y="204"/>
                  </a:lnTo>
                  <a:lnTo>
                    <a:pt x="106" y="204"/>
                  </a:lnTo>
                  <a:lnTo>
                    <a:pt x="109" y="207"/>
                  </a:lnTo>
                  <a:lnTo>
                    <a:pt x="111" y="207"/>
                  </a:lnTo>
                  <a:lnTo>
                    <a:pt x="114" y="210"/>
                  </a:lnTo>
                  <a:lnTo>
                    <a:pt x="116" y="210"/>
                  </a:lnTo>
                  <a:lnTo>
                    <a:pt x="119" y="212"/>
                  </a:lnTo>
                  <a:lnTo>
                    <a:pt x="119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9" y="225"/>
                  </a:lnTo>
                  <a:lnTo>
                    <a:pt x="129" y="228"/>
                  </a:lnTo>
                  <a:lnTo>
                    <a:pt x="129" y="228"/>
                  </a:lnTo>
                  <a:lnTo>
                    <a:pt x="129" y="230"/>
                  </a:lnTo>
                  <a:lnTo>
                    <a:pt x="129" y="230"/>
                  </a:lnTo>
                  <a:lnTo>
                    <a:pt x="132" y="233"/>
                  </a:lnTo>
                  <a:lnTo>
                    <a:pt x="132" y="233"/>
                  </a:lnTo>
                  <a:lnTo>
                    <a:pt x="134" y="233"/>
                  </a:lnTo>
                  <a:lnTo>
                    <a:pt x="134" y="233"/>
                  </a:lnTo>
                  <a:lnTo>
                    <a:pt x="137" y="233"/>
                  </a:lnTo>
                  <a:lnTo>
                    <a:pt x="137" y="236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42" y="243"/>
                  </a:lnTo>
                  <a:lnTo>
                    <a:pt x="142" y="246"/>
                  </a:lnTo>
                  <a:lnTo>
                    <a:pt x="142" y="249"/>
                  </a:lnTo>
                  <a:lnTo>
                    <a:pt x="145" y="249"/>
                  </a:lnTo>
                  <a:lnTo>
                    <a:pt x="145" y="249"/>
                  </a:lnTo>
                  <a:lnTo>
                    <a:pt x="145" y="249"/>
                  </a:lnTo>
                  <a:lnTo>
                    <a:pt x="142" y="249"/>
                  </a:lnTo>
                  <a:lnTo>
                    <a:pt x="142" y="246"/>
                  </a:lnTo>
                  <a:lnTo>
                    <a:pt x="142" y="243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42" y="249"/>
                  </a:lnTo>
                  <a:lnTo>
                    <a:pt x="142" y="251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0" y="256"/>
                  </a:lnTo>
                  <a:lnTo>
                    <a:pt x="153" y="259"/>
                  </a:lnTo>
                  <a:lnTo>
                    <a:pt x="158" y="261"/>
                  </a:lnTo>
                  <a:lnTo>
                    <a:pt x="158" y="261"/>
                  </a:lnTo>
                  <a:lnTo>
                    <a:pt x="160" y="261"/>
                  </a:lnTo>
                  <a:lnTo>
                    <a:pt x="163" y="261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4"/>
                  </a:lnTo>
                  <a:lnTo>
                    <a:pt x="165" y="254"/>
                  </a:lnTo>
                  <a:lnTo>
                    <a:pt x="165" y="254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49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71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71" y="256"/>
                  </a:lnTo>
                  <a:lnTo>
                    <a:pt x="171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6" y="256"/>
                  </a:lnTo>
                  <a:lnTo>
                    <a:pt x="176" y="254"/>
                  </a:lnTo>
                  <a:lnTo>
                    <a:pt x="178" y="251"/>
                  </a:lnTo>
                  <a:lnTo>
                    <a:pt x="178" y="251"/>
                  </a:lnTo>
                  <a:lnTo>
                    <a:pt x="178" y="251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1" y="246"/>
                  </a:lnTo>
                  <a:lnTo>
                    <a:pt x="181" y="246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91" y="246"/>
                  </a:lnTo>
                  <a:lnTo>
                    <a:pt x="191" y="246"/>
                  </a:lnTo>
                  <a:lnTo>
                    <a:pt x="191" y="243"/>
                  </a:lnTo>
                  <a:lnTo>
                    <a:pt x="191" y="241"/>
                  </a:lnTo>
                  <a:lnTo>
                    <a:pt x="191" y="241"/>
                  </a:lnTo>
                  <a:lnTo>
                    <a:pt x="194" y="241"/>
                  </a:lnTo>
                  <a:lnTo>
                    <a:pt x="197" y="241"/>
                  </a:lnTo>
                  <a:lnTo>
                    <a:pt x="197" y="241"/>
                  </a:lnTo>
                  <a:lnTo>
                    <a:pt x="199" y="241"/>
                  </a:lnTo>
                  <a:lnTo>
                    <a:pt x="199" y="241"/>
                  </a:lnTo>
                  <a:lnTo>
                    <a:pt x="199" y="241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07" y="236"/>
                  </a:lnTo>
                  <a:lnTo>
                    <a:pt x="207" y="233"/>
                  </a:lnTo>
                  <a:lnTo>
                    <a:pt x="207" y="233"/>
                  </a:lnTo>
                  <a:lnTo>
                    <a:pt x="209" y="233"/>
                  </a:lnTo>
                  <a:lnTo>
                    <a:pt x="209" y="230"/>
                  </a:lnTo>
                  <a:lnTo>
                    <a:pt x="209" y="230"/>
                  </a:lnTo>
                  <a:lnTo>
                    <a:pt x="212" y="230"/>
                  </a:lnTo>
                  <a:lnTo>
                    <a:pt x="212" y="230"/>
                  </a:lnTo>
                  <a:lnTo>
                    <a:pt x="212" y="233"/>
                  </a:lnTo>
                  <a:lnTo>
                    <a:pt x="212" y="233"/>
                  </a:lnTo>
                  <a:lnTo>
                    <a:pt x="212" y="233"/>
                  </a:lnTo>
                  <a:lnTo>
                    <a:pt x="212" y="236"/>
                  </a:lnTo>
                  <a:lnTo>
                    <a:pt x="212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8"/>
                  </a:lnTo>
                  <a:lnTo>
                    <a:pt x="209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9" y="243"/>
                  </a:lnTo>
                  <a:lnTo>
                    <a:pt x="209" y="243"/>
                  </a:lnTo>
                  <a:lnTo>
                    <a:pt x="209" y="243"/>
                  </a:lnTo>
                  <a:lnTo>
                    <a:pt x="212" y="246"/>
                  </a:lnTo>
                  <a:lnTo>
                    <a:pt x="212" y="246"/>
                  </a:lnTo>
                  <a:lnTo>
                    <a:pt x="215" y="246"/>
                  </a:lnTo>
                  <a:lnTo>
                    <a:pt x="215" y="249"/>
                  </a:lnTo>
                  <a:lnTo>
                    <a:pt x="212" y="249"/>
                  </a:lnTo>
                  <a:lnTo>
                    <a:pt x="215" y="249"/>
                  </a:lnTo>
                  <a:lnTo>
                    <a:pt x="215" y="249"/>
                  </a:lnTo>
                  <a:lnTo>
                    <a:pt x="217" y="249"/>
                  </a:lnTo>
                  <a:lnTo>
                    <a:pt x="217" y="249"/>
                  </a:lnTo>
                  <a:lnTo>
                    <a:pt x="215" y="249"/>
                  </a:lnTo>
                  <a:lnTo>
                    <a:pt x="215" y="251"/>
                  </a:lnTo>
                  <a:lnTo>
                    <a:pt x="215" y="251"/>
                  </a:lnTo>
                  <a:lnTo>
                    <a:pt x="215" y="251"/>
                  </a:lnTo>
                  <a:lnTo>
                    <a:pt x="212" y="251"/>
                  </a:lnTo>
                  <a:lnTo>
                    <a:pt x="215" y="254"/>
                  </a:lnTo>
                  <a:lnTo>
                    <a:pt x="212" y="256"/>
                  </a:lnTo>
                  <a:lnTo>
                    <a:pt x="212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5" y="259"/>
                  </a:lnTo>
                  <a:lnTo>
                    <a:pt x="215" y="259"/>
                  </a:lnTo>
                  <a:lnTo>
                    <a:pt x="212" y="256"/>
                  </a:lnTo>
                  <a:lnTo>
                    <a:pt x="212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9"/>
                  </a:lnTo>
                  <a:lnTo>
                    <a:pt x="212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7" y="272"/>
                  </a:lnTo>
                  <a:lnTo>
                    <a:pt x="217" y="272"/>
                  </a:lnTo>
                  <a:lnTo>
                    <a:pt x="217" y="272"/>
                  </a:lnTo>
                  <a:lnTo>
                    <a:pt x="217" y="274"/>
                  </a:lnTo>
                  <a:lnTo>
                    <a:pt x="217" y="274"/>
                  </a:lnTo>
                  <a:lnTo>
                    <a:pt x="217" y="274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2" y="277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5" y="280"/>
                  </a:lnTo>
                  <a:lnTo>
                    <a:pt x="225" y="280"/>
                  </a:lnTo>
                  <a:lnTo>
                    <a:pt x="225" y="280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8" y="282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3" y="285"/>
                  </a:lnTo>
                  <a:lnTo>
                    <a:pt x="235" y="287"/>
                  </a:lnTo>
                  <a:lnTo>
                    <a:pt x="238" y="290"/>
                  </a:lnTo>
                  <a:lnTo>
                    <a:pt x="241" y="290"/>
                  </a:lnTo>
                  <a:lnTo>
                    <a:pt x="246" y="293"/>
                  </a:lnTo>
                  <a:lnTo>
                    <a:pt x="248" y="295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51" y="295"/>
                  </a:lnTo>
                  <a:lnTo>
                    <a:pt x="253" y="295"/>
                  </a:lnTo>
                  <a:lnTo>
                    <a:pt x="253" y="295"/>
                  </a:lnTo>
                  <a:lnTo>
                    <a:pt x="256" y="295"/>
                  </a:lnTo>
                  <a:lnTo>
                    <a:pt x="256" y="295"/>
                  </a:lnTo>
                  <a:lnTo>
                    <a:pt x="259" y="295"/>
                  </a:lnTo>
                  <a:lnTo>
                    <a:pt x="261" y="293"/>
                  </a:lnTo>
                  <a:lnTo>
                    <a:pt x="261" y="290"/>
                  </a:lnTo>
                  <a:lnTo>
                    <a:pt x="261" y="287"/>
                  </a:lnTo>
                  <a:lnTo>
                    <a:pt x="261" y="285"/>
                  </a:lnTo>
                  <a:lnTo>
                    <a:pt x="261" y="282"/>
                  </a:lnTo>
                  <a:lnTo>
                    <a:pt x="261" y="280"/>
                  </a:lnTo>
                  <a:lnTo>
                    <a:pt x="264" y="280"/>
                  </a:lnTo>
                  <a:lnTo>
                    <a:pt x="264" y="280"/>
                  </a:lnTo>
                  <a:lnTo>
                    <a:pt x="266" y="280"/>
                  </a:lnTo>
                  <a:lnTo>
                    <a:pt x="269" y="280"/>
                  </a:lnTo>
                  <a:lnTo>
                    <a:pt x="269" y="280"/>
                  </a:lnTo>
                  <a:lnTo>
                    <a:pt x="269" y="280"/>
                  </a:lnTo>
                  <a:lnTo>
                    <a:pt x="269" y="277"/>
                  </a:lnTo>
                  <a:lnTo>
                    <a:pt x="269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77" y="274"/>
                  </a:lnTo>
                  <a:lnTo>
                    <a:pt x="277" y="274"/>
                  </a:lnTo>
                  <a:lnTo>
                    <a:pt x="277" y="274"/>
                  </a:lnTo>
                  <a:lnTo>
                    <a:pt x="279" y="272"/>
                  </a:lnTo>
                  <a:lnTo>
                    <a:pt x="282" y="269"/>
                  </a:lnTo>
                  <a:lnTo>
                    <a:pt x="282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2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2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4"/>
                  </a:lnTo>
                  <a:lnTo>
                    <a:pt x="285" y="264"/>
                  </a:lnTo>
                  <a:lnTo>
                    <a:pt x="285" y="261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7" y="261"/>
                  </a:lnTo>
                  <a:lnTo>
                    <a:pt x="287" y="261"/>
                  </a:lnTo>
                  <a:lnTo>
                    <a:pt x="290" y="261"/>
                  </a:lnTo>
                  <a:lnTo>
                    <a:pt x="290" y="261"/>
                  </a:lnTo>
                  <a:lnTo>
                    <a:pt x="292" y="261"/>
                  </a:lnTo>
                  <a:lnTo>
                    <a:pt x="292" y="261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6"/>
                  </a:lnTo>
                  <a:lnTo>
                    <a:pt x="295" y="256"/>
                  </a:lnTo>
                  <a:lnTo>
                    <a:pt x="295" y="256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49"/>
                  </a:lnTo>
                  <a:lnTo>
                    <a:pt x="295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3"/>
                  </a:lnTo>
                  <a:lnTo>
                    <a:pt x="297" y="243"/>
                  </a:lnTo>
                  <a:lnTo>
                    <a:pt x="297" y="241"/>
                  </a:lnTo>
                  <a:lnTo>
                    <a:pt x="297" y="241"/>
                  </a:lnTo>
                  <a:lnTo>
                    <a:pt x="295" y="241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2" y="238"/>
                  </a:lnTo>
                  <a:lnTo>
                    <a:pt x="290" y="236"/>
                  </a:lnTo>
                  <a:lnTo>
                    <a:pt x="287" y="238"/>
                  </a:lnTo>
                  <a:lnTo>
                    <a:pt x="287" y="238"/>
                  </a:lnTo>
                  <a:lnTo>
                    <a:pt x="287" y="238"/>
                  </a:lnTo>
                  <a:lnTo>
                    <a:pt x="287" y="236"/>
                  </a:lnTo>
                  <a:lnTo>
                    <a:pt x="287" y="236"/>
                  </a:lnTo>
                  <a:lnTo>
                    <a:pt x="285" y="236"/>
                  </a:lnTo>
                  <a:lnTo>
                    <a:pt x="285" y="236"/>
                  </a:lnTo>
                  <a:lnTo>
                    <a:pt x="282" y="233"/>
                  </a:lnTo>
                  <a:lnTo>
                    <a:pt x="282" y="233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79" y="230"/>
                  </a:lnTo>
                  <a:lnTo>
                    <a:pt x="277" y="230"/>
                  </a:lnTo>
                  <a:lnTo>
                    <a:pt x="277" y="230"/>
                  </a:lnTo>
                  <a:lnTo>
                    <a:pt x="277" y="228"/>
                  </a:lnTo>
                  <a:lnTo>
                    <a:pt x="277" y="225"/>
                  </a:lnTo>
                  <a:lnTo>
                    <a:pt x="277" y="225"/>
                  </a:lnTo>
                  <a:lnTo>
                    <a:pt x="277" y="223"/>
                  </a:lnTo>
                  <a:lnTo>
                    <a:pt x="277" y="220"/>
                  </a:lnTo>
                  <a:lnTo>
                    <a:pt x="277" y="217"/>
                  </a:lnTo>
                  <a:lnTo>
                    <a:pt x="277" y="215"/>
                  </a:lnTo>
                  <a:lnTo>
                    <a:pt x="277" y="212"/>
                  </a:lnTo>
                  <a:lnTo>
                    <a:pt x="274" y="212"/>
                  </a:lnTo>
                  <a:lnTo>
                    <a:pt x="274" y="212"/>
                  </a:lnTo>
                  <a:lnTo>
                    <a:pt x="277" y="210"/>
                  </a:lnTo>
                  <a:lnTo>
                    <a:pt x="277" y="210"/>
                  </a:lnTo>
                  <a:lnTo>
                    <a:pt x="277" y="207"/>
                  </a:lnTo>
                  <a:lnTo>
                    <a:pt x="277" y="207"/>
                  </a:lnTo>
                  <a:lnTo>
                    <a:pt x="279" y="207"/>
                  </a:lnTo>
                  <a:lnTo>
                    <a:pt x="282" y="207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79" y="204"/>
                  </a:lnTo>
                  <a:lnTo>
                    <a:pt x="279" y="204"/>
                  </a:lnTo>
                  <a:lnTo>
                    <a:pt x="277" y="204"/>
                  </a:lnTo>
                  <a:lnTo>
                    <a:pt x="277" y="202"/>
                  </a:lnTo>
                  <a:lnTo>
                    <a:pt x="279" y="204"/>
                  </a:lnTo>
                  <a:lnTo>
                    <a:pt x="279" y="204"/>
                  </a:lnTo>
                  <a:lnTo>
                    <a:pt x="282" y="202"/>
                  </a:lnTo>
                  <a:lnTo>
                    <a:pt x="287" y="202"/>
                  </a:lnTo>
                  <a:lnTo>
                    <a:pt x="290" y="199"/>
                  </a:lnTo>
                  <a:lnTo>
                    <a:pt x="287" y="199"/>
                  </a:lnTo>
                  <a:lnTo>
                    <a:pt x="287" y="197"/>
                  </a:lnTo>
                  <a:lnTo>
                    <a:pt x="287" y="194"/>
                  </a:lnTo>
                  <a:lnTo>
                    <a:pt x="287" y="194"/>
                  </a:lnTo>
                  <a:lnTo>
                    <a:pt x="287" y="191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290" y="186"/>
                  </a:lnTo>
                  <a:lnTo>
                    <a:pt x="290" y="186"/>
                  </a:lnTo>
                  <a:lnTo>
                    <a:pt x="285" y="186"/>
                  </a:lnTo>
                  <a:lnTo>
                    <a:pt x="285" y="186"/>
                  </a:lnTo>
                  <a:lnTo>
                    <a:pt x="285" y="186"/>
                  </a:lnTo>
                  <a:lnTo>
                    <a:pt x="282" y="186"/>
                  </a:lnTo>
                  <a:lnTo>
                    <a:pt x="279" y="184"/>
                  </a:lnTo>
                  <a:lnTo>
                    <a:pt x="277" y="181"/>
                  </a:lnTo>
                  <a:lnTo>
                    <a:pt x="277" y="178"/>
                  </a:lnTo>
                  <a:lnTo>
                    <a:pt x="274" y="176"/>
                  </a:lnTo>
                  <a:lnTo>
                    <a:pt x="277" y="176"/>
                  </a:lnTo>
                  <a:lnTo>
                    <a:pt x="277" y="173"/>
                  </a:lnTo>
                  <a:lnTo>
                    <a:pt x="279" y="173"/>
                  </a:lnTo>
                  <a:lnTo>
                    <a:pt x="279" y="171"/>
                  </a:lnTo>
                  <a:lnTo>
                    <a:pt x="279" y="171"/>
                  </a:lnTo>
                  <a:lnTo>
                    <a:pt x="282" y="171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6"/>
                  </a:lnTo>
                  <a:lnTo>
                    <a:pt x="282" y="166"/>
                  </a:lnTo>
                  <a:lnTo>
                    <a:pt x="282" y="168"/>
                  </a:lnTo>
                  <a:lnTo>
                    <a:pt x="285" y="168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90" y="168"/>
                  </a:lnTo>
                  <a:lnTo>
                    <a:pt x="290" y="168"/>
                  </a:lnTo>
                  <a:lnTo>
                    <a:pt x="292" y="168"/>
                  </a:lnTo>
                  <a:lnTo>
                    <a:pt x="295" y="163"/>
                  </a:lnTo>
                  <a:lnTo>
                    <a:pt x="297" y="160"/>
                  </a:lnTo>
                  <a:lnTo>
                    <a:pt x="300" y="158"/>
                  </a:lnTo>
                  <a:lnTo>
                    <a:pt x="305" y="155"/>
                  </a:lnTo>
                  <a:lnTo>
                    <a:pt x="305" y="155"/>
                  </a:lnTo>
                  <a:lnTo>
                    <a:pt x="308" y="155"/>
                  </a:lnTo>
                  <a:lnTo>
                    <a:pt x="308" y="153"/>
                  </a:lnTo>
                  <a:lnTo>
                    <a:pt x="310" y="153"/>
                  </a:lnTo>
                  <a:lnTo>
                    <a:pt x="313" y="150"/>
                  </a:lnTo>
                  <a:lnTo>
                    <a:pt x="313" y="150"/>
                  </a:lnTo>
                  <a:lnTo>
                    <a:pt x="313" y="150"/>
                  </a:lnTo>
                  <a:lnTo>
                    <a:pt x="313" y="147"/>
                  </a:lnTo>
                  <a:lnTo>
                    <a:pt x="313" y="145"/>
                  </a:lnTo>
                  <a:lnTo>
                    <a:pt x="313" y="142"/>
                  </a:lnTo>
                  <a:lnTo>
                    <a:pt x="313" y="140"/>
                  </a:lnTo>
                  <a:lnTo>
                    <a:pt x="313" y="137"/>
                  </a:lnTo>
                  <a:lnTo>
                    <a:pt x="313" y="134"/>
                  </a:lnTo>
                  <a:lnTo>
                    <a:pt x="313" y="132"/>
                  </a:lnTo>
                  <a:lnTo>
                    <a:pt x="310" y="129"/>
                  </a:lnTo>
                  <a:lnTo>
                    <a:pt x="310" y="127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1"/>
                  </a:lnTo>
                  <a:lnTo>
                    <a:pt x="310" y="121"/>
                  </a:lnTo>
                  <a:lnTo>
                    <a:pt x="313" y="121"/>
                  </a:lnTo>
                  <a:lnTo>
                    <a:pt x="313" y="121"/>
                  </a:lnTo>
                  <a:lnTo>
                    <a:pt x="313" y="124"/>
                  </a:lnTo>
                  <a:lnTo>
                    <a:pt x="313" y="124"/>
                  </a:lnTo>
                  <a:lnTo>
                    <a:pt x="313" y="121"/>
                  </a:lnTo>
                  <a:lnTo>
                    <a:pt x="316" y="119"/>
                  </a:lnTo>
                  <a:lnTo>
                    <a:pt x="318" y="119"/>
                  </a:lnTo>
                  <a:lnTo>
                    <a:pt x="318" y="119"/>
                  </a:lnTo>
                  <a:lnTo>
                    <a:pt x="318" y="116"/>
                  </a:lnTo>
                  <a:lnTo>
                    <a:pt x="316" y="116"/>
                  </a:lnTo>
                  <a:lnTo>
                    <a:pt x="316" y="116"/>
                  </a:lnTo>
                  <a:close/>
                  <a:moveTo>
                    <a:pt x="171" y="83"/>
                  </a:move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close/>
                  <a:moveTo>
                    <a:pt x="194" y="64"/>
                  </a:moveTo>
                  <a:lnTo>
                    <a:pt x="194" y="64"/>
                  </a:lnTo>
                  <a:lnTo>
                    <a:pt x="194" y="64"/>
                  </a:lnTo>
                  <a:lnTo>
                    <a:pt x="194" y="64"/>
                  </a:lnTo>
                  <a:lnTo>
                    <a:pt x="194" y="64"/>
                  </a:lnTo>
                  <a:lnTo>
                    <a:pt x="194" y="64"/>
                  </a:lnTo>
                  <a:lnTo>
                    <a:pt x="194" y="64"/>
                  </a:lnTo>
                  <a:close/>
                  <a:moveTo>
                    <a:pt x="46" y="101"/>
                  </a:moveTo>
                  <a:lnTo>
                    <a:pt x="49" y="103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6" y="101"/>
                  </a:lnTo>
                  <a:lnTo>
                    <a:pt x="46" y="101"/>
                  </a:lnTo>
                  <a:close/>
                  <a:moveTo>
                    <a:pt x="44" y="67"/>
                  </a:moveTo>
                  <a:lnTo>
                    <a:pt x="46" y="67"/>
                  </a:lnTo>
                  <a:lnTo>
                    <a:pt x="46" y="67"/>
                  </a:lnTo>
                  <a:lnTo>
                    <a:pt x="49" y="67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4" y="6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1" name="Freeform 61"/>
            <p:cNvSpPr>
              <a:spLocks/>
            </p:cNvSpPr>
            <p:nvPr/>
          </p:nvSpPr>
          <p:spPr bwMode="auto">
            <a:xfrm>
              <a:off x="1023" y="2494"/>
              <a:ext cx="2" cy="2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2 w 2"/>
                <a:gd name="T13" fmla="*/ 0 h 2"/>
                <a:gd name="T14" fmla="*/ 2 w 2"/>
                <a:gd name="T15" fmla="*/ 0 h 2"/>
                <a:gd name="T16" fmla="*/ 2 w 2"/>
                <a:gd name="T17" fmla="*/ 2 h 2"/>
                <a:gd name="T18" fmla="*/ 2 w 2"/>
                <a:gd name="T19" fmla="*/ 0 h 2"/>
                <a:gd name="T20" fmla="*/ 2 w 2"/>
                <a:gd name="T21" fmla="*/ 0 h 2"/>
                <a:gd name="T22" fmla="*/ 2 w 2"/>
                <a:gd name="T23" fmla="*/ 0 h 2"/>
                <a:gd name="T24" fmla="*/ 2 w 2"/>
                <a:gd name="T25" fmla="*/ 0 h 2"/>
                <a:gd name="T26" fmla="*/ 2 w 2"/>
                <a:gd name="T2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2" name="Freeform 62"/>
            <p:cNvSpPr>
              <a:spLocks/>
            </p:cNvSpPr>
            <p:nvPr/>
          </p:nvSpPr>
          <p:spPr bwMode="auto">
            <a:xfrm>
              <a:off x="1028" y="2494"/>
              <a:ext cx="3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3 w 3"/>
                <a:gd name="T4" fmla="*/ 3 w 3"/>
                <a:gd name="T5" fmla="*/ 0 w 3"/>
                <a:gd name="T6" fmla="*/ 0 w 3"/>
                <a:gd name="T7" fmla="*/ 0 w 3"/>
                <a:gd name="T8" fmla="*/ 0 w 3"/>
                <a:gd name="T9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3" name="Freeform 63"/>
            <p:cNvSpPr>
              <a:spLocks/>
            </p:cNvSpPr>
            <p:nvPr/>
          </p:nvSpPr>
          <p:spPr bwMode="auto">
            <a:xfrm>
              <a:off x="1056" y="2429"/>
              <a:ext cx="13" cy="10"/>
            </a:xfrm>
            <a:custGeom>
              <a:avLst/>
              <a:gdLst>
                <a:gd name="T0" fmla="*/ 11 w 13"/>
                <a:gd name="T1" fmla="*/ 10 h 10"/>
                <a:gd name="T2" fmla="*/ 11 w 13"/>
                <a:gd name="T3" fmla="*/ 10 h 10"/>
                <a:gd name="T4" fmla="*/ 13 w 13"/>
                <a:gd name="T5" fmla="*/ 8 h 10"/>
                <a:gd name="T6" fmla="*/ 13 w 13"/>
                <a:gd name="T7" fmla="*/ 8 h 10"/>
                <a:gd name="T8" fmla="*/ 13 w 13"/>
                <a:gd name="T9" fmla="*/ 5 h 10"/>
                <a:gd name="T10" fmla="*/ 13 w 13"/>
                <a:gd name="T11" fmla="*/ 5 h 10"/>
                <a:gd name="T12" fmla="*/ 13 w 13"/>
                <a:gd name="T13" fmla="*/ 5 h 10"/>
                <a:gd name="T14" fmla="*/ 13 w 13"/>
                <a:gd name="T15" fmla="*/ 2 h 10"/>
                <a:gd name="T16" fmla="*/ 13 w 13"/>
                <a:gd name="T17" fmla="*/ 0 h 10"/>
                <a:gd name="T18" fmla="*/ 13 w 13"/>
                <a:gd name="T19" fmla="*/ 0 h 10"/>
                <a:gd name="T20" fmla="*/ 13 w 13"/>
                <a:gd name="T21" fmla="*/ 0 h 10"/>
                <a:gd name="T22" fmla="*/ 11 w 13"/>
                <a:gd name="T23" fmla="*/ 0 h 10"/>
                <a:gd name="T24" fmla="*/ 11 w 13"/>
                <a:gd name="T25" fmla="*/ 0 h 10"/>
                <a:gd name="T26" fmla="*/ 11 w 13"/>
                <a:gd name="T27" fmla="*/ 0 h 10"/>
                <a:gd name="T28" fmla="*/ 8 w 13"/>
                <a:gd name="T29" fmla="*/ 2 h 10"/>
                <a:gd name="T30" fmla="*/ 8 w 13"/>
                <a:gd name="T31" fmla="*/ 2 h 10"/>
                <a:gd name="T32" fmla="*/ 6 w 13"/>
                <a:gd name="T33" fmla="*/ 2 h 10"/>
                <a:gd name="T34" fmla="*/ 3 w 13"/>
                <a:gd name="T35" fmla="*/ 2 h 10"/>
                <a:gd name="T36" fmla="*/ 3 w 13"/>
                <a:gd name="T37" fmla="*/ 2 h 10"/>
                <a:gd name="T38" fmla="*/ 3 w 13"/>
                <a:gd name="T39" fmla="*/ 2 h 10"/>
                <a:gd name="T40" fmla="*/ 0 w 13"/>
                <a:gd name="T41" fmla="*/ 5 h 10"/>
                <a:gd name="T42" fmla="*/ 0 w 13"/>
                <a:gd name="T43" fmla="*/ 5 h 10"/>
                <a:gd name="T44" fmla="*/ 0 w 13"/>
                <a:gd name="T45" fmla="*/ 8 h 10"/>
                <a:gd name="T46" fmla="*/ 3 w 13"/>
                <a:gd name="T47" fmla="*/ 8 h 10"/>
                <a:gd name="T48" fmla="*/ 3 w 13"/>
                <a:gd name="T49" fmla="*/ 8 h 10"/>
                <a:gd name="T50" fmla="*/ 3 w 13"/>
                <a:gd name="T51" fmla="*/ 10 h 10"/>
                <a:gd name="T52" fmla="*/ 3 w 13"/>
                <a:gd name="T53" fmla="*/ 10 h 10"/>
                <a:gd name="T54" fmla="*/ 6 w 13"/>
                <a:gd name="T55" fmla="*/ 10 h 10"/>
                <a:gd name="T56" fmla="*/ 8 w 13"/>
                <a:gd name="T57" fmla="*/ 10 h 10"/>
                <a:gd name="T58" fmla="*/ 11 w 13"/>
                <a:gd name="T59" fmla="*/ 10 h 10"/>
                <a:gd name="T60" fmla="*/ 11 w 13"/>
                <a:gd name="T6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10">
                  <a:moveTo>
                    <a:pt x="11" y="10"/>
                  </a:moveTo>
                  <a:lnTo>
                    <a:pt x="11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1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4" name="Freeform 64"/>
            <p:cNvSpPr>
              <a:spLocks/>
            </p:cNvSpPr>
            <p:nvPr/>
          </p:nvSpPr>
          <p:spPr bwMode="auto">
            <a:xfrm>
              <a:off x="1049" y="2424"/>
              <a:ext cx="7" cy="5"/>
            </a:xfrm>
            <a:custGeom>
              <a:avLst/>
              <a:gdLst>
                <a:gd name="T0" fmla="*/ 0 w 7"/>
                <a:gd name="T1" fmla="*/ 0 h 5"/>
                <a:gd name="T2" fmla="*/ 0 w 7"/>
                <a:gd name="T3" fmla="*/ 2 h 5"/>
                <a:gd name="T4" fmla="*/ 0 w 7"/>
                <a:gd name="T5" fmla="*/ 2 h 5"/>
                <a:gd name="T6" fmla="*/ 2 w 7"/>
                <a:gd name="T7" fmla="*/ 5 h 5"/>
                <a:gd name="T8" fmla="*/ 5 w 7"/>
                <a:gd name="T9" fmla="*/ 5 h 5"/>
                <a:gd name="T10" fmla="*/ 5 w 7"/>
                <a:gd name="T11" fmla="*/ 5 h 5"/>
                <a:gd name="T12" fmla="*/ 7 w 7"/>
                <a:gd name="T13" fmla="*/ 2 h 5"/>
                <a:gd name="T14" fmla="*/ 7 w 7"/>
                <a:gd name="T15" fmla="*/ 2 h 5"/>
                <a:gd name="T16" fmla="*/ 7 w 7"/>
                <a:gd name="T17" fmla="*/ 0 h 5"/>
                <a:gd name="T18" fmla="*/ 5 w 7"/>
                <a:gd name="T19" fmla="*/ 0 h 5"/>
                <a:gd name="T20" fmla="*/ 2 w 7"/>
                <a:gd name="T21" fmla="*/ 0 h 5"/>
                <a:gd name="T22" fmla="*/ 0 w 7"/>
                <a:gd name="T23" fmla="*/ 0 h 5"/>
                <a:gd name="T24" fmla="*/ 0 w 7"/>
                <a:gd name="T25" fmla="*/ 0 h 5"/>
                <a:gd name="T26" fmla="*/ 0 w 7"/>
                <a:gd name="T27" fmla="*/ 0 h 5"/>
                <a:gd name="T28" fmla="*/ 0 w 7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5" name="Freeform 65"/>
            <p:cNvSpPr>
              <a:spLocks/>
            </p:cNvSpPr>
            <p:nvPr/>
          </p:nvSpPr>
          <p:spPr bwMode="auto">
            <a:xfrm>
              <a:off x="1051" y="2408"/>
              <a:ext cx="16" cy="10"/>
            </a:xfrm>
            <a:custGeom>
              <a:avLst/>
              <a:gdLst>
                <a:gd name="T0" fmla="*/ 13 w 16"/>
                <a:gd name="T1" fmla="*/ 3 h 10"/>
                <a:gd name="T2" fmla="*/ 13 w 16"/>
                <a:gd name="T3" fmla="*/ 3 h 10"/>
                <a:gd name="T4" fmla="*/ 11 w 16"/>
                <a:gd name="T5" fmla="*/ 3 h 10"/>
                <a:gd name="T6" fmla="*/ 11 w 16"/>
                <a:gd name="T7" fmla="*/ 3 h 10"/>
                <a:gd name="T8" fmla="*/ 8 w 16"/>
                <a:gd name="T9" fmla="*/ 3 h 10"/>
                <a:gd name="T10" fmla="*/ 8 w 16"/>
                <a:gd name="T11" fmla="*/ 5 h 10"/>
                <a:gd name="T12" fmla="*/ 3 w 16"/>
                <a:gd name="T13" fmla="*/ 5 h 10"/>
                <a:gd name="T14" fmla="*/ 0 w 16"/>
                <a:gd name="T15" fmla="*/ 5 h 10"/>
                <a:gd name="T16" fmla="*/ 0 w 16"/>
                <a:gd name="T17" fmla="*/ 8 h 10"/>
                <a:gd name="T18" fmla="*/ 0 w 16"/>
                <a:gd name="T19" fmla="*/ 8 h 10"/>
                <a:gd name="T20" fmla="*/ 0 w 16"/>
                <a:gd name="T21" fmla="*/ 8 h 10"/>
                <a:gd name="T22" fmla="*/ 3 w 16"/>
                <a:gd name="T23" fmla="*/ 8 h 10"/>
                <a:gd name="T24" fmla="*/ 3 w 16"/>
                <a:gd name="T25" fmla="*/ 10 h 10"/>
                <a:gd name="T26" fmla="*/ 3 w 16"/>
                <a:gd name="T27" fmla="*/ 8 h 10"/>
                <a:gd name="T28" fmla="*/ 5 w 16"/>
                <a:gd name="T29" fmla="*/ 8 h 10"/>
                <a:gd name="T30" fmla="*/ 5 w 16"/>
                <a:gd name="T31" fmla="*/ 8 h 10"/>
                <a:gd name="T32" fmla="*/ 5 w 16"/>
                <a:gd name="T33" fmla="*/ 5 h 10"/>
                <a:gd name="T34" fmla="*/ 8 w 16"/>
                <a:gd name="T35" fmla="*/ 5 h 10"/>
                <a:gd name="T36" fmla="*/ 8 w 16"/>
                <a:gd name="T37" fmla="*/ 5 h 10"/>
                <a:gd name="T38" fmla="*/ 11 w 16"/>
                <a:gd name="T39" fmla="*/ 5 h 10"/>
                <a:gd name="T40" fmla="*/ 13 w 16"/>
                <a:gd name="T41" fmla="*/ 5 h 10"/>
                <a:gd name="T42" fmla="*/ 13 w 16"/>
                <a:gd name="T43" fmla="*/ 5 h 10"/>
                <a:gd name="T44" fmla="*/ 13 w 16"/>
                <a:gd name="T45" fmla="*/ 5 h 10"/>
                <a:gd name="T46" fmla="*/ 13 w 16"/>
                <a:gd name="T47" fmla="*/ 3 h 10"/>
                <a:gd name="T48" fmla="*/ 16 w 16"/>
                <a:gd name="T49" fmla="*/ 3 h 10"/>
                <a:gd name="T50" fmla="*/ 16 w 16"/>
                <a:gd name="T51" fmla="*/ 0 h 10"/>
                <a:gd name="T52" fmla="*/ 13 w 16"/>
                <a:gd name="T53" fmla="*/ 3 h 10"/>
                <a:gd name="T54" fmla="*/ 13 w 16"/>
                <a:gd name="T55" fmla="*/ 3 h 10"/>
                <a:gd name="T56" fmla="*/ 13 w 16"/>
                <a:gd name="T5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" h="10">
                  <a:moveTo>
                    <a:pt x="13" y="3"/>
                  </a:moveTo>
                  <a:lnTo>
                    <a:pt x="13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6" name="Freeform 66"/>
            <p:cNvSpPr>
              <a:spLocks/>
            </p:cNvSpPr>
            <p:nvPr/>
          </p:nvSpPr>
          <p:spPr bwMode="auto">
            <a:xfrm>
              <a:off x="1051" y="2444"/>
              <a:ext cx="3" cy="0"/>
            </a:xfrm>
            <a:custGeom>
              <a:avLst/>
              <a:gdLst>
                <a:gd name="T0" fmla="*/ 0 w 3"/>
                <a:gd name="T1" fmla="*/ 3 w 3"/>
                <a:gd name="T2" fmla="*/ 3 w 3"/>
                <a:gd name="T3" fmla="*/ 3 w 3"/>
                <a:gd name="T4" fmla="*/ 3 w 3"/>
                <a:gd name="T5" fmla="*/ 3 w 3"/>
                <a:gd name="T6" fmla="*/ 3 w 3"/>
                <a:gd name="T7" fmla="*/ 3 w 3"/>
                <a:gd name="T8" fmla="*/ 0 w 3"/>
                <a:gd name="T9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7" name="Freeform 67"/>
            <p:cNvSpPr>
              <a:spLocks/>
            </p:cNvSpPr>
            <p:nvPr/>
          </p:nvSpPr>
          <p:spPr bwMode="auto">
            <a:xfrm>
              <a:off x="1049" y="243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8" name="Freeform 68"/>
            <p:cNvSpPr>
              <a:spLocks/>
            </p:cNvSpPr>
            <p:nvPr/>
          </p:nvSpPr>
          <p:spPr bwMode="auto">
            <a:xfrm>
              <a:off x="1025" y="2400"/>
              <a:ext cx="11" cy="18"/>
            </a:xfrm>
            <a:custGeom>
              <a:avLst/>
              <a:gdLst>
                <a:gd name="T0" fmla="*/ 11 w 11"/>
                <a:gd name="T1" fmla="*/ 13 h 18"/>
                <a:gd name="T2" fmla="*/ 8 w 11"/>
                <a:gd name="T3" fmla="*/ 13 h 18"/>
                <a:gd name="T4" fmla="*/ 8 w 11"/>
                <a:gd name="T5" fmla="*/ 13 h 18"/>
                <a:gd name="T6" fmla="*/ 8 w 11"/>
                <a:gd name="T7" fmla="*/ 11 h 18"/>
                <a:gd name="T8" fmla="*/ 8 w 11"/>
                <a:gd name="T9" fmla="*/ 11 h 18"/>
                <a:gd name="T10" fmla="*/ 6 w 11"/>
                <a:gd name="T11" fmla="*/ 11 h 18"/>
                <a:gd name="T12" fmla="*/ 6 w 11"/>
                <a:gd name="T13" fmla="*/ 11 h 18"/>
                <a:gd name="T14" fmla="*/ 8 w 11"/>
                <a:gd name="T15" fmla="*/ 11 h 18"/>
                <a:gd name="T16" fmla="*/ 8 w 11"/>
                <a:gd name="T17" fmla="*/ 11 h 18"/>
                <a:gd name="T18" fmla="*/ 8 w 11"/>
                <a:gd name="T19" fmla="*/ 11 h 18"/>
                <a:gd name="T20" fmla="*/ 6 w 11"/>
                <a:gd name="T21" fmla="*/ 11 h 18"/>
                <a:gd name="T22" fmla="*/ 6 w 11"/>
                <a:gd name="T23" fmla="*/ 8 h 18"/>
                <a:gd name="T24" fmla="*/ 6 w 11"/>
                <a:gd name="T25" fmla="*/ 5 h 18"/>
                <a:gd name="T26" fmla="*/ 6 w 11"/>
                <a:gd name="T27" fmla="*/ 5 h 18"/>
                <a:gd name="T28" fmla="*/ 6 w 11"/>
                <a:gd name="T29" fmla="*/ 5 h 18"/>
                <a:gd name="T30" fmla="*/ 6 w 11"/>
                <a:gd name="T31" fmla="*/ 5 h 18"/>
                <a:gd name="T32" fmla="*/ 6 w 11"/>
                <a:gd name="T33" fmla="*/ 3 h 18"/>
                <a:gd name="T34" fmla="*/ 6 w 11"/>
                <a:gd name="T35" fmla="*/ 3 h 18"/>
                <a:gd name="T36" fmla="*/ 8 w 11"/>
                <a:gd name="T37" fmla="*/ 3 h 18"/>
                <a:gd name="T38" fmla="*/ 6 w 11"/>
                <a:gd name="T39" fmla="*/ 0 h 18"/>
                <a:gd name="T40" fmla="*/ 6 w 11"/>
                <a:gd name="T41" fmla="*/ 3 h 18"/>
                <a:gd name="T42" fmla="*/ 3 w 11"/>
                <a:gd name="T43" fmla="*/ 3 h 18"/>
                <a:gd name="T44" fmla="*/ 0 w 11"/>
                <a:gd name="T45" fmla="*/ 5 h 18"/>
                <a:gd name="T46" fmla="*/ 0 w 11"/>
                <a:gd name="T47" fmla="*/ 8 h 18"/>
                <a:gd name="T48" fmla="*/ 0 w 11"/>
                <a:gd name="T49" fmla="*/ 13 h 18"/>
                <a:gd name="T50" fmla="*/ 3 w 11"/>
                <a:gd name="T51" fmla="*/ 16 h 18"/>
                <a:gd name="T52" fmla="*/ 6 w 11"/>
                <a:gd name="T53" fmla="*/ 18 h 18"/>
                <a:gd name="T54" fmla="*/ 8 w 11"/>
                <a:gd name="T55" fmla="*/ 18 h 18"/>
                <a:gd name="T56" fmla="*/ 8 w 11"/>
                <a:gd name="T57" fmla="*/ 18 h 18"/>
                <a:gd name="T58" fmla="*/ 11 w 11"/>
                <a:gd name="T59" fmla="*/ 18 h 18"/>
                <a:gd name="T60" fmla="*/ 8 w 11"/>
                <a:gd name="T61" fmla="*/ 18 h 18"/>
                <a:gd name="T62" fmla="*/ 8 w 11"/>
                <a:gd name="T63" fmla="*/ 18 h 18"/>
                <a:gd name="T64" fmla="*/ 8 w 11"/>
                <a:gd name="T65" fmla="*/ 16 h 18"/>
                <a:gd name="T66" fmla="*/ 8 w 11"/>
                <a:gd name="T67" fmla="*/ 16 h 18"/>
                <a:gd name="T68" fmla="*/ 8 w 11"/>
                <a:gd name="T69" fmla="*/ 16 h 18"/>
                <a:gd name="T70" fmla="*/ 8 w 11"/>
                <a:gd name="T71" fmla="*/ 16 h 18"/>
                <a:gd name="T72" fmla="*/ 11 w 11"/>
                <a:gd name="T73" fmla="*/ 16 h 18"/>
                <a:gd name="T74" fmla="*/ 11 w 11"/>
                <a:gd name="T75" fmla="*/ 16 h 18"/>
                <a:gd name="T76" fmla="*/ 11 w 11"/>
                <a:gd name="T77" fmla="*/ 16 h 18"/>
                <a:gd name="T78" fmla="*/ 11 w 11"/>
                <a:gd name="T79" fmla="*/ 16 h 18"/>
                <a:gd name="T80" fmla="*/ 8 w 11"/>
                <a:gd name="T81" fmla="*/ 13 h 18"/>
                <a:gd name="T82" fmla="*/ 8 w 11"/>
                <a:gd name="T83" fmla="*/ 13 h 18"/>
                <a:gd name="T84" fmla="*/ 8 w 11"/>
                <a:gd name="T85" fmla="*/ 13 h 18"/>
                <a:gd name="T86" fmla="*/ 11 w 11"/>
                <a:gd name="T87" fmla="*/ 13 h 18"/>
                <a:gd name="T88" fmla="*/ 11 w 11"/>
                <a:gd name="T89" fmla="*/ 13 h 18"/>
                <a:gd name="T90" fmla="*/ 11 w 11"/>
                <a:gd name="T91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" h="18">
                  <a:moveTo>
                    <a:pt x="11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29" name="Freeform 69"/>
            <p:cNvSpPr>
              <a:spLocks/>
            </p:cNvSpPr>
            <p:nvPr/>
          </p:nvSpPr>
          <p:spPr bwMode="auto">
            <a:xfrm>
              <a:off x="1036" y="2392"/>
              <a:ext cx="23" cy="16"/>
            </a:xfrm>
            <a:custGeom>
              <a:avLst/>
              <a:gdLst>
                <a:gd name="T0" fmla="*/ 18 w 23"/>
                <a:gd name="T1" fmla="*/ 13 h 16"/>
                <a:gd name="T2" fmla="*/ 20 w 23"/>
                <a:gd name="T3" fmla="*/ 13 h 16"/>
                <a:gd name="T4" fmla="*/ 20 w 23"/>
                <a:gd name="T5" fmla="*/ 11 h 16"/>
                <a:gd name="T6" fmla="*/ 20 w 23"/>
                <a:gd name="T7" fmla="*/ 11 h 16"/>
                <a:gd name="T8" fmla="*/ 20 w 23"/>
                <a:gd name="T9" fmla="*/ 11 h 16"/>
                <a:gd name="T10" fmla="*/ 20 w 23"/>
                <a:gd name="T11" fmla="*/ 8 h 16"/>
                <a:gd name="T12" fmla="*/ 20 w 23"/>
                <a:gd name="T13" fmla="*/ 8 h 16"/>
                <a:gd name="T14" fmla="*/ 23 w 23"/>
                <a:gd name="T15" fmla="*/ 8 h 16"/>
                <a:gd name="T16" fmla="*/ 23 w 23"/>
                <a:gd name="T17" fmla="*/ 6 h 16"/>
                <a:gd name="T18" fmla="*/ 23 w 23"/>
                <a:gd name="T19" fmla="*/ 6 h 16"/>
                <a:gd name="T20" fmla="*/ 20 w 23"/>
                <a:gd name="T21" fmla="*/ 6 h 16"/>
                <a:gd name="T22" fmla="*/ 20 w 23"/>
                <a:gd name="T23" fmla="*/ 6 h 16"/>
                <a:gd name="T24" fmla="*/ 20 w 23"/>
                <a:gd name="T25" fmla="*/ 6 h 16"/>
                <a:gd name="T26" fmla="*/ 20 w 23"/>
                <a:gd name="T27" fmla="*/ 6 h 16"/>
                <a:gd name="T28" fmla="*/ 20 w 23"/>
                <a:gd name="T29" fmla="*/ 3 h 16"/>
                <a:gd name="T30" fmla="*/ 20 w 23"/>
                <a:gd name="T31" fmla="*/ 3 h 16"/>
                <a:gd name="T32" fmla="*/ 20 w 23"/>
                <a:gd name="T33" fmla="*/ 3 h 16"/>
                <a:gd name="T34" fmla="*/ 20 w 23"/>
                <a:gd name="T35" fmla="*/ 3 h 16"/>
                <a:gd name="T36" fmla="*/ 20 w 23"/>
                <a:gd name="T37" fmla="*/ 0 h 16"/>
                <a:gd name="T38" fmla="*/ 18 w 23"/>
                <a:gd name="T39" fmla="*/ 0 h 16"/>
                <a:gd name="T40" fmla="*/ 15 w 23"/>
                <a:gd name="T41" fmla="*/ 0 h 16"/>
                <a:gd name="T42" fmla="*/ 15 w 23"/>
                <a:gd name="T43" fmla="*/ 0 h 16"/>
                <a:gd name="T44" fmla="*/ 15 w 23"/>
                <a:gd name="T45" fmla="*/ 0 h 16"/>
                <a:gd name="T46" fmla="*/ 13 w 23"/>
                <a:gd name="T47" fmla="*/ 3 h 16"/>
                <a:gd name="T48" fmla="*/ 13 w 23"/>
                <a:gd name="T49" fmla="*/ 3 h 16"/>
                <a:gd name="T50" fmla="*/ 10 w 23"/>
                <a:gd name="T51" fmla="*/ 3 h 16"/>
                <a:gd name="T52" fmla="*/ 8 w 23"/>
                <a:gd name="T53" fmla="*/ 3 h 16"/>
                <a:gd name="T54" fmla="*/ 5 w 23"/>
                <a:gd name="T55" fmla="*/ 3 h 16"/>
                <a:gd name="T56" fmla="*/ 5 w 23"/>
                <a:gd name="T57" fmla="*/ 3 h 16"/>
                <a:gd name="T58" fmla="*/ 2 w 23"/>
                <a:gd name="T59" fmla="*/ 3 h 16"/>
                <a:gd name="T60" fmla="*/ 0 w 23"/>
                <a:gd name="T61" fmla="*/ 6 h 16"/>
                <a:gd name="T62" fmla="*/ 0 w 23"/>
                <a:gd name="T63" fmla="*/ 11 h 16"/>
                <a:gd name="T64" fmla="*/ 0 w 23"/>
                <a:gd name="T65" fmla="*/ 11 h 16"/>
                <a:gd name="T66" fmla="*/ 2 w 23"/>
                <a:gd name="T67" fmla="*/ 11 h 16"/>
                <a:gd name="T68" fmla="*/ 2 w 23"/>
                <a:gd name="T69" fmla="*/ 11 h 16"/>
                <a:gd name="T70" fmla="*/ 5 w 23"/>
                <a:gd name="T71" fmla="*/ 13 h 16"/>
                <a:gd name="T72" fmla="*/ 5 w 23"/>
                <a:gd name="T73" fmla="*/ 13 h 16"/>
                <a:gd name="T74" fmla="*/ 8 w 23"/>
                <a:gd name="T75" fmla="*/ 13 h 16"/>
                <a:gd name="T76" fmla="*/ 8 w 23"/>
                <a:gd name="T77" fmla="*/ 13 h 16"/>
                <a:gd name="T78" fmla="*/ 10 w 23"/>
                <a:gd name="T79" fmla="*/ 13 h 16"/>
                <a:gd name="T80" fmla="*/ 10 w 23"/>
                <a:gd name="T81" fmla="*/ 16 h 16"/>
                <a:gd name="T82" fmla="*/ 15 w 23"/>
                <a:gd name="T83" fmla="*/ 16 h 16"/>
                <a:gd name="T84" fmla="*/ 18 w 23"/>
                <a:gd name="T85" fmla="*/ 16 h 16"/>
                <a:gd name="T86" fmla="*/ 18 w 23"/>
                <a:gd name="T87" fmla="*/ 13 h 16"/>
                <a:gd name="T88" fmla="*/ 18 w 23"/>
                <a:gd name="T8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" h="16">
                  <a:moveTo>
                    <a:pt x="18" y="13"/>
                  </a:moveTo>
                  <a:lnTo>
                    <a:pt x="20" y="13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6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1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0" name="Freeform 70"/>
            <p:cNvSpPr>
              <a:spLocks/>
            </p:cNvSpPr>
            <p:nvPr/>
          </p:nvSpPr>
          <p:spPr bwMode="auto">
            <a:xfrm>
              <a:off x="1082" y="2434"/>
              <a:ext cx="16" cy="13"/>
            </a:xfrm>
            <a:custGeom>
              <a:avLst/>
              <a:gdLst>
                <a:gd name="T0" fmla="*/ 11 w 16"/>
                <a:gd name="T1" fmla="*/ 10 h 13"/>
                <a:gd name="T2" fmla="*/ 11 w 16"/>
                <a:gd name="T3" fmla="*/ 10 h 13"/>
                <a:gd name="T4" fmla="*/ 13 w 16"/>
                <a:gd name="T5" fmla="*/ 10 h 13"/>
                <a:gd name="T6" fmla="*/ 13 w 16"/>
                <a:gd name="T7" fmla="*/ 8 h 13"/>
                <a:gd name="T8" fmla="*/ 13 w 16"/>
                <a:gd name="T9" fmla="*/ 8 h 13"/>
                <a:gd name="T10" fmla="*/ 13 w 16"/>
                <a:gd name="T11" fmla="*/ 8 h 13"/>
                <a:gd name="T12" fmla="*/ 13 w 16"/>
                <a:gd name="T13" fmla="*/ 5 h 13"/>
                <a:gd name="T14" fmla="*/ 13 w 16"/>
                <a:gd name="T15" fmla="*/ 5 h 13"/>
                <a:gd name="T16" fmla="*/ 13 w 16"/>
                <a:gd name="T17" fmla="*/ 5 h 13"/>
                <a:gd name="T18" fmla="*/ 16 w 16"/>
                <a:gd name="T19" fmla="*/ 5 h 13"/>
                <a:gd name="T20" fmla="*/ 16 w 16"/>
                <a:gd name="T21" fmla="*/ 3 h 13"/>
                <a:gd name="T22" fmla="*/ 16 w 16"/>
                <a:gd name="T23" fmla="*/ 3 h 13"/>
                <a:gd name="T24" fmla="*/ 16 w 16"/>
                <a:gd name="T25" fmla="*/ 3 h 13"/>
                <a:gd name="T26" fmla="*/ 13 w 16"/>
                <a:gd name="T27" fmla="*/ 3 h 13"/>
                <a:gd name="T28" fmla="*/ 13 w 16"/>
                <a:gd name="T29" fmla="*/ 0 h 13"/>
                <a:gd name="T30" fmla="*/ 11 w 16"/>
                <a:gd name="T31" fmla="*/ 0 h 13"/>
                <a:gd name="T32" fmla="*/ 8 w 16"/>
                <a:gd name="T33" fmla="*/ 0 h 13"/>
                <a:gd name="T34" fmla="*/ 6 w 16"/>
                <a:gd name="T35" fmla="*/ 0 h 13"/>
                <a:gd name="T36" fmla="*/ 6 w 16"/>
                <a:gd name="T37" fmla="*/ 0 h 13"/>
                <a:gd name="T38" fmla="*/ 3 w 16"/>
                <a:gd name="T39" fmla="*/ 3 h 13"/>
                <a:gd name="T40" fmla="*/ 0 w 16"/>
                <a:gd name="T41" fmla="*/ 3 h 13"/>
                <a:gd name="T42" fmla="*/ 0 w 16"/>
                <a:gd name="T43" fmla="*/ 5 h 13"/>
                <a:gd name="T44" fmla="*/ 0 w 16"/>
                <a:gd name="T45" fmla="*/ 5 h 13"/>
                <a:gd name="T46" fmla="*/ 0 w 16"/>
                <a:gd name="T47" fmla="*/ 5 h 13"/>
                <a:gd name="T48" fmla="*/ 0 w 16"/>
                <a:gd name="T49" fmla="*/ 5 h 13"/>
                <a:gd name="T50" fmla="*/ 0 w 16"/>
                <a:gd name="T51" fmla="*/ 8 h 13"/>
                <a:gd name="T52" fmla="*/ 0 w 16"/>
                <a:gd name="T53" fmla="*/ 10 h 13"/>
                <a:gd name="T54" fmla="*/ 3 w 16"/>
                <a:gd name="T55" fmla="*/ 10 h 13"/>
                <a:gd name="T56" fmla="*/ 6 w 16"/>
                <a:gd name="T57" fmla="*/ 13 h 13"/>
                <a:gd name="T58" fmla="*/ 8 w 16"/>
                <a:gd name="T59" fmla="*/ 13 h 13"/>
                <a:gd name="T60" fmla="*/ 11 w 16"/>
                <a:gd name="T61" fmla="*/ 10 h 13"/>
                <a:gd name="T62" fmla="*/ 11 w 16"/>
                <a:gd name="T6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" h="13">
                  <a:moveTo>
                    <a:pt x="11" y="10"/>
                  </a:move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11" y="10"/>
                  </a:lnTo>
                  <a:lnTo>
                    <a:pt x="11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1" name="Freeform 71"/>
            <p:cNvSpPr>
              <a:spLocks/>
            </p:cNvSpPr>
            <p:nvPr/>
          </p:nvSpPr>
          <p:spPr bwMode="auto">
            <a:xfrm>
              <a:off x="1082" y="2421"/>
              <a:ext cx="3" cy="0"/>
            </a:xfrm>
            <a:custGeom>
              <a:avLst/>
              <a:gdLst>
                <a:gd name="T0" fmla="*/ 3 w 3"/>
                <a:gd name="T1" fmla="*/ 0 w 3"/>
                <a:gd name="T2" fmla="*/ 0 w 3"/>
                <a:gd name="T3" fmla="*/ 0 w 3"/>
                <a:gd name="T4" fmla="*/ 3 w 3"/>
                <a:gd name="T5" fmla="*/ 3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2" name="Freeform 72"/>
            <p:cNvSpPr>
              <a:spLocks/>
            </p:cNvSpPr>
            <p:nvPr/>
          </p:nvSpPr>
          <p:spPr bwMode="auto">
            <a:xfrm>
              <a:off x="1069" y="2411"/>
              <a:ext cx="6" cy="5"/>
            </a:xfrm>
            <a:custGeom>
              <a:avLst/>
              <a:gdLst>
                <a:gd name="T0" fmla="*/ 0 w 6"/>
                <a:gd name="T1" fmla="*/ 2 h 5"/>
                <a:gd name="T2" fmla="*/ 3 w 6"/>
                <a:gd name="T3" fmla="*/ 5 h 5"/>
                <a:gd name="T4" fmla="*/ 3 w 6"/>
                <a:gd name="T5" fmla="*/ 5 h 5"/>
                <a:gd name="T6" fmla="*/ 6 w 6"/>
                <a:gd name="T7" fmla="*/ 2 h 5"/>
                <a:gd name="T8" fmla="*/ 6 w 6"/>
                <a:gd name="T9" fmla="*/ 0 h 5"/>
                <a:gd name="T10" fmla="*/ 3 w 6"/>
                <a:gd name="T11" fmla="*/ 2 h 5"/>
                <a:gd name="T12" fmla="*/ 3 w 6"/>
                <a:gd name="T13" fmla="*/ 2 h 5"/>
                <a:gd name="T14" fmla="*/ 0 w 6"/>
                <a:gd name="T15" fmla="*/ 2 h 5"/>
                <a:gd name="T16" fmla="*/ 0 w 6"/>
                <a:gd name="T17" fmla="*/ 2 h 5"/>
                <a:gd name="T18" fmla="*/ 0 w 6"/>
                <a:gd name="T1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5">
                  <a:moveTo>
                    <a:pt x="0" y="2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6" y="2"/>
                  </a:lnTo>
                  <a:lnTo>
                    <a:pt x="6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3" name="Freeform 73"/>
            <p:cNvSpPr>
              <a:spLocks/>
            </p:cNvSpPr>
            <p:nvPr/>
          </p:nvSpPr>
          <p:spPr bwMode="auto">
            <a:xfrm>
              <a:off x="1075" y="2413"/>
              <a:ext cx="2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0 w 2"/>
                <a:gd name="T6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4" name="Freeform 74"/>
            <p:cNvSpPr>
              <a:spLocks/>
            </p:cNvSpPr>
            <p:nvPr/>
          </p:nvSpPr>
          <p:spPr bwMode="auto">
            <a:xfrm>
              <a:off x="1080" y="2429"/>
              <a:ext cx="5" cy="2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2 w 5"/>
                <a:gd name="T5" fmla="*/ 2 h 2"/>
                <a:gd name="T6" fmla="*/ 2 w 5"/>
                <a:gd name="T7" fmla="*/ 2 h 2"/>
                <a:gd name="T8" fmla="*/ 5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0 w 5"/>
                <a:gd name="T15" fmla="*/ 0 h 2"/>
                <a:gd name="T16" fmla="*/ 0 w 5"/>
                <a:gd name="T17" fmla="*/ 0 h 2"/>
                <a:gd name="T18" fmla="*/ 0 w 5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5" name="Freeform 75"/>
            <p:cNvSpPr>
              <a:spLocks/>
            </p:cNvSpPr>
            <p:nvPr/>
          </p:nvSpPr>
          <p:spPr bwMode="auto">
            <a:xfrm>
              <a:off x="1023" y="2341"/>
              <a:ext cx="318" cy="295"/>
            </a:xfrm>
            <a:custGeom>
              <a:avLst/>
              <a:gdLst>
                <a:gd name="T0" fmla="*/ 279 w 318"/>
                <a:gd name="T1" fmla="*/ 129 h 295"/>
                <a:gd name="T2" fmla="*/ 266 w 318"/>
                <a:gd name="T3" fmla="*/ 132 h 295"/>
                <a:gd name="T4" fmla="*/ 225 w 318"/>
                <a:gd name="T5" fmla="*/ 108 h 295"/>
                <a:gd name="T6" fmla="*/ 209 w 318"/>
                <a:gd name="T7" fmla="*/ 124 h 295"/>
                <a:gd name="T8" fmla="*/ 209 w 318"/>
                <a:gd name="T9" fmla="*/ 127 h 295"/>
                <a:gd name="T10" fmla="*/ 212 w 318"/>
                <a:gd name="T11" fmla="*/ 116 h 295"/>
                <a:gd name="T12" fmla="*/ 189 w 318"/>
                <a:gd name="T13" fmla="*/ 103 h 295"/>
                <a:gd name="T14" fmla="*/ 194 w 318"/>
                <a:gd name="T15" fmla="*/ 90 h 295"/>
                <a:gd name="T16" fmla="*/ 197 w 318"/>
                <a:gd name="T17" fmla="*/ 67 h 295"/>
                <a:gd name="T18" fmla="*/ 184 w 318"/>
                <a:gd name="T19" fmla="*/ 75 h 295"/>
                <a:gd name="T20" fmla="*/ 163 w 318"/>
                <a:gd name="T21" fmla="*/ 90 h 295"/>
                <a:gd name="T22" fmla="*/ 165 w 318"/>
                <a:gd name="T23" fmla="*/ 88 h 295"/>
                <a:gd name="T24" fmla="*/ 173 w 318"/>
                <a:gd name="T25" fmla="*/ 80 h 295"/>
                <a:gd name="T26" fmla="*/ 189 w 318"/>
                <a:gd name="T27" fmla="*/ 64 h 295"/>
                <a:gd name="T28" fmla="*/ 189 w 318"/>
                <a:gd name="T29" fmla="*/ 57 h 295"/>
                <a:gd name="T30" fmla="*/ 176 w 318"/>
                <a:gd name="T31" fmla="*/ 54 h 295"/>
                <a:gd name="T32" fmla="*/ 145 w 318"/>
                <a:gd name="T33" fmla="*/ 38 h 295"/>
                <a:gd name="T34" fmla="*/ 129 w 318"/>
                <a:gd name="T35" fmla="*/ 46 h 295"/>
                <a:gd name="T36" fmla="*/ 114 w 318"/>
                <a:gd name="T37" fmla="*/ 44 h 295"/>
                <a:gd name="T38" fmla="*/ 88 w 318"/>
                <a:gd name="T39" fmla="*/ 33 h 295"/>
                <a:gd name="T40" fmla="*/ 41 w 318"/>
                <a:gd name="T41" fmla="*/ 23 h 295"/>
                <a:gd name="T42" fmla="*/ 15 w 318"/>
                <a:gd name="T43" fmla="*/ 31 h 295"/>
                <a:gd name="T44" fmla="*/ 15 w 318"/>
                <a:gd name="T45" fmla="*/ 2 h 295"/>
                <a:gd name="T46" fmla="*/ 0 w 318"/>
                <a:gd name="T47" fmla="*/ 33 h 295"/>
                <a:gd name="T48" fmla="*/ 2 w 318"/>
                <a:gd name="T49" fmla="*/ 38 h 295"/>
                <a:gd name="T50" fmla="*/ 15 w 318"/>
                <a:gd name="T51" fmla="*/ 33 h 295"/>
                <a:gd name="T52" fmla="*/ 44 w 318"/>
                <a:gd name="T53" fmla="*/ 46 h 295"/>
                <a:gd name="T54" fmla="*/ 54 w 318"/>
                <a:gd name="T55" fmla="*/ 62 h 295"/>
                <a:gd name="T56" fmla="*/ 80 w 318"/>
                <a:gd name="T57" fmla="*/ 93 h 295"/>
                <a:gd name="T58" fmla="*/ 75 w 318"/>
                <a:gd name="T59" fmla="*/ 106 h 295"/>
                <a:gd name="T60" fmla="*/ 52 w 318"/>
                <a:gd name="T61" fmla="*/ 114 h 295"/>
                <a:gd name="T62" fmla="*/ 44 w 318"/>
                <a:gd name="T63" fmla="*/ 119 h 295"/>
                <a:gd name="T64" fmla="*/ 39 w 318"/>
                <a:gd name="T65" fmla="*/ 124 h 295"/>
                <a:gd name="T66" fmla="*/ 49 w 318"/>
                <a:gd name="T67" fmla="*/ 134 h 295"/>
                <a:gd name="T68" fmla="*/ 67 w 318"/>
                <a:gd name="T69" fmla="*/ 137 h 295"/>
                <a:gd name="T70" fmla="*/ 65 w 318"/>
                <a:gd name="T71" fmla="*/ 140 h 295"/>
                <a:gd name="T72" fmla="*/ 62 w 318"/>
                <a:gd name="T73" fmla="*/ 160 h 295"/>
                <a:gd name="T74" fmla="*/ 77 w 318"/>
                <a:gd name="T75" fmla="*/ 176 h 295"/>
                <a:gd name="T76" fmla="*/ 67 w 318"/>
                <a:gd name="T77" fmla="*/ 186 h 295"/>
                <a:gd name="T78" fmla="*/ 83 w 318"/>
                <a:gd name="T79" fmla="*/ 202 h 295"/>
                <a:gd name="T80" fmla="*/ 116 w 318"/>
                <a:gd name="T81" fmla="*/ 210 h 295"/>
                <a:gd name="T82" fmla="*/ 137 w 318"/>
                <a:gd name="T83" fmla="*/ 233 h 295"/>
                <a:gd name="T84" fmla="*/ 153 w 318"/>
                <a:gd name="T85" fmla="*/ 259 h 295"/>
                <a:gd name="T86" fmla="*/ 165 w 318"/>
                <a:gd name="T87" fmla="*/ 251 h 295"/>
                <a:gd name="T88" fmla="*/ 184 w 318"/>
                <a:gd name="T89" fmla="*/ 246 h 295"/>
                <a:gd name="T90" fmla="*/ 199 w 318"/>
                <a:gd name="T91" fmla="*/ 236 h 295"/>
                <a:gd name="T92" fmla="*/ 212 w 318"/>
                <a:gd name="T93" fmla="*/ 236 h 295"/>
                <a:gd name="T94" fmla="*/ 215 w 318"/>
                <a:gd name="T95" fmla="*/ 249 h 295"/>
                <a:gd name="T96" fmla="*/ 209 w 318"/>
                <a:gd name="T97" fmla="*/ 261 h 295"/>
                <a:gd name="T98" fmla="*/ 217 w 318"/>
                <a:gd name="T99" fmla="*/ 274 h 295"/>
                <a:gd name="T100" fmla="*/ 228 w 318"/>
                <a:gd name="T101" fmla="*/ 282 h 295"/>
                <a:gd name="T102" fmla="*/ 256 w 318"/>
                <a:gd name="T103" fmla="*/ 295 h 295"/>
                <a:gd name="T104" fmla="*/ 274 w 318"/>
                <a:gd name="T105" fmla="*/ 274 h 295"/>
                <a:gd name="T106" fmla="*/ 285 w 318"/>
                <a:gd name="T107" fmla="*/ 261 h 295"/>
                <a:gd name="T108" fmla="*/ 295 w 318"/>
                <a:gd name="T109" fmla="*/ 249 h 295"/>
                <a:gd name="T110" fmla="*/ 287 w 318"/>
                <a:gd name="T111" fmla="*/ 238 h 295"/>
                <a:gd name="T112" fmla="*/ 277 w 318"/>
                <a:gd name="T113" fmla="*/ 217 h 295"/>
                <a:gd name="T114" fmla="*/ 282 w 318"/>
                <a:gd name="T115" fmla="*/ 202 h 295"/>
                <a:gd name="T116" fmla="*/ 279 w 318"/>
                <a:gd name="T117" fmla="*/ 184 h 295"/>
                <a:gd name="T118" fmla="*/ 282 w 318"/>
                <a:gd name="T119" fmla="*/ 168 h 295"/>
                <a:gd name="T120" fmla="*/ 313 w 318"/>
                <a:gd name="T121" fmla="*/ 140 h 295"/>
                <a:gd name="T122" fmla="*/ 316 w 318"/>
                <a:gd name="T123" fmla="*/ 116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8" h="295">
                  <a:moveTo>
                    <a:pt x="316" y="116"/>
                  </a:moveTo>
                  <a:lnTo>
                    <a:pt x="316" y="116"/>
                  </a:lnTo>
                  <a:lnTo>
                    <a:pt x="313" y="116"/>
                  </a:lnTo>
                  <a:lnTo>
                    <a:pt x="313" y="116"/>
                  </a:lnTo>
                  <a:lnTo>
                    <a:pt x="313" y="119"/>
                  </a:lnTo>
                  <a:lnTo>
                    <a:pt x="313" y="119"/>
                  </a:lnTo>
                  <a:lnTo>
                    <a:pt x="310" y="119"/>
                  </a:lnTo>
                  <a:lnTo>
                    <a:pt x="305" y="121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5" y="119"/>
                  </a:lnTo>
                  <a:lnTo>
                    <a:pt x="305" y="116"/>
                  </a:lnTo>
                  <a:lnTo>
                    <a:pt x="300" y="119"/>
                  </a:lnTo>
                  <a:lnTo>
                    <a:pt x="295" y="119"/>
                  </a:lnTo>
                  <a:lnTo>
                    <a:pt x="290" y="121"/>
                  </a:lnTo>
                  <a:lnTo>
                    <a:pt x="287" y="124"/>
                  </a:lnTo>
                  <a:lnTo>
                    <a:pt x="285" y="127"/>
                  </a:lnTo>
                  <a:lnTo>
                    <a:pt x="282" y="129"/>
                  </a:lnTo>
                  <a:lnTo>
                    <a:pt x="279" y="129"/>
                  </a:lnTo>
                  <a:lnTo>
                    <a:pt x="277" y="129"/>
                  </a:lnTo>
                  <a:lnTo>
                    <a:pt x="274" y="129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2" y="132"/>
                  </a:lnTo>
                  <a:lnTo>
                    <a:pt x="272" y="132"/>
                  </a:lnTo>
                  <a:lnTo>
                    <a:pt x="269" y="132"/>
                  </a:lnTo>
                  <a:lnTo>
                    <a:pt x="269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9" y="132"/>
                  </a:lnTo>
                  <a:lnTo>
                    <a:pt x="266" y="129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32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9" y="129"/>
                  </a:lnTo>
                  <a:lnTo>
                    <a:pt x="269" y="129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4" y="124"/>
                  </a:lnTo>
                  <a:lnTo>
                    <a:pt x="264" y="124"/>
                  </a:lnTo>
                  <a:lnTo>
                    <a:pt x="264" y="124"/>
                  </a:lnTo>
                  <a:lnTo>
                    <a:pt x="259" y="121"/>
                  </a:lnTo>
                  <a:lnTo>
                    <a:pt x="256" y="119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4"/>
                  </a:lnTo>
                  <a:lnTo>
                    <a:pt x="235" y="111"/>
                  </a:lnTo>
                  <a:lnTo>
                    <a:pt x="235" y="108"/>
                  </a:lnTo>
                  <a:lnTo>
                    <a:pt x="233" y="108"/>
                  </a:lnTo>
                  <a:lnTo>
                    <a:pt x="230" y="108"/>
                  </a:lnTo>
                  <a:lnTo>
                    <a:pt x="228" y="108"/>
                  </a:lnTo>
                  <a:lnTo>
                    <a:pt x="225" y="108"/>
                  </a:lnTo>
                  <a:lnTo>
                    <a:pt x="225" y="108"/>
                  </a:lnTo>
                  <a:lnTo>
                    <a:pt x="222" y="111"/>
                  </a:lnTo>
                  <a:lnTo>
                    <a:pt x="225" y="111"/>
                  </a:lnTo>
                  <a:lnTo>
                    <a:pt x="225" y="111"/>
                  </a:lnTo>
                  <a:lnTo>
                    <a:pt x="222" y="111"/>
                  </a:lnTo>
                  <a:lnTo>
                    <a:pt x="222" y="111"/>
                  </a:lnTo>
                  <a:lnTo>
                    <a:pt x="220" y="111"/>
                  </a:lnTo>
                  <a:lnTo>
                    <a:pt x="220" y="111"/>
                  </a:lnTo>
                  <a:lnTo>
                    <a:pt x="217" y="111"/>
                  </a:lnTo>
                  <a:lnTo>
                    <a:pt x="217" y="114"/>
                  </a:lnTo>
                  <a:lnTo>
                    <a:pt x="215" y="114"/>
                  </a:lnTo>
                  <a:lnTo>
                    <a:pt x="215" y="116"/>
                  </a:lnTo>
                  <a:lnTo>
                    <a:pt x="215" y="116"/>
                  </a:lnTo>
                  <a:lnTo>
                    <a:pt x="215" y="119"/>
                  </a:lnTo>
                  <a:lnTo>
                    <a:pt x="215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21"/>
                  </a:lnTo>
                  <a:lnTo>
                    <a:pt x="212" y="121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12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2" y="127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9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09" y="124"/>
                  </a:lnTo>
                  <a:lnTo>
                    <a:pt x="207" y="124"/>
                  </a:lnTo>
                  <a:lnTo>
                    <a:pt x="207" y="121"/>
                  </a:lnTo>
                  <a:lnTo>
                    <a:pt x="207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1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4" y="121"/>
                  </a:lnTo>
                  <a:lnTo>
                    <a:pt x="202" y="121"/>
                  </a:lnTo>
                  <a:lnTo>
                    <a:pt x="204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6"/>
                  </a:lnTo>
                  <a:lnTo>
                    <a:pt x="212" y="116"/>
                  </a:lnTo>
                  <a:lnTo>
                    <a:pt x="212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2" y="114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12" y="108"/>
                  </a:lnTo>
                  <a:lnTo>
                    <a:pt x="212" y="106"/>
                  </a:lnTo>
                  <a:lnTo>
                    <a:pt x="215" y="106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09" y="101"/>
                  </a:lnTo>
                  <a:lnTo>
                    <a:pt x="207" y="101"/>
                  </a:lnTo>
                  <a:lnTo>
                    <a:pt x="204" y="101"/>
                  </a:lnTo>
                  <a:lnTo>
                    <a:pt x="204" y="101"/>
                  </a:lnTo>
                  <a:lnTo>
                    <a:pt x="199" y="101"/>
                  </a:lnTo>
                  <a:lnTo>
                    <a:pt x="194" y="101"/>
                  </a:lnTo>
                  <a:lnTo>
                    <a:pt x="191" y="101"/>
                  </a:lnTo>
                  <a:lnTo>
                    <a:pt x="189" y="103"/>
                  </a:lnTo>
                  <a:lnTo>
                    <a:pt x="186" y="103"/>
                  </a:lnTo>
                  <a:lnTo>
                    <a:pt x="184" y="103"/>
                  </a:lnTo>
                  <a:lnTo>
                    <a:pt x="181" y="106"/>
                  </a:lnTo>
                  <a:lnTo>
                    <a:pt x="181" y="106"/>
                  </a:lnTo>
                  <a:lnTo>
                    <a:pt x="178" y="106"/>
                  </a:lnTo>
                  <a:lnTo>
                    <a:pt x="176" y="106"/>
                  </a:lnTo>
                  <a:lnTo>
                    <a:pt x="176" y="106"/>
                  </a:lnTo>
                  <a:lnTo>
                    <a:pt x="173" y="103"/>
                  </a:lnTo>
                  <a:lnTo>
                    <a:pt x="173" y="101"/>
                  </a:lnTo>
                  <a:lnTo>
                    <a:pt x="176" y="101"/>
                  </a:lnTo>
                  <a:lnTo>
                    <a:pt x="178" y="101"/>
                  </a:lnTo>
                  <a:lnTo>
                    <a:pt x="181" y="101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6" y="98"/>
                  </a:lnTo>
                  <a:lnTo>
                    <a:pt x="189" y="96"/>
                  </a:lnTo>
                  <a:lnTo>
                    <a:pt x="191" y="96"/>
                  </a:lnTo>
                  <a:lnTo>
                    <a:pt x="191" y="93"/>
                  </a:lnTo>
                  <a:lnTo>
                    <a:pt x="191" y="93"/>
                  </a:lnTo>
                  <a:lnTo>
                    <a:pt x="191" y="90"/>
                  </a:lnTo>
                  <a:lnTo>
                    <a:pt x="194" y="90"/>
                  </a:lnTo>
                  <a:lnTo>
                    <a:pt x="194" y="9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85"/>
                  </a:lnTo>
                  <a:lnTo>
                    <a:pt x="194" y="85"/>
                  </a:lnTo>
                  <a:lnTo>
                    <a:pt x="194" y="83"/>
                  </a:lnTo>
                  <a:lnTo>
                    <a:pt x="194" y="80"/>
                  </a:lnTo>
                  <a:lnTo>
                    <a:pt x="194" y="77"/>
                  </a:lnTo>
                  <a:lnTo>
                    <a:pt x="197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0"/>
                  </a:lnTo>
                  <a:lnTo>
                    <a:pt x="197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7" y="70"/>
                  </a:lnTo>
                  <a:lnTo>
                    <a:pt x="197" y="70"/>
                  </a:lnTo>
                  <a:lnTo>
                    <a:pt x="197" y="70"/>
                  </a:lnTo>
                  <a:lnTo>
                    <a:pt x="197" y="67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1" y="70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89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4" y="70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1" y="77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3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8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5" y="93"/>
                  </a:lnTo>
                  <a:lnTo>
                    <a:pt x="165" y="93"/>
                  </a:lnTo>
                  <a:lnTo>
                    <a:pt x="165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3" y="90"/>
                  </a:lnTo>
                  <a:lnTo>
                    <a:pt x="165" y="88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3" y="83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6" y="77"/>
                  </a:lnTo>
                  <a:lnTo>
                    <a:pt x="176" y="77"/>
                  </a:lnTo>
                  <a:lnTo>
                    <a:pt x="178" y="77"/>
                  </a:lnTo>
                  <a:lnTo>
                    <a:pt x="181" y="75"/>
                  </a:lnTo>
                  <a:lnTo>
                    <a:pt x="181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0"/>
                  </a:lnTo>
                  <a:lnTo>
                    <a:pt x="184" y="67"/>
                  </a:lnTo>
                  <a:lnTo>
                    <a:pt x="186" y="64"/>
                  </a:lnTo>
                  <a:lnTo>
                    <a:pt x="186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91" y="62"/>
                  </a:lnTo>
                  <a:lnTo>
                    <a:pt x="191" y="62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1" y="64"/>
                  </a:lnTo>
                  <a:lnTo>
                    <a:pt x="194" y="64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1" y="62"/>
                  </a:lnTo>
                  <a:lnTo>
                    <a:pt x="191" y="59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4"/>
                  </a:lnTo>
                  <a:lnTo>
                    <a:pt x="189" y="51"/>
                  </a:lnTo>
                  <a:lnTo>
                    <a:pt x="189" y="51"/>
                  </a:lnTo>
                  <a:lnTo>
                    <a:pt x="189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6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1" y="46"/>
                  </a:lnTo>
                  <a:lnTo>
                    <a:pt x="181" y="46"/>
                  </a:lnTo>
                  <a:lnTo>
                    <a:pt x="181" y="46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81" y="49"/>
                  </a:lnTo>
                  <a:lnTo>
                    <a:pt x="178" y="51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4"/>
                  </a:lnTo>
                  <a:lnTo>
                    <a:pt x="176" y="51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1" y="49"/>
                  </a:lnTo>
                  <a:lnTo>
                    <a:pt x="171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8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0" y="44"/>
                  </a:lnTo>
                  <a:lnTo>
                    <a:pt x="158" y="41"/>
                  </a:lnTo>
                  <a:lnTo>
                    <a:pt x="155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0" y="41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5" y="38"/>
                  </a:lnTo>
                  <a:lnTo>
                    <a:pt x="145" y="36"/>
                  </a:lnTo>
                  <a:lnTo>
                    <a:pt x="147" y="33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2" y="33"/>
                  </a:lnTo>
                  <a:lnTo>
                    <a:pt x="140" y="36"/>
                  </a:lnTo>
                  <a:lnTo>
                    <a:pt x="140" y="38"/>
                  </a:lnTo>
                  <a:lnTo>
                    <a:pt x="137" y="38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2" y="44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7" y="46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7" y="41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4" y="44"/>
                  </a:lnTo>
                  <a:lnTo>
                    <a:pt x="114" y="41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06" y="41"/>
                  </a:lnTo>
                  <a:lnTo>
                    <a:pt x="106" y="38"/>
                  </a:lnTo>
                  <a:lnTo>
                    <a:pt x="109" y="36"/>
                  </a:lnTo>
                  <a:lnTo>
                    <a:pt x="106" y="36"/>
                  </a:lnTo>
                  <a:lnTo>
                    <a:pt x="103" y="33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98" y="33"/>
                  </a:lnTo>
                  <a:lnTo>
                    <a:pt x="96" y="31"/>
                  </a:lnTo>
                  <a:lnTo>
                    <a:pt x="93" y="31"/>
                  </a:lnTo>
                  <a:lnTo>
                    <a:pt x="90" y="33"/>
                  </a:lnTo>
                  <a:lnTo>
                    <a:pt x="88" y="33"/>
                  </a:lnTo>
                  <a:lnTo>
                    <a:pt x="88" y="31"/>
                  </a:lnTo>
                  <a:lnTo>
                    <a:pt x="85" y="31"/>
                  </a:lnTo>
                  <a:lnTo>
                    <a:pt x="83" y="31"/>
                  </a:lnTo>
                  <a:lnTo>
                    <a:pt x="80" y="28"/>
                  </a:lnTo>
                  <a:lnTo>
                    <a:pt x="77" y="28"/>
                  </a:lnTo>
                  <a:lnTo>
                    <a:pt x="75" y="28"/>
                  </a:lnTo>
                  <a:lnTo>
                    <a:pt x="72" y="26"/>
                  </a:lnTo>
                  <a:lnTo>
                    <a:pt x="70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2" y="26"/>
                  </a:lnTo>
                  <a:lnTo>
                    <a:pt x="59" y="26"/>
                  </a:lnTo>
                  <a:lnTo>
                    <a:pt x="57" y="26"/>
                  </a:lnTo>
                  <a:lnTo>
                    <a:pt x="54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4" y="26"/>
                  </a:lnTo>
                  <a:lnTo>
                    <a:pt x="41" y="26"/>
                  </a:lnTo>
                  <a:lnTo>
                    <a:pt x="41" y="23"/>
                  </a:lnTo>
                  <a:lnTo>
                    <a:pt x="39" y="26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6" y="28"/>
                  </a:lnTo>
                  <a:lnTo>
                    <a:pt x="33" y="31"/>
                  </a:lnTo>
                  <a:lnTo>
                    <a:pt x="31" y="31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8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8" y="10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2" y="20"/>
                  </a:lnTo>
                  <a:lnTo>
                    <a:pt x="2" y="26"/>
                  </a:lnTo>
                  <a:lnTo>
                    <a:pt x="0" y="33"/>
                  </a:lnTo>
                  <a:lnTo>
                    <a:pt x="0" y="4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0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3" y="33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3" y="31"/>
                  </a:lnTo>
                  <a:lnTo>
                    <a:pt x="26" y="31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28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1" y="41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4"/>
                  </a:lnTo>
                  <a:lnTo>
                    <a:pt x="49" y="54"/>
                  </a:lnTo>
                  <a:lnTo>
                    <a:pt x="46" y="54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4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70" y="80"/>
                  </a:lnTo>
                  <a:lnTo>
                    <a:pt x="70" y="83"/>
                  </a:lnTo>
                  <a:lnTo>
                    <a:pt x="72" y="85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7" y="90"/>
                  </a:lnTo>
                  <a:lnTo>
                    <a:pt x="77" y="93"/>
                  </a:lnTo>
                  <a:lnTo>
                    <a:pt x="80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80" y="93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3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0" y="103"/>
                  </a:lnTo>
                  <a:lnTo>
                    <a:pt x="77" y="103"/>
                  </a:lnTo>
                  <a:lnTo>
                    <a:pt x="77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11"/>
                  </a:lnTo>
                  <a:lnTo>
                    <a:pt x="70" y="111"/>
                  </a:lnTo>
                  <a:lnTo>
                    <a:pt x="67" y="114"/>
                  </a:lnTo>
                  <a:lnTo>
                    <a:pt x="65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2" y="114"/>
                  </a:lnTo>
                  <a:lnTo>
                    <a:pt x="46" y="114"/>
                  </a:lnTo>
                  <a:lnTo>
                    <a:pt x="44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1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21"/>
                  </a:lnTo>
                  <a:lnTo>
                    <a:pt x="39" y="121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6" y="121"/>
                  </a:lnTo>
                  <a:lnTo>
                    <a:pt x="44" y="121"/>
                  </a:lnTo>
                  <a:lnTo>
                    <a:pt x="44" y="121"/>
                  </a:lnTo>
                  <a:lnTo>
                    <a:pt x="44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6" y="121"/>
                  </a:lnTo>
                  <a:lnTo>
                    <a:pt x="44" y="121"/>
                  </a:lnTo>
                  <a:lnTo>
                    <a:pt x="44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7"/>
                  </a:lnTo>
                  <a:lnTo>
                    <a:pt x="36" y="127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34"/>
                  </a:lnTo>
                  <a:lnTo>
                    <a:pt x="39" y="134"/>
                  </a:lnTo>
                  <a:lnTo>
                    <a:pt x="41" y="137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6" y="140"/>
                  </a:lnTo>
                  <a:lnTo>
                    <a:pt x="46" y="140"/>
                  </a:lnTo>
                  <a:lnTo>
                    <a:pt x="46" y="137"/>
                  </a:lnTo>
                  <a:lnTo>
                    <a:pt x="46" y="137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52" y="134"/>
                  </a:lnTo>
                  <a:lnTo>
                    <a:pt x="52" y="132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7" y="137"/>
                  </a:lnTo>
                  <a:lnTo>
                    <a:pt x="57" y="134"/>
                  </a:lnTo>
                  <a:lnTo>
                    <a:pt x="59" y="134"/>
                  </a:lnTo>
                  <a:lnTo>
                    <a:pt x="59" y="134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7"/>
                  </a:lnTo>
                  <a:lnTo>
                    <a:pt x="65" y="137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4"/>
                  </a:lnTo>
                  <a:lnTo>
                    <a:pt x="70" y="132"/>
                  </a:lnTo>
                  <a:lnTo>
                    <a:pt x="72" y="129"/>
                  </a:lnTo>
                  <a:lnTo>
                    <a:pt x="75" y="129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5" y="132"/>
                  </a:lnTo>
                  <a:lnTo>
                    <a:pt x="75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0" y="137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0" y="137"/>
                  </a:lnTo>
                  <a:lnTo>
                    <a:pt x="70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9" y="155"/>
                  </a:lnTo>
                  <a:lnTo>
                    <a:pt x="59" y="155"/>
                  </a:lnTo>
                  <a:lnTo>
                    <a:pt x="59" y="158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3"/>
                  </a:lnTo>
                  <a:lnTo>
                    <a:pt x="65" y="163"/>
                  </a:lnTo>
                  <a:lnTo>
                    <a:pt x="65" y="163"/>
                  </a:lnTo>
                  <a:lnTo>
                    <a:pt x="67" y="163"/>
                  </a:lnTo>
                  <a:lnTo>
                    <a:pt x="67" y="160"/>
                  </a:lnTo>
                  <a:lnTo>
                    <a:pt x="70" y="160"/>
                  </a:lnTo>
                  <a:lnTo>
                    <a:pt x="72" y="160"/>
                  </a:lnTo>
                  <a:lnTo>
                    <a:pt x="72" y="163"/>
                  </a:lnTo>
                  <a:lnTo>
                    <a:pt x="72" y="166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71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7" y="173"/>
                  </a:lnTo>
                  <a:lnTo>
                    <a:pt x="77" y="173"/>
                  </a:lnTo>
                  <a:lnTo>
                    <a:pt x="77" y="176"/>
                  </a:lnTo>
                  <a:lnTo>
                    <a:pt x="77" y="178"/>
                  </a:lnTo>
                  <a:lnTo>
                    <a:pt x="75" y="178"/>
                  </a:lnTo>
                  <a:lnTo>
                    <a:pt x="75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5" y="176"/>
                  </a:lnTo>
                  <a:lnTo>
                    <a:pt x="65" y="176"/>
                  </a:lnTo>
                  <a:lnTo>
                    <a:pt x="62" y="178"/>
                  </a:lnTo>
                  <a:lnTo>
                    <a:pt x="62" y="178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5" y="181"/>
                  </a:lnTo>
                  <a:lnTo>
                    <a:pt x="65" y="184"/>
                  </a:lnTo>
                  <a:lnTo>
                    <a:pt x="65" y="184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9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0" y="197"/>
                  </a:lnTo>
                  <a:lnTo>
                    <a:pt x="72" y="197"/>
                  </a:lnTo>
                  <a:lnTo>
                    <a:pt x="72" y="197"/>
                  </a:lnTo>
                  <a:lnTo>
                    <a:pt x="70" y="197"/>
                  </a:lnTo>
                  <a:lnTo>
                    <a:pt x="70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5" y="202"/>
                  </a:lnTo>
                  <a:lnTo>
                    <a:pt x="77" y="202"/>
                  </a:lnTo>
                  <a:lnTo>
                    <a:pt x="77" y="204"/>
                  </a:lnTo>
                  <a:lnTo>
                    <a:pt x="80" y="204"/>
                  </a:lnTo>
                  <a:lnTo>
                    <a:pt x="80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5" y="202"/>
                  </a:lnTo>
                  <a:lnTo>
                    <a:pt x="88" y="204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96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103" y="204"/>
                  </a:lnTo>
                  <a:lnTo>
                    <a:pt x="106" y="204"/>
                  </a:lnTo>
                  <a:lnTo>
                    <a:pt x="109" y="207"/>
                  </a:lnTo>
                  <a:lnTo>
                    <a:pt x="111" y="207"/>
                  </a:lnTo>
                  <a:lnTo>
                    <a:pt x="114" y="210"/>
                  </a:lnTo>
                  <a:lnTo>
                    <a:pt x="116" y="210"/>
                  </a:lnTo>
                  <a:lnTo>
                    <a:pt x="119" y="212"/>
                  </a:lnTo>
                  <a:lnTo>
                    <a:pt x="119" y="212"/>
                  </a:lnTo>
                  <a:lnTo>
                    <a:pt x="121" y="215"/>
                  </a:lnTo>
                  <a:lnTo>
                    <a:pt x="124" y="215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9" y="225"/>
                  </a:lnTo>
                  <a:lnTo>
                    <a:pt x="129" y="228"/>
                  </a:lnTo>
                  <a:lnTo>
                    <a:pt x="129" y="228"/>
                  </a:lnTo>
                  <a:lnTo>
                    <a:pt x="129" y="230"/>
                  </a:lnTo>
                  <a:lnTo>
                    <a:pt x="129" y="230"/>
                  </a:lnTo>
                  <a:lnTo>
                    <a:pt x="132" y="233"/>
                  </a:lnTo>
                  <a:lnTo>
                    <a:pt x="132" y="233"/>
                  </a:lnTo>
                  <a:lnTo>
                    <a:pt x="134" y="233"/>
                  </a:lnTo>
                  <a:lnTo>
                    <a:pt x="134" y="233"/>
                  </a:lnTo>
                  <a:lnTo>
                    <a:pt x="137" y="233"/>
                  </a:lnTo>
                  <a:lnTo>
                    <a:pt x="137" y="236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42" y="243"/>
                  </a:lnTo>
                  <a:lnTo>
                    <a:pt x="142" y="246"/>
                  </a:lnTo>
                  <a:lnTo>
                    <a:pt x="142" y="249"/>
                  </a:lnTo>
                  <a:lnTo>
                    <a:pt x="145" y="249"/>
                  </a:lnTo>
                  <a:lnTo>
                    <a:pt x="145" y="249"/>
                  </a:lnTo>
                  <a:lnTo>
                    <a:pt x="145" y="249"/>
                  </a:lnTo>
                  <a:lnTo>
                    <a:pt x="142" y="249"/>
                  </a:lnTo>
                  <a:lnTo>
                    <a:pt x="142" y="246"/>
                  </a:lnTo>
                  <a:lnTo>
                    <a:pt x="142" y="243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42" y="249"/>
                  </a:lnTo>
                  <a:lnTo>
                    <a:pt x="142" y="251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0" y="256"/>
                  </a:lnTo>
                  <a:lnTo>
                    <a:pt x="153" y="259"/>
                  </a:lnTo>
                  <a:lnTo>
                    <a:pt x="158" y="261"/>
                  </a:lnTo>
                  <a:lnTo>
                    <a:pt x="158" y="261"/>
                  </a:lnTo>
                  <a:lnTo>
                    <a:pt x="160" y="261"/>
                  </a:lnTo>
                  <a:lnTo>
                    <a:pt x="163" y="261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9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3" y="254"/>
                  </a:lnTo>
                  <a:lnTo>
                    <a:pt x="165" y="254"/>
                  </a:lnTo>
                  <a:lnTo>
                    <a:pt x="165" y="254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5" y="249"/>
                  </a:lnTo>
                  <a:lnTo>
                    <a:pt x="165" y="251"/>
                  </a:lnTo>
                  <a:lnTo>
                    <a:pt x="165" y="251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71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71" y="256"/>
                  </a:lnTo>
                  <a:lnTo>
                    <a:pt x="171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6" y="256"/>
                  </a:lnTo>
                  <a:lnTo>
                    <a:pt x="176" y="254"/>
                  </a:lnTo>
                  <a:lnTo>
                    <a:pt x="178" y="251"/>
                  </a:lnTo>
                  <a:lnTo>
                    <a:pt x="178" y="251"/>
                  </a:lnTo>
                  <a:lnTo>
                    <a:pt x="178" y="251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1" y="246"/>
                  </a:lnTo>
                  <a:lnTo>
                    <a:pt x="181" y="246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91" y="246"/>
                  </a:lnTo>
                  <a:lnTo>
                    <a:pt x="191" y="246"/>
                  </a:lnTo>
                  <a:lnTo>
                    <a:pt x="191" y="243"/>
                  </a:lnTo>
                  <a:lnTo>
                    <a:pt x="191" y="241"/>
                  </a:lnTo>
                  <a:lnTo>
                    <a:pt x="191" y="241"/>
                  </a:lnTo>
                  <a:lnTo>
                    <a:pt x="194" y="241"/>
                  </a:lnTo>
                  <a:lnTo>
                    <a:pt x="197" y="241"/>
                  </a:lnTo>
                  <a:lnTo>
                    <a:pt x="197" y="241"/>
                  </a:lnTo>
                  <a:lnTo>
                    <a:pt x="199" y="241"/>
                  </a:lnTo>
                  <a:lnTo>
                    <a:pt x="199" y="241"/>
                  </a:lnTo>
                  <a:lnTo>
                    <a:pt x="199" y="241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8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199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07" y="236"/>
                  </a:lnTo>
                  <a:lnTo>
                    <a:pt x="207" y="233"/>
                  </a:lnTo>
                  <a:lnTo>
                    <a:pt x="207" y="233"/>
                  </a:lnTo>
                  <a:lnTo>
                    <a:pt x="209" y="233"/>
                  </a:lnTo>
                  <a:lnTo>
                    <a:pt x="209" y="230"/>
                  </a:lnTo>
                  <a:lnTo>
                    <a:pt x="209" y="230"/>
                  </a:lnTo>
                  <a:lnTo>
                    <a:pt x="212" y="230"/>
                  </a:lnTo>
                  <a:lnTo>
                    <a:pt x="212" y="230"/>
                  </a:lnTo>
                  <a:lnTo>
                    <a:pt x="212" y="233"/>
                  </a:lnTo>
                  <a:lnTo>
                    <a:pt x="212" y="233"/>
                  </a:lnTo>
                  <a:lnTo>
                    <a:pt x="212" y="233"/>
                  </a:lnTo>
                  <a:lnTo>
                    <a:pt x="212" y="236"/>
                  </a:lnTo>
                  <a:lnTo>
                    <a:pt x="212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9" y="238"/>
                  </a:lnTo>
                  <a:lnTo>
                    <a:pt x="209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9" y="243"/>
                  </a:lnTo>
                  <a:lnTo>
                    <a:pt x="209" y="243"/>
                  </a:lnTo>
                  <a:lnTo>
                    <a:pt x="209" y="243"/>
                  </a:lnTo>
                  <a:lnTo>
                    <a:pt x="212" y="246"/>
                  </a:lnTo>
                  <a:lnTo>
                    <a:pt x="212" y="246"/>
                  </a:lnTo>
                  <a:lnTo>
                    <a:pt x="215" y="246"/>
                  </a:lnTo>
                  <a:lnTo>
                    <a:pt x="215" y="249"/>
                  </a:lnTo>
                  <a:lnTo>
                    <a:pt x="212" y="249"/>
                  </a:lnTo>
                  <a:lnTo>
                    <a:pt x="215" y="249"/>
                  </a:lnTo>
                  <a:lnTo>
                    <a:pt x="215" y="249"/>
                  </a:lnTo>
                  <a:lnTo>
                    <a:pt x="217" y="249"/>
                  </a:lnTo>
                  <a:lnTo>
                    <a:pt x="217" y="249"/>
                  </a:lnTo>
                  <a:lnTo>
                    <a:pt x="215" y="249"/>
                  </a:lnTo>
                  <a:lnTo>
                    <a:pt x="215" y="251"/>
                  </a:lnTo>
                  <a:lnTo>
                    <a:pt x="215" y="251"/>
                  </a:lnTo>
                  <a:lnTo>
                    <a:pt x="215" y="251"/>
                  </a:lnTo>
                  <a:lnTo>
                    <a:pt x="212" y="251"/>
                  </a:lnTo>
                  <a:lnTo>
                    <a:pt x="215" y="254"/>
                  </a:lnTo>
                  <a:lnTo>
                    <a:pt x="212" y="256"/>
                  </a:lnTo>
                  <a:lnTo>
                    <a:pt x="212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5" y="259"/>
                  </a:lnTo>
                  <a:lnTo>
                    <a:pt x="215" y="259"/>
                  </a:lnTo>
                  <a:lnTo>
                    <a:pt x="212" y="256"/>
                  </a:lnTo>
                  <a:lnTo>
                    <a:pt x="212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4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9"/>
                  </a:lnTo>
                  <a:lnTo>
                    <a:pt x="212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7" y="272"/>
                  </a:lnTo>
                  <a:lnTo>
                    <a:pt x="217" y="272"/>
                  </a:lnTo>
                  <a:lnTo>
                    <a:pt x="217" y="272"/>
                  </a:lnTo>
                  <a:lnTo>
                    <a:pt x="217" y="274"/>
                  </a:lnTo>
                  <a:lnTo>
                    <a:pt x="217" y="274"/>
                  </a:lnTo>
                  <a:lnTo>
                    <a:pt x="217" y="274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2" y="277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5" y="280"/>
                  </a:lnTo>
                  <a:lnTo>
                    <a:pt x="225" y="280"/>
                  </a:lnTo>
                  <a:lnTo>
                    <a:pt x="225" y="280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5" y="282"/>
                  </a:lnTo>
                  <a:lnTo>
                    <a:pt x="228" y="282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28" y="280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2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3" y="285"/>
                  </a:lnTo>
                  <a:lnTo>
                    <a:pt x="235" y="287"/>
                  </a:lnTo>
                  <a:lnTo>
                    <a:pt x="238" y="290"/>
                  </a:lnTo>
                  <a:lnTo>
                    <a:pt x="241" y="290"/>
                  </a:lnTo>
                  <a:lnTo>
                    <a:pt x="246" y="293"/>
                  </a:lnTo>
                  <a:lnTo>
                    <a:pt x="248" y="295"/>
                  </a:lnTo>
                  <a:lnTo>
                    <a:pt x="248" y="295"/>
                  </a:lnTo>
                  <a:lnTo>
                    <a:pt x="251" y="295"/>
                  </a:lnTo>
                  <a:lnTo>
                    <a:pt x="251" y="295"/>
                  </a:lnTo>
                  <a:lnTo>
                    <a:pt x="253" y="295"/>
                  </a:lnTo>
                  <a:lnTo>
                    <a:pt x="253" y="295"/>
                  </a:lnTo>
                  <a:lnTo>
                    <a:pt x="256" y="295"/>
                  </a:lnTo>
                  <a:lnTo>
                    <a:pt x="256" y="295"/>
                  </a:lnTo>
                  <a:lnTo>
                    <a:pt x="259" y="295"/>
                  </a:lnTo>
                  <a:lnTo>
                    <a:pt x="261" y="293"/>
                  </a:lnTo>
                  <a:lnTo>
                    <a:pt x="261" y="290"/>
                  </a:lnTo>
                  <a:lnTo>
                    <a:pt x="261" y="287"/>
                  </a:lnTo>
                  <a:lnTo>
                    <a:pt x="261" y="285"/>
                  </a:lnTo>
                  <a:lnTo>
                    <a:pt x="261" y="282"/>
                  </a:lnTo>
                  <a:lnTo>
                    <a:pt x="261" y="280"/>
                  </a:lnTo>
                  <a:lnTo>
                    <a:pt x="264" y="280"/>
                  </a:lnTo>
                  <a:lnTo>
                    <a:pt x="264" y="280"/>
                  </a:lnTo>
                  <a:lnTo>
                    <a:pt x="266" y="280"/>
                  </a:lnTo>
                  <a:lnTo>
                    <a:pt x="269" y="280"/>
                  </a:lnTo>
                  <a:lnTo>
                    <a:pt x="269" y="280"/>
                  </a:lnTo>
                  <a:lnTo>
                    <a:pt x="269" y="280"/>
                  </a:lnTo>
                  <a:lnTo>
                    <a:pt x="269" y="277"/>
                  </a:lnTo>
                  <a:lnTo>
                    <a:pt x="269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77" y="274"/>
                  </a:lnTo>
                  <a:lnTo>
                    <a:pt x="277" y="274"/>
                  </a:lnTo>
                  <a:lnTo>
                    <a:pt x="277" y="274"/>
                  </a:lnTo>
                  <a:lnTo>
                    <a:pt x="279" y="272"/>
                  </a:lnTo>
                  <a:lnTo>
                    <a:pt x="282" y="269"/>
                  </a:lnTo>
                  <a:lnTo>
                    <a:pt x="282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2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2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4"/>
                  </a:lnTo>
                  <a:lnTo>
                    <a:pt x="285" y="264"/>
                  </a:lnTo>
                  <a:lnTo>
                    <a:pt x="285" y="261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5" y="259"/>
                  </a:lnTo>
                  <a:lnTo>
                    <a:pt x="287" y="261"/>
                  </a:lnTo>
                  <a:lnTo>
                    <a:pt x="287" y="261"/>
                  </a:lnTo>
                  <a:lnTo>
                    <a:pt x="290" y="261"/>
                  </a:lnTo>
                  <a:lnTo>
                    <a:pt x="290" y="261"/>
                  </a:lnTo>
                  <a:lnTo>
                    <a:pt x="292" y="261"/>
                  </a:lnTo>
                  <a:lnTo>
                    <a:pt x="292" y="261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6"/>
                  </a:lnTo>
                  <a:lnTo>
                    <a:pt x="295" y="256"/>
                  </a:lnTo>
                  <a:lnTo>
                    <a:pt x="295" y="256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49"/>
                  </a:lnTo>
                  <a:lnTo>
                    <a:pt x="295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6"/>
                  </a:lnTo>
                  <a:lnTo>
                    <a:pt x="297" y="243"/>
                  </a:lnTo>
                  <a:lnTo>
                    <a:pt x="297" y="243"/>
                  </a:lnTo>
                  <a:lnTo>
                    <a:pt x="297" y="241"/>
                  </a:lnTo>
                  <a:lnTo>
                    <a:pt x="297" y="241"/>
                  </a:lnTo>
                  <a:lnTo>
                    <a:pt x="295" y="241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lnTo>
                    <a:pt x="292" y="238"/>
                  </a:lnTo>
                  <a:lnTo>
                    <a:pt x="290" y="236"/>
                  </a:lnTo>
                  <a:lnTo>
                    <a:pt x="287" y="238"/>
                  </a:lnTo>
                  <a:lnTo>
                    <a:pt x="287" y="238"/>
                  </a:lnTo>
                  <a:lnTo>
                    <a:pt x="287" y="238"/>
                  </a:lnTo>
                  <a:lnTo>
                    <a:pt x="287" y="236"/>
                  </a:lnTo>
                  <a:lnTo>
                    <a:pt x="287" y="236"/>
                  </a:lnTo>
                  <a:lnTo>
                    <a:pt x="285" y="236"/>
                  </a:lnTo>
                  <a:lnTo>
                    <a:pt x="285" y="236"/>
                  </a:lnTo>
                  <a:lnTo>
                    <a:pt x="282" y="233"/>
                  </a:lnTo>
                  <a:lnTo>
                    <a:pt x="282" y="233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79" y="230"/>
                  </a:lnTo>
                  <a:lnTo>
                    <a:pt x="277" y="230"/>
                  </a:lnTo>
                  <a:lnTo>
                    <a:pt x="277" y="230"/>
                  </a:lnTo>
                  <a:lnTo>
                    <a:pt x="277" y="228"/>
                  </a:lnTo>
                  <a:lnTo>
                    <a:pt x="277" y="225"/>
                  </a:lnTo>
                  <a:lnTo>
                    <a:pt x="277" y="225"/>
                  </a:lnTo>
                  <a:lnTo>
                    <a:pt x="277" y="223"/>
                  </a:lnTo>
                  <a:lnTo>
                    <a:pt x="277" y="220"/>
                  </a:lnTo>
                  <a:lnTo>
                    <a:pt x="277" y="217"/>
                  </a:lnTo>
                  <a:lnTo>
                    <a:pt x="277" y="215"/>
                  </a:lnTo>
                  <a:lnTo>
                    <a:pt x="277" y="212"/>
                  </a:lnTo>
                  <a:lnTo>
                    <a:pt x="274" y="212"/>
                  </a:lnTo>
                  <a:lnTo>
                    <a:pt x="274" y="212"/>
                  </a:lnTo>
                  <a:lnTo>
                    <a:pt x="277" y="210"/>
                  </a:lnTo>
                  <a:lnTo>
                    <a:pt x="277" y="210"/>
                  </a:lnTo>
                  <a:lnTo>
                    <a:pt x="277" y="207"/>
                  </a:lnTo>
                  <a:lnTo>
                    <a:pt x="277" y="207"/>
                  </a:lnTo>
                  <a:lnTo>
                    <a:pt x="279" y="207"/>
                  </a:lnTo>
                  <a:lnTo>
                    <a:pt x="282" y="207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82" y="204"/>
                  </a:lnTo>
                  <a:lnTo>
                    <a:pt x="279" y="204"/>
                  </a:lnTo>
                  <a:lnTo>
                    <a:pt x="279" y="204"/>
                  </a:lnTo>
                  <a:lnTo>
                    <a:pt x="277" y="204"/>
                  </a:lnTo>
                  <a:lnTo>
                    <a:pt x="277" y="202"/>
                  </a:lnTo>
                  <a:lnTo>
                    <a:pt x="279" y="204"/>
                  </a:lnTo>
                  <a:lnTo>
                    <a:pt x="279" y="204"/>
                  </a:lnTo>
                  <a:lnTo>
                    <a:pt x="282" y="202"/>
                  </a:lnTo>
                  <a:lnTo>
                    <a:pt x="287" y="202"/>
                  </a:lnTo>
                  <a:lnTo>
                    <a:pt x="290" y="199"/>
                  </a:lnTo>
                  <a:lnTo>
                    <a:pt x="287" y="199"/>
                  </a:lnTo>
                  <a:lnTo>
                    <a:pt x="287" y="197"/>
                  </a:lnTo>
                  <a:lnTo>
                    <a:pt x="287" y="194"/>
                  </a:lnTo>
                  <a:lnTo>
                    <a:pt x="287" y="194"/>
                  </a:lnTo>
                  <a:lnTo>
                    <a:pt x="287" y="191"/>
                  </a:lnTo>
                  <a:lnTo>
                    <a:pt x="287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290" y="186"/>
                  </a:lnTo>
                  <a:lnTo>
                    <a:pt x="290" y="186"/>
                  </a:lnTo>
                  <a:lnTo>
                    <a:pt x="285" y="186"/>
                  </a:lnTo>
                  <a:lnTo>
                    <a:pt x="285" y="186"/>
                  </a:lnTo>
                  <a:lnTo>
                    <a:pt x="285" y="186"/>
                  </a:lnTo>
                  <a:lnTo>
                    <a:pt x="282" y="186"/>
                  </a:lnTo>
                  <a:lnTo>
                    <a:pt x="279" y="184"/>
                  </a:lnTo>
                  <a:lnTo>
                    <a:pt x="277" y="181"/>
                  </a:lnTo>
                  <a:lnTo>
                    <a:pt x="277" y="178"/>
                  </a:lnTo>
                  <a:lnTo>
                    <a:pt x="274" y="176"/>
                  </a:lnTo>
                  <a:lnTo>
                    <a:pt x="277" y="176"/>
                  </a:lnTo>
                  <a:lnTo>
                    <a:pt x="277" y="173"/>
                  </a:lnTo>
                  <a:lnTo>
                    <a:pt x="279" y="173"/>
                  </a:lnTo>
                  <a:lnTo>
                    <a:pt x="279" y="171"/>
                  </a:lnTo>
                  <a:lnTo>
                    <a:pt x="279" y="171"/>
                  </a:lnTo>
                  <a:lnTo>
                    <a:pt x="282" y="171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66"/>
                  </a:lnTo>
                  <a:lnTo>
                    <a:pt x="282" y="166"/>
                  </a:lnTo>
                  <a:lnTo>
                    <a:pt x="282" y="168"/>
                  </a:lnTo>
                  <a:lnTo>
                    <a:pt x="285" y="168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90" y="168"/>
                  </a:lnTo>
                  <a:lnTo>
                    <a:pt x="290" y="168"/>
                  </a:lnTo>
                  <a:lnTo>
                    <a:pt x="292" y="168"/>
                  </a:lnTo>
                  <a:lnTo>
                    <a:pt x="295" y="163"/>
                  </a:lnTo>
                  <a:lnTo>
                    <a:pt x="297" y="160"/>
                  </a:lnTo>
                  <a:lnTo>
                    <a:pt x="300" y="158"/>
                  </a:lnTo>
                  <a:lnTo>
                    <a:pt x="305" y="155"/>
                  </a:lnTo>
                  <a:lnTo>
                    <a:pt x="305" y="155"/>
                  </a:lnTo>
                  <a:lnTo>
                    <a:pt x="308" y="155"/>
                  </a:lnTo>
                  <a:lnTo>
                    <a:pt x="308" y="153"/>
                  </a:lnTo>
                  <a:lnTo>
                    <a:pt x="310" y="153"/>
                  </a:lnTo>
                  <a:lnTo>
                    <a:pt x="313" y="150"/>
                  </a:lnTo>
                  <a:lnTo>
                    <a:pt x="313" y="150"/>
                  </a:lnTo>
                  <a:lnTo>
                    <a:pt x="313" y="150"/>
                  </a:lnTo>
                  <a:lnTo>
                    <a:pt x="313" y="147"/>
                  </a:lnTo>
                  <a:lnTo>
                    <a:pt x="313" y="145"/>
                  </a:lnTo>
                  <a:lnTo>
                    <a:pt x="313" y="142"/>
                  </a:lnTo>
                  <a:lnTo>
                    <a:pt x="313" y="140"/>
                  </a:lnTo>
                  <a:lnTo>
                    <a:pt x="313" y="137"/>
                  </a:lnTo>
                  <a:lnTo>
                    <a:pt x="313" y="134"/>
                  </a:lnTo>
                  <a:lnTo>
                    <a:pt x="313" y="132"/>
                  </a:lnTo>
                  <a:lnTo>
                    <a:pt x="310" y="129"/>
                  </a:lnTo>
                  <a:lnTo>
                    <a:pt x="310" y="127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1"/>
                  </a:lnTo>
                  <a:lnTo>
                    <a:pt x="310" y="121"/>
                  </a:lnTo>
                  <a:lnTo>
                    <a:pt x="313" y="121"/>
                  </a:lnTo>
                  <a:lnTo>
                    <a:pt x="313" y="121"/>
                  </a:lnTo>
                  <a:lnTo>
                    <a:pt x="313" y="124"/>
                  </a:lnTo>
                  <a:lnTo>
                    <a:pt x="313" y="124"/>
                  </a:lnTo>
                  <a:lnTo>
                    <a:pt x="313" y="121"/>
                  </a:lnTo>
                  <a:lnTo>
                    <a:pt x="316" y="119"/>
                  </a:lnTo>
                  <a:lnTo>
                    <a:pt x="318" y="119"/>
                  </a:lnTo>
                  <a:lnTo>
                    <a:pt x="318" y="119"/>
                  </a:lnTo>
                  <a:lnTo>
                    <a:pt x="318" y="116"/>
                  </a:lnTo>
                  <a:lnTo>
                    <a:pt x="316" y="116"/>
                  </a:lnTo>
                  <a:lnTo>
                    <a:pt x="316" y="11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6" name="Freeform 76"/>
            <p:cNvSpPr>
              <a:spLocks/>
            </p:cNvSpPr>
            <p:nvPr/>
          </p:nvSpPr>
          <p:spPr bwMode="auto">
            <a:xfrm>
              <a:off x="1194" y="242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7" name="Freeform 77"/>
            <p:cNvSpPr>
              <a:spLocks/>
            </p:cNvSpPr>
            <p:nvPr/>
          </p:nvSpPr>
          <p:spPr bwMode="auto">
            <a:xfrm>
              <a:off x="1217" y="240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8" name="Freeform 78"/>
            <p:cNvSpPr>
              <a:spLocks/>
            </p:cNvSpPr>
            <p:nvPr/>
          </p:nvSpPr>
          <p:spPr bwMode="auto">
            <a:xfrm>
              <a:off x="1069" y="2442"/>
              <a:ext cx="6" cy="2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2 h 2"/>
                <a:gd name="T4" fmla="*/ 3 w 6"/>
                <a:gd name="T5" fmla="*/ 2 h 2"/>
                <a:gd name="T6" fmla="*/ 6 w 6"/>
                <a:gd name="T7" fmla="*/ 2 h 2"/>
                <a:gd name="T8" fmla="*/ 6 w 6"/>
                <a:gd name="T9" fmla="*/ 2 h 2"/>
                <a:gd name="T10" fmla="*/ 6 w 6"/>
                <a:gd name="T11" fmla="*/ 2 h 2"/>
                <a:gd name="T12" fmla="*/ 3 w 6"/>
                <a:gd name="T13" fmla="*/ 2 h 2"/>
                <a:gd name="T14" fmla="*/ 3 w 6"/>
                <a:gd name="T15" fmla="*/ 2 h 2"/>
                <a:gd name="T16" fmla="*/ 0 w 6"/>
                <a:gd name="T17" fmla="*/ 0 h 2"/>
                <a:gd name="T18" fmla="*/ 0 w 6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39" name="Freeform 79"/>
            <p:cNvSpPr>
              <a:spLocks/>
            </p:cNvSpPr>
            <p:nvPr/>
          </p:nvSpPr>
          <p:spPr bwMode="auto">
            <a:xfrm>
              <a:off x="1067" y="2405"/>
              <a:ext cx="5" cy="3"/>
            </a:xfrm>
            <a:custGeom>
              <a:avLst/>
              <a:gdLst>
                <a:gd name="T0" fmla="*/ 0 w 5"/>
                <a:gd name="T1" fmla="*/ 3 h 3"/>
                <a:gd name="T2" fmla="*/ 2 w 5"/>
                <a:gd name="T3" fmla="*/ 3 h 3"/>
                <a:gd name="T4" fmla="*/ 2 w 5"/>
                <a:gd name="T5" fmla="*/ 3 h 3"/>
                <a:gd name="T6" fmla="*/ 5 w 5"/>
                <a:gd name="T7" fmla="*/ 3 h 3"/>
                <a:gd name="T8" fmla="*/ 5 w 5"/>
                <a:gd name="T9" fmla="*/ 0 h 3"/>
                <a:gd name="T10" fmla="*/ 5 w 5"/>
                <a:gd name="T11" fmla="*/ 0 h 3"/>
                <a:gd name="T12" fmla="*/ 2 w 5"/>
                <a:gd name="T13" fmla="*/ 0 h 3"/>
                <a:gd name="T14" fmla="*/ 2 w 5"/>
                <a:gd name="T15" fmla="*/ 3 h 3"/>
                <a:gd name="T16" fmla="*/ 0 w 5"/>
                <a:gd name="T17" fmla="*/ 3 h 3"/>
                <a:gd name="T18" fmla="*/ 0 w 5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0" name="Freeform 80"/>
            <p:cNvSpPr>
              <a:spLocks/>
            </p:cNvSpPr>
            <p:nvPr/>
          </p:nvSpPr>
          <p:spPr bwMode="auto">
            <a:xfrm>
              <a:off x="1186" y="2571"/>
              <a:ext cx="65" cy="60"/>
            </a:xfrm>
            <a:custGeom>
              <a:avLst/>
              <a:gdLst>
                <a:gd name="T0" fmla="*/ 0 w 65"/>
                <a:gd name="T1" fmla="*/ 29 h 60"/>
                <a:gd name="T2" fmla="*/ 0 w 65"/>
                <a:gd name="T3" fmla="*/ 26 h 60"/>
                <a:gd name="T4" fmla="*/ 2 w 65"/>
                <a:gd name="T5" fmla="*/ 24 h 60"/>
                <a:gd name="T6" fmla="*/ 2 w 65"/>
                <a:gd name="T7" fmla="*/ 19 h 60"/>
                <a:gd name="T8" fmla="*/ 8 w 65"/>
                <a:gd name="T9" fmla="*/ 24 h 60"/>
                <a:gd name="T10" fmla="*/ 10 w 65"/>
                <a:gd name="T11" fmla="*/ 26 h 60"/>
                <a:gd name="T12" fmla="*/ 15 w 65"/>
                <a:gd name="T13" fmla="*/ 21 h 60"/>
                <a:gd name="T14" fmla="*/ 18 w 65"/>
                <a:gd name="T15" fmla="*/ 16 h 60"/>
                <a:gd name="T16" fmla="*/ 28 w 65"/>
                <a:gd name="T17" fmla="*/ 16 h 60"/>
                <a:gd name="T18" fmla="*/ 34 w 65"/>
                <a:gd name="T19" fmla="*/ 11 h 60"/>
                <a:gd name="T20" fmla="*/ 36 w 65"/>
                <a:gd name="T21" fmla="*/ 8 h 60"/>
                <a:gd name="T22" fmla="*/ 36 w 65"/>
                <a:gd name="T23" fmla="*/ 6 h 60"/>
                <a:gd name="T24" fmla="*/ 36 w 65"/>
                <a:gd name="T25" fmla="*/ 6 h 60"/>
                <a:gd name="T26" fmla="*/ 41 w 65"/>
                <a:gd name="T27" fmla="*/ 6 h 60"/>
                <a:gd name="T28" fmla="*/ 46 w 65"/>
                <a:gd name="T29" fmla="*/ 3 h 60"/>
                <a:gd name="T30" fmla="*/ 49 w 65"/>
                <a:gd name="T31" fmla="*/ 3 h 60"/>
                <a:gd name="T32" fmla="*/ 46 w 65"/>
                <a:gd name="T33" fmla="*/ 6 h 60"/>
                <a:gd name="T34" fmla="*/ 46 w 65"/>
                <a:gd name="T35" fmla="*/ 8 h 60"/>
                <a:gd name="T36" fmla="*/ 44 w 65"/>
                <a:gd name="T37" fmla="*/ 11 h 60"/>
                <a:gd name="T38" fmla="*/ 49 w 65"/>
                <a:gd name="T39" fmla="*/ 16 h 60"/>
                <a:gd name="T40" fmla="*/ 52 w 65"/>
                <a:gd name="T41" fmla="*/ 19 h 60"/>
                <a:gd name="T42" fmla="*/ 52 w 65"/>
                <a:gd name="T43" fmla="*/ 21 h 60"/>
                <a:gd name="T44" fmla="*/ 52 w 65"/>
                <a:gd name="T45" fmla="*/ 26 h 60"/>
                <a:gd name="T46" fmla="*/ 49 w 65"/>
                <a:gd name="T47" fmla="*/ 26 h 60"/>
                <a:gd name="T48" fmla="*/ 46 w 65"/>
                <a:gd name="T49" fmla="*/ 29 h 60"/>
                <a:gd name="T50" fmla="*/ 46 w 65"/>
                <a:gd name="T51" fmla="*/ 34 h 60"/>
                <a:gd name="T52" fmla="*/ 46 w 65"/>
                <a:gd name="T53" fmla="*/ 37 h 60"/>
                <a:gd name="T54" fmla="*/ 52 w 65"/>
                <a:gd name="T55" fmla="*/ 39 h 60"/>
                <a:gd name="T56" fmla="*/ 54 w 65"/>
                <a:gd name="T57" fmla="*/ 42 h 60"/>
                <a:gd name="T58" fmla="*/ 54 w 65"/>
                <a:gd name="T59" fmla="*/ 42 h 60"/>
                <a:gd name="T60" fmla="*/ 59 w 65"/>
                <a:gd name="T61" fmla="*/ 50 h 60"/>
                <a:gd name="T62" fmla="*/ 62 w 65"/>
                <a:gd name="T63" fmla="*/ 50 h 60"/>
                <a:gd name="T64" fmla="*/ 65 w 65"/>
                <a:gd name="T65" fmla="*/ 50 h 60"/>
                <a:gd name="T66" fmla="*/ 65 w 65"/>
                <a:gd name="T67" fmla="*/ 52 h 60"/>
                <a:gd name="T68" fmla="*/ 65 w 65"/>
                <a:gd name="T69" fmla="*/ 52 h 60"/>
                <a:gd name="T70" fmla="*/ 54 w 65"/>
                <a:gd name="T71" fmla="*/ 60 h 60"/>
                <a:gd name="T72" fmla="*/ 44 w 65"/>
                <a:gd name="T73" fmla="*/ 55 h 60"/>
                <a:gd name="T74" fmla="*/ 39 w 65"/>
                <a:gd name="T75" fmla="*/ 52 h 60"/>
                <a:gd name="T76" fmla="*/ 34 w 65"/>
                <a:gd name="T77" fmla="*/ 50 h 60"/>
                <a:gd name="T78" fmla="*/ 31 w 65"/>
                <a:gd name="T79" fmla="*/ 52 h 60"/>
                <a:gd name="T80" fmla="*/ 31 w 65"/>
                <a:gd name="T81" fmla="*/ 52 h 60"/>
                <a:gd name="T82" fmla="*/ 26 w 65"/>
                <a:gd name="T83" fmla="*/ 57 h 60"/>
                <a:gd name="T84" fmla="*/ 23 w 65"/>
                <a:gd name="T85" fmla="*/ 55 h 60"/>
                <a:gd name="T86" fmla="*/ 21 w 65"/>
                <a:gd name="T87" fmla="*/ 55 h 60"/>
                <a:gd name="T88" fmla="*/ 21 w 65"/>
                <a:gd name="T89" fmla="*/ 50 h 60"/>
                <a:gd name="T90" fmla="*/ 18 w 65"/>
                <a:gd name="T91" fmla="*/ 50 h 60"/>
                <a:gd name="T92" fmla="*/ 13 w 65"/>
                <a:gd name="T93" fmla="*/ 52 h 60"/>
                <a:gd name="T94" fmla="*/ 8 w 65"/>
                <a:gd name="T95" fmla="*/ 50 h 60"/>
                <a:gd name="T96" fmla="*/ 5 w 65"/>
                <a:gd name="T97" fmla="*/ 42 h 60"/>
                <a:gd name="T98" fmla="*/ 2 w 65"/>
                <a:gd name="T99" fmla="*/ 42 h 60"/>
                <a:gd name="T100" fmla="*/ 5 w 65"/>
                <a:gd name="T101" fmla="*/ 39 h 60"/>
                <a:gd name="T102" fmla="*/ 8 w 65"/>
                <a:gd name="T103" fmla="*/ 37 h 60"/>
                <a:gd name="T104" fmla="*/ 13 w 65"/>
                <a:gd name="T105" fmla="*/ 34 h 60"/>
                <a:gd name="T106" fmla="*/ 21 w 65"/>
                <a:gd name="T107" fmla="*/ 34 h 60"/>
                <a:gd name="T108" fmla="*/ 5 w 65"/>
                <a:gd name="T10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" h="60">
                  <a:moveTo>
                    <a:pt x="0" y="31"/>
                  </a:move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49" y="21"/>
                  </a:lnTo>
                  <a:lnTo>
                    <a:pt x="52" y="24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7" y="44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9" y="47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2" y="52"/>
                  </a:lnTo>
                  <a:lnTo>
                    <a:pt x="59" y="55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6" y="57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2"/>
                  </a:lnTo>
                  <a:lnTo>
                    <a:pt x="39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2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8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8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1" name="Freeform 81"/>
            <p:cNvSpPr>
              <a:spLocks/>
            </p:cNvSpPr>
            <p:nvPr/>
          </p:nvSpPr>
          <p:spPr bwMode="auto">
            <a:xfrm>
              <a:off x="1186" y="2571"/>
              <a:ext cx="65" cy="60"/>
            </a:xfrm>
            <a:custGeom>
              <a:avLst/>
              <a:gdLst>
                <a:gd name="T0" fmla="*/ 0 w 65"/>
                <a:gd name="T1" fmla="*/ 29 h 60"/>
                <a:gd name="T2" fmla="*/ 0 w 65"/>
                <a:gd name="T3" fmla="*/ 26 h 60"/>
                <a:gd name="T4" fmla="*/ 2 w 65"/>
                <a:gd name="T5" fmla="*/ 24 h 60"/>
                <a:gd name="T6" fmla="*/ 2 w 65"/>
                <a:gd name="T7" fmla="*/ 19 h 60"/>
                <a:gd name="T8" fmla="*/ 8 w 65"/>
                <a:gd name="T9" fmla="*/ 24 h 60"/>
                <a:gd name="T10" fmla="*/ 10 w 65"/>
                <a:gd name="T11" fmla="*/ 26 h 60"/>
                <a:gd name="T12" fmla="*/ 15 w 65"/>
                <a:gd name="T13" fmla="*/ 21 h 60"/>
                <a:gd name="T14" fmla="*/ 18 w 65"/>
                <a:gd name="T15" fmla="*/ 16 h 60"/>
                <a:gd name="T16" fmla="*/ 28 w 65"/>
                <a:gd name="T17" fmla="*/ 16 h 60"/>
                <a:gd name="T18" fmla="*/ 34 w 65"/>
                <a:gd name="T19" fmla="*/ 11 h 60"/>
                <a:gd name="T20" fmla="*/ 36 w 65"/>
                <a:gd name="T21" fmla="*/ 8 h 60"/>
                <a:gd name="T22" fmla="*/ 36 w 65"/>
                <a:gd name="T23" fmla="*/ 6 h 60"/>
                <a:gd name="T24" fmla="*/ 36 w 65"/>
                <a:gd name="T25" fmla="*/ 6 h 60"/>
                <a:gd name="T26" fmla="*/ 41 w 65"/>
                <a:gd name="T27" fmla="*/ 6 h 60"/>
                <a:gd name="T28" fmla="*/ 46 w 65"/>
                <a:gd name="T29" fmla="*/ 3 h 60"/>
                <a:gd name="T30" fmla="*/ 49 w 65"/>
                <a:gd name="T31" fmla="*/ 3 h 60"/>
                <a:gd name="T32" fmla="*/ 46 w 65"/>
                <a:gd name="T33" fmla="*/ 6 h 60"/>
                <a:gd name="T34" fmla="*/ 46 w 65"/>
                <a:gd name="T35" fmla="*/ 8 h 60"/>
                <a:gd name="T36" fmla="*/ 44 w 65"/>
                <a:gd name="T37" fmla="*/ 11 h 60"/>
                <a:gd name="T38" fmla="*/ 49 w 65"/>
                <a:gd name="T39" fmla="*/ 16 h 60"/>
                <a:gd name="T40" fmla="*/ 52 w 65"/>
                <a:gd name="T41" fmla="*/ 19 h 60"/>
                <a:gd name="T42" fmla="*/ 52 w 65"/>
                <a:gd name="T43" fmla="*/ 21 h 60"/>
                <a:gd name="T44" fmla="*/ 52 w 65"/>
                <a:gd name="T45" fmla="*/ 26 h 60"/>
                <a:gd name="T46" fmla="*/ 49 w 65"/>
                <a:gd name="T47" fmla="*/ 26 h 60"/>
                <a:gd name="T48" fmla="*/ 46 w 65"/>
                <a:gd name="T49" fmla="*/ 29 h 60"/>
                <a:gd name="T50" fmla="*/ 46 w 65"/>
                <a:gd name="T51" fmla="*/ 34 h 60"/>
                <a:gd name="T52" fmla="*/ 46 w 65"/>
                <a:gd name="T53" fmla="*/ 37 h 60"/>
                <a:gd name="T54" fmla="*/ 52 w 65"/>
                <a:gd name="T55" fmla="*/ 39 h 60"/>
                <a:gd name="T56" fmla="*/ 54 w 65"/>
                <a:gd name="T57" fmla="*/ 42 h 60"/>
                <a:gd name="T58" fmla="*/ 54 w 65"/>
                <a:gd name="T59" fmla="*/ 42 h 60"/>
                <a:gd name="T60" fmla="*/ 59 w 65"/>
                <a:gd name="T61" fmla="*/ 50 h 60"/>
                <a:gd name="T62" fmla="*/ 62 w 65"/>
                <a:gd name="T63" fmla="*/ 50 h 60"/>
                <a:gd name="T64" fmla="*/ 65 w 65"/>
                <a:gd name="T65" fmla="*/ 50 h 60"/>
                <a:gd name="T66" fmla="*/ 65 w 65"/>
                <a:gd name="T67" fmla="*/ 52 h 60"/>
                <a:gd name="T68" fmla="*/ 65 w 65"/>
                <a:gd name="T69" fmla="*/ 52 h 60"/>
                <a:gd name="T70" fmla="*/ 54 w 65"/>
                <a:gd name="T71" fmla="*/ 60 h 60"/>
                <a:gd name="T72" fmla="*/ 44 w 65"/>
                <a:gd name="T73" fmla="*/ 55 h 60"/>
                <a:gd name="T74" fmla="*/ 39 w 65"/>
                <a:gd name="T75" fmla="*/ 52 h 60"/>
                <a:gd name="T76" fmla="*/ 34 w 65"/>
                <a:gd name="T77" fmla="*/ 50 h 60"/>
                <a:gd name="T78" fmla="*/ 31 w 65"/>
                <a:gd name="T79" fmla="*/ 52 h 60"/>
                <a:gd name="T80" fmla="*/ 31 w 65"/>
                <a:gd name="T81" fmla="*/ 52 h 60"/>
                <a:gd name="T82" fmla="*/ 26 w 65"/>
                <a:gd name="T83" fmla="*/ 57 h 60"/>
                <a:gd name="T84" fmla="*/ 23 w 65"/>
                <a:gd name="T85" fmla="*/ 55 h 60"/>
                <a:gd name="T86" fmla="*/ 21 w 65"/>
                <a:gd name="T87" fmla="*/ 55 h 60"/>
                <a:gd name="T88" fmla="*/ 21 w 65"/>
                <a:gd name="T89" fmla="*/ 50 h 60"/>
                <a:gd name="T90" fmla="*/ 18 w 65"/>
                <a:gd name="T91" fmla="*/ 50 h 60"/>
                <a:gd name="T92" fmla="*/ 13 w 65"/>
                <a:gd name="T93" fmla="*/ 52 h 60"/>
                <a:gd name="T94" fmla="*/ 8 w 65"/>
                <a:gd name="T95" fmla="*/ 50 h 60"/>
                <a:gd name="T96" fmla="*/ 5 w 65"/>
                <a:gd name="T97" fmla="*/ 42 h 60"/>
                <a:gd name="T98" fmla="*/ 2 w 65"/>
                <a:gd name="T99" fmla="*/ 42 h 60"/>
                <a:gd name="T100" fmla="*/ 5 w 65"/>
                <a:gd name="T101" fmla="*/ 39 h 60"/>
                <a:gd name="T102" fmla="*/ 8 w 65"/>
                <a:gd name="T103" fmla="*/ 37 h 60"/>
                <a:gd name="T104" fmla="*/ 13 w 65"/>
                <a:gd name="T105" fmla="*/ 34 h 60"/>
                <a:gd name="T106" fmla="*/ 21 w 65"/>
                <a:gd name="T107" fmla="*/ 34 h 60"/>
                <a:gd name="T108" fmla="*/ 5 w 65"/>
                <a:gd name="T10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" h="60">
                  <a:moveTo>
                    <a:pt x="0" y="31"/>
                  </a:move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49" y="21"/>
                  </a:lnTo>
                  <a:lnTo>
                    <a:pt x="52" y="24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7" y="44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9" y="47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2" y="52"/>
                  </a:lnTo>
                  <a:lnTo>
                    <a:pt x="59" y="55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6" y="57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2"/>
                  </a:lnTo>
                  <a:lnTo>
                    <a:pt x="39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2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8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8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0" y="3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2" name="Freeform 82"/>
            <p:cNvSpPr>
              <a:spLocks/>
            </p:cNvSpPr>
            <p:nvPr/>
          </p:nvSpPr>
          <p:spPr bwMode="auto">
            <a:xfrm>
              <a:off x="1186" y="2571"/>
              <a:ext cx="65" cy="60"/>
            </a:xfrm>
            <a:custGeom>
              <a:avLst/>
              <a:gdLst>
                <a:gd name="T0" fmla="*/ 0 w 65"/>
                <a:gd name="T1" fmla="*/ 29 h 60"/>
                <a:gd name="T2" fmla="*/ 0 w 65"/>
                <a:gd name="T3" fmla="*/ 26 h 60"/>
                <a:gd name="T4" fmla="*/ 2 w 65"/>
                <a:gd name="T5" fmla="*/ 24 h 60"/>
                <a:gd name="T6" fmla="*/ 2 w 65"/>
                <a:gd name="T7" fmla="*/ 19 h 60"/>
                <a:gd name="T8" fmla="*/ 8 w 65"/>
                <a:gd name="T9" fmla="*/ 24 h 60"/>
                <a:gd name="T10" fmla="*/ 10 w 65"/>
                <a:gd name="T11" fmla="*/ 26 h 60"/>
                <a:gd name="T12" fmla="*/ 15 w 65"/>
                <a:gd name="T13" fmla="*/ 21 h 60"/>
                <a:gd name="T14" fmla="*/ 18 w 65"/>
                <a:gd name="T15" fmla="*/ 16 h 60"/>
                <a:gd name="T16" fmla="*/ 28 w 65"/>
                <a:gd name="T17" fmla="*/ 16 h 60"/>
                <a:gd name="T18" fmla="*/ 34 w 65"/>
                <a:gd name="T19" fmla="*/ 11 h 60"/>
                <a:gd name="T20" fmla="*/ 36 w 65"/>
                <a:gd name="T21" fmla="*/ 8 h 60"/>
                <a:gd name="T22" fmla="*/ 36 w 65"/>
                <a:gd name="T23" fmla="*/ 6 h 60"/>
                <a:gd name="T24" fmla="*/ 36 w 65"/>
                <a:gd name="T25" fmla="*/ 6 h 60"/>
                <a:gd name="T26" fmla="*/ 41 w 65"/>
                <a:gd name="T27" fmla="*/ 6 h 60"/>
                <a:gd name="T28" fmla="*/ 46 w 65"/>
                <a:gd name="T29" fmla="*/ 3 h 60"/>
                <a:gd name="T30" fmla="*/ 49 w 65"/>
                <a:gd name="T31" fmla="*/ 3 h 60"/>
                <a:gd name="T32" fmla="*/ 46 w 65"/>
                <a:gd name="T33" fmla="*/ 6 h 60"/>
                <a:gd name="T34" fmla="*/ 46 w 65"/>
                <a:gd name="T35" fmla="*/ 8 h 60"/>
                <a:gd name="T36" fmla="*/ 44 w 65"/>
                <a:gd name="T37" fmla="*/ 11 h 60"/>
                <a:gd name="T38" fmla="*/ 49 w 65"/>
                <a:gd name="T39" fmla="*/ 16 h 60"/>
                <a:gd name="T40" fmla="*/ 52 w 65"/>
                <a:gd name="T41" fmla="*/ 19 h 60"/>
                <a:gd name="T42" fmla="*/ 52 w 65"/>
                <a:gd name="T43" fmla="*/ 21 h 60"/>
                <a:gd name="T44" fmla="*/ 52 w 65"/>
                <a:gd name="T45" fmla="*/ 26 h 60"/>
                <a:gd name="T46" fmla="*/ 49 w 65"/>
                <a:gd name="T47" fmla="*/ 26 h 60"/>
                <a:gd name="T48" fmla="*/ 46 w 65"/>
                <a:gd name="T49" fmla="*/ 29 h 60"/>
                <a:gd name="T50" fmla="*/ 46 w 65"/>
                <a:gd name="T51" fmla="*/ 34 h 60"/>
                <a:gd name="T52" fmla="*/ 46 w 65"/>
                <a:gd name="T53" fmla="*/ 37 h 60"/>
                <a:gd name="T54" fmla="*/ 52 w 65"/>
                <a:gd name="T55" fmla="*/ 39 h 60"/>
                <a:gd name="T56" fmla="*/ 54 w 65"/>
                <a:gd name="T57" fmla="*/ 42 h 60"/>
                <a:gd name="T58" fmla="*/ 54 w 65"/>
                <a:gd name="T59" fmla="*/ 42 h 60"/>
                <a:gd name="T60" fmla="*/ 59 w 65"/>
                <a:gd name="T61" fmla="*/ 50 h 60"/>
                <a:gd name="T62" fmla="*/ 62 w 65"/>
                <a:gd name="T63" fmla="*/ 50 h 60"/>
                <a:gd name="T64" fmla="*/ 65 w 65"/>
                <a:gd name="T65" fmla="*/ 50 h 60"/>
                <a:gd name="T66" fmla="*/ 65 w 65"/>
                <a:gd name="T67" fmla="*/ 52 h 60"/>
                <a:gd name="T68" fmla="*/ 65 w 65"/>
                <a:gd name="T69" fmla="*/ 52 h 60"/>
                <a:gd name="T70" fmla="*/ 54 w 65"/>
                <a:gd name="T71" fmla="*/ 60 h 60"/>
                <a:gd name="T72" fmla="*/ 44 w 65"/>
                <a:gd name="T73" fmla="*/ 55 h 60"/>
                <a:gd name="T74" fmla="*/ 39 w 65"/>
                <a:gd name="T75" fmla="*/ 52 h 60"/>
                <a:gd name="T76" fmla="*/ 34 w 65"/>
                <a:gd name="T77" fmla="*/ 50 h 60"/>
                <a:gd name="T78" fmla="*/ 31 w 65"/>
                <a:gd name="T79" fmla="*/ 52 h 60"/>
                <a:gd name="T80" fmla="*/ 31 w 65"/>
                <a:gd name="T81" fmla="*/ 52 h 60"/>
                <a:gd name="T82" fmla="*/ 26 w 65"/>
                <a:gd name="T83" fmla="*/ 57 h 60"/>
                <a:gd name="T84" fmla="*/ 23 w 65"/>
                <a:gd name="T85" fmla="*/ 55 h 60"/>
                <a:gd name="T86" fmla="*/ 21 w 65"/>
                <a:gd name="T87" fmla="*/ 55 h 60"/>
                <a:gd name="T88" fmla="*/ 21 w 65"/>
                <a:gd name="T89" fmla="*/ 50 h 60"/>
                <a:gd name="T90" fmla="*/ 18 w 65"/>
                <a:gd name="T91" fmla="*/ 50 h 60"/>
                <a:gd name="T92" fmla="*/ 13 w 65"/>
                <a:gd name="T93" fmla="*/ 52 h 60"/>
                <a:gd name="T94" fmla="*/ 8 w 65"/>
                <a:gd name="T95" fmla="*/ 50 h 60"/>
                <a:gd name="T96" fmla="*/ 5 w 65"/>
                <a:gd name="T97" fmla="*/ 42 h 60"/>
                <a:gd name="T98" fmla="*/ 2 w 65"/>
                <a:gd name="T99" fmla="*/ 42 h 60"/>
                <a:gd name="T100" fmla="*/ 5 w 65"/>
                <a:gd name="T101" fmla="*/ 39 h 60"/>
                <a:gd name="T102" fmla="*/ 8 w 65"/>
                <a:gd name="T103" fmla="*/ 37 h 60"/>
                <a:gd name="T104" fmla="*/ 13 w 65"/>
                <a:gd name="T105" fmla="*/ 34 h 60"/>
                <a:gd name="T106" fmla="*/ 21 w 65"/>
                <a:gd name="T107" fmla="*/ 34 h 60"/>
                <a:gd name="T108" fmla="*/ 5 w 65"/>
                <a:gd name="T10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" h="60">
                  <a:moveTo>
                    <a:pt x="0" y="31"/>
                  </a:move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49" y="21"/>
                  </a:lnTo>
                  <a:lnTo>
                    <a:pt x="52" y="24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7" y="44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9" y="47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2" y="52"/>
                  </a:lnTo>
                  <a:lnTo>
                    <a:pt x="59" y="55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6" y="57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2"/>
                  </a:lnTo>
                  <a:lnTo>
                    <a:pt x="39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2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8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8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3" name="Freeform 83"/>
            <p:cNvSpPr>
              <a:spLocks/>
            </p:cNvSpPr>
            <p:nvPr/>
          </p:nvSpPr>
          <p:spPr bwMode="auto">
            <a:xfrm>
              <a:off x="1186" y="2571"/>
              <a:ext cx="65" cy="60"/>
            </a:xfrm>
            <a:custGeom>
              <a:avLst/>
              <a:gdLst>
                <a:gd name="T0" fmla="*/ 0 w 65"/>
                <a:gd name="T1" fmla="*/ 29 h 60"/>
                <a:gd name="T2" fmla="*/ 0 w 65"/>
                <a:gd name="T3" fmla="*/ 26 h 60"/>
                <a:gd name="T4" fmla="*/ 2 w 65"/>
                <a:gd name="T5" fmla="*/ 24 h 60"/>
                <a:gd name="T6" fmla="*/ 2 w 65"/>
                <a:gd name="T7" fmla="*/ 19 h 60"/>
                <a:gd name="T8" fmla="*/ 8 w 65"/>
                <a:gd name="T9" fmla="*/ 24 h 60"/>
                <a:gd name="T10" fmla="*/ 10 w 65"/>
                <a:gd name="T11" fmla="*/ 26 h 60"/>
                <a:gd name="T12" fmla="*/ 15 w 65"/>
                <a:gd name="T13" fmla="*/ 21 h 60"/>
                <a:gd name="T14" fmla="*/ 18 w 65"/>
                <a:gd name="T15" fmla="*/ 16 h 60"/>
                <a:gd name="T16" fmla="*/ 28 w 65"/>
                <a:gd name="T17" fmla="*/ 16 h 60"/>
                <a:gd name="T18" fmla="*/ 34 w 65"/>
                <a:gd name="T19" fmla="*/ 11 h 60"/>
                <a:gd name="T20" fmla="*/ 36 w 65"/>
                <a:gd name="T21" fmla="*/ 8 h 60"/>
                <a:gd name="T22" fmla="*/ 36 w 65"/>
                <a:gd name="T23" fmla="*/ 6 h 60"/>
                <a:gd name="T24" fmla="*/ 36 w 65"/>
                <a:gd name="T25" fmla="*/ 6 h 60"/>
                <a:gd name="T26" fmla="*/ 41 w 65"/>
                <a:gd name="T27" fmla="*/ 6 h 60"/>
                <a:gd name="T28" fmla="*/ 46 w 65"/>
                <a:gd name="T29" fmla="*/ 3 h 60"/>
                <a:gd name="T30" fmla="*/ 49 w 65"/>
                <a:gd name="T31" fmla="*/ 3 h 60"/>
                <a:gd name="T32" fmla="*/ 46 w 65"/>
                <a:gd name="T33" fmla="*/ 6 h 60"/>
                <a:gd name="T34" fmla="*/ 46 w 65"/>
                <a:gd name="T35" fmla="*/ 8 h 60"/>
                <a:gd name="T36" fmla="*/ 44 w 65"/>
                <a:gd name="T37" fmla="*/ 11 h 60"/>
                <a:gd name="T38" fmla="*/ 49 w 65"/>
                <a:gd name="T39" fmla="*/ 16 h 60"/>
                <a:gd name="T40" fmla="*/ 52 w 65"/>
                <a:gd name="T41" fmla="*/ 19 h 60"/>
                <a:gd name="T42" fmla="*/ 52 w 65"/>
                <a:gd name="T43" fmla="*/ 21 h 60"/>
                <a:gd name="T44" fmla="*/ 52 w 65"/>
                <a:gd name="T45" fmla="*/ 26 h 60"/>
                <a:gd name="T46" fmla="*/ 49 w 65"/>
                <a:gd name="T47" fmla="*/ 26 h 60"/>
                <a:gd name="T48" fmla="*/ 46 w 65"/>
                <a:gd name="T49" fmla="*/ 29 h 60"/>
                <a:gd name="T50" fmla="*/ 46 w 65"/>
                <a:gd name="T51" fmla="*/ 34 h 60"/>
                <a:gd name="T52" fmla="*/ 46 w 65"/>
                <a:gd name="T53" fmla="*/ 37 h 60"/>
                <a:gd name="T54" fmla="*/ 52 w 65"/>
                <a:gd name="T55" fmla="*/ 39 h 60"/>
                <a:gd name="T56" fmla="*/ 54 w 65"/>
                <a:gd name="T57" fmla="*/ 42 h 60"/>
                <a:gd name="T58" fmla="*/ 54 w 65"/>
                <a:gd name="T59" fmla="*/ 42 h 60"/>
                <a:gd name="T60" fmla="*/ 59 w 65"/>
                <a:gd name="T61" fmla="*/ 50 h 60"/>
                <a:gd name="T62" fmla="*/ 62 w 65"/>
                <a:gd name="T63" fmla="*/ 50 h 60"/>
                <a:gd name="T64" fmla="*/ 65 w 65"/>
                <a:gd name="T65" fmla="*/ 50 h 60"/>
                <a:gd name="T66" fmla="*/ 65 w 65"/>
                <a:gd name="T67" fmla="*/ 52 h 60"/>
                <a:gd name="T68" fmla="*/ 65 w 65"/>
                <a:gd name="T69" fmla="*/ 52 h 60"/>
                <a:gd name="T70" fmla="*/ 54 w 65"/>
                <a:gd name="T71" fmla="*/ 60 h 60"/>
                <a:gd name="T72" fmla="*/ 44 w 65"/>
                <a:gd name="T73" fmla="*/ 55 h 60"/>
                <a:gd name="T74" fmla="*/ 39 w 65"/>
                <a:gd name="T75" fmla="*/ 52 h 60"/>
                <a:gd name="T76" fmla="*/ 34 w 65"/>
                <a:gd name="T77" fmla="*/ 50 h 60"/>
                <a:gd name="T78" fmla="*/ 31 w 65"/>
                <a:gd name="T79" fmla="*/ 52 h 60"/>
                <a:gd name="T80" fmla="*/ 31 w 65"/>
                <a:gd name="T81" fmla="*/ 52 h 60"/>
                <a:gd name="T82" fmla="*/ 26 w 65"/>
                <a:gd name="T83" fmla="*/ 57 h 60"/>
                <a:gd name="T84" fmla="*/ 23 w 65"/>
                <a:gd name="T85" fmla="*/ 55 h 60"/>
                <a:gd name="T86" fmla="*/ 21 w 65"/>
                <a:gd name="T87" fmla="*/ 55 h 60"/>
                <a:gd name="T88" fmla="*/ 21 w 65"/>
                <a:gd name="T89" fmla="*/ 50 h 60"/>
                <a:gd name="T90" fmla="*/ 18 w 65"/>
                <a:gd name="T91" fmla="*/ 50 h 60"/>
                <a:gd name="T92" fmla="*/ 13 w 65"/>
                <a:gd name="T93" fmla="*/ 52 h 60"/>
                <a:gd name="T94" fmla="*/ 8 w 65"/>
                <a:gd name="T95" fmla="*/ 50 h 60"/>
                <a:gd name="T96" fmla="*/ 5 w 65"/>
                <a:gd name="T97" fmla="*/ 42 h 60"/>
                <a:gd name="T98" fmla="*/ 2 w 65"/>
                <a:gd name="T99" fmla="*/ 42 h 60"/>
                <a:gd name="T100" fmla="*/ 5 w 65"/>
                <a:gd name="T101" fmla="*/ 39 h 60"/>
                <a:gd name="T102" fmla="*/ 8 w 65"/>
                <a:gd name="T103" fmla="*/ 37 h 60"/>
                <a:gd name="T104" fmla="*/ 13 w 65"/>
                <a:gd name="T105" fmla="*/ 34 h 60"/>
                <a:gd name="T106" fmla="*/ 21 w 65"/>
                <a:gd name="T107" fmla="*/ 34 h 60"/>
                <a:gd name="T108" fmla="*/ 5 w 65"/>
                <a:gd name="T10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" h="60">
                  <a:moveTo>
                    <a:pt x="0" y="31"/>
                  </a:move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49" y="21"/>
                  </a:lnTo>
                  <a:lnTo>
                    <a:pt x="52" y="24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7" y="44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9" y="47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2" y="52"/>
                  </a:lnTo>
                  <a:lnTo>
                    <a:pt x="59" y="55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6" y="57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2"/>
                  </a:lnTo>
                  <a:lnTo>
                    <a:pt x="39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2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8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8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0" y="3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4" name="Freeform 84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5 w 57"/>
                <a:gd name="T1" fmla="*/ 5 h 36"/>
                <a:gd name="T2" fmla="*/ 13 w 57"/>
                <a:gd name="T3" fmla="*/ 8 h 36"/>
                <a:gd name="T4" fmla="*/ 16 w 57"/>
                <a:gd name="T5" fmla="*/ 10 h 36"/>
                <a:gd name="T6" fmla="*/ 18 w 57"/>
                <a:gd name="T7" fmla="*/ 18 h 36"/>
                <a:gd name="T8" fmla="*/ 21 w 57"/>
                <a:gd name="T9" fmla="*/ 21 h 36"/>
                <a:gd name="T10" fmla="*/ 23 w 57"/>
                <a:gd name="T11" fmla="*/ 23 h 36"/>
                <a:gd name="T12" fmla="*/ 26 w 57"/>
                <a:gd name="T13" fmla="*/ 29 h 36"/>
                <a:gd name="T14" fmla="*/ 26 w 57"/>
                <a:gd name="T15" fmla="*/ 31 h 36"/>
                <a:gd name="T16" fmla="*/ 29 w 57"/>
                <a:gd name="T17" fmla="*/ 31 h 36"/>
                <a:gd name="T18" fmla="*/ 31 w 57"/>
                <a:gd name="T19" fmla="*/ 31 h 36"/>
                <a:gd name="T20" fmla="*/ 34 w 57"/>
                <a:gd name="T21" fmla="*/ 31 h 36"/>
                <a:gd name="T22" fmla="*/ 36 w 57"/>
                <a:gd name="T23" fmla="*/ 34 h 36"/>
                <a:gd name="T24" fmla="*/ 42 w 57"/>
                <a:gd name="T25" fmla="*/ 34 h 36"/>
                <a:gd name="T26" fmla="*/ 42 w 57"/>
                <a:gd name="T27" fmla="*/ 36 h 36"/>
                <a:gd name="T28" fmla="*/ 42 w 57"/>
                <a:gd name="T29" fmla="*/ 34 h 36"/>
                <a:gd name="T30" fmla="*/ 42 w 57"/>
                <a:gd name="T31" fmla="*/ 34 h 36"/>
                <a:gd name="T32" fmla="*/ 42 w 57"/>
                <a:gd name="T33" fmla="*/ 34 h 36"/>
                <a:gd name="T34" fmla="*/ 47 w 57"/>
                <a:gd name="T35" fmla="*/ 36 h 36"/>
                <a:gd name="T36" fmla="*/ 49 w 57"/>
                <a:gd name="T37" fmla="*/ 36 h 36"/>
                <a:gd name="T38" fmla="*/ 52 w 57"/>
                <a:gd name="T39" fmla="*/ 34 h 36"/>
                <a:gd name="T40" fmla="*/ 54 w 57"/>
                <a:gd name="T41" fmla="*/ 31 h 36"/>
                <a:gd name="T42" fmla="*/ 54 w 57"/>
                <a:gd name="T43" fmla="*/ 29 h 36"/>
                <a:gd name="T44" fmla="*/ 54 w 57"/>
                <a:gd name="T45" fmla="*/ 26 h 36"/>
                <a:gd name="T46" fmla="*/ 54 w 57"/>
                <a:gd name="T47" fmla="*/ 23 h 36"/>
                <a:gd name="T48" fmla="*/ 57 w 57"/>
                <a:gd name="T49" fmla="*/ 21 h 36"/>
                <a:gd name="T50" fmla="*/ 54 w 57"/>
                <a:gd name="T51" fmla="*/ 21 h 36"/>
                <a:gd name="T52" fmla="*/ 52 w 57"/>
                <a:gd name="T53" fmla="*/ 18 h 36"/>
                <a:gd name="T54" fmla="*/ 54 w 57"/>
                <a:gd name="T55" fmla="*/ 18 h 36"/>
                <a:gd name="T56" fmla="*/ 54 w 57"/>
                <a:gd name="T57" fmla="*/ 13 h 36"/>
                <a:gd name="T58" fmla="*/ 49 w 57"/>
                <a:gd name="T59" fmla="*/ 13 h 36"/>
                <a:gd name="T60" fmla="*/ 47 w 57"/>
                <a:gd name="T61" fmla="*/ 16 h 36"/>
                <a:gd name="T62" fmla="*/ 42 w 57"/>
                <a:gd name="T63" fmla="*/ 16 h 36"/>
                <a:gd name="T64" fmla="*/ 39 w 57"/>
                <a:gd name="T65" fmla="*/ 10 h 36"/>
                <a:gd name="T66" fmla="*/ 39 w 57"/>
                <a:gd name="T67" fmla="*/ 10 h 36"/>
                <a:gd name="T68" fmla="*/ 36 w 57"/>
                <a:gd name="T69" fmla="*/ 10 h 36"/>
                <a:gd name="T70" fmla="*/ 34 w 57"/>
                <a:gd name="T71" fmla="*/ 10 h 36"/>
                <a:gd name="T72" fmla="*/ 29 w 57"/>
                <a:gd name="T73" fmla="*/ 10 h 36"/>
                <a:gd name="T74" fmla="*/ 29 w 57"/>
                <a:gd name="T75" fmla="*/ 8 h 36"/>
                <a:gd name="T76" fmla="*/ 29 w 57"/>
                <a:gd name="T77" fmla="*/ 8 h 36"/>
                <a:gd name="T78" fmla="*/ 26 w 57"/>
                <a:gd name="T79" fmla="*/ 8 h 36"/>
                <a:gd name="T80" fmla="*/ 23 w 57"/>
                <a:gd name="T81" fmla="*/ 8 h 36"/>
                <a:gd name="T82" fmla="*/ 23 w 57"/>
                <a:gd name="T83" fmla="*/ 8 h 36"/>
                <a:gd name="T84" fmla="*/ 21 w 57"/>
                <a:gd name="T85" fmla="*/ 8 h 36"/>
                <a:gd name="T86" fmla="*/ 18 w 57"/>
                <a:gd name="T87" fmla="*/ 5 h 36"/>
                <a:gd name="T88" fmla="*/ 18 w 57"/>
                <a:gd name="T89" fmla="*/ 5 h 36"/>
                <a:gd name="T90" fmla="*/ 16 w 57"/>
                <a:gd name="T91" fmla="*/ 5 h 36"/>
                <a:gd name="T92" fmla="*/ 13 w 57"/>
                <a:gd name="T93" fmla="*/ 5 h 36"/>
                <a:gd name="T94" fmla="*/ 10 w 57"/>
                <a:gd name="T95" fmla="*/ 5 h 36"/>
                <a:gd name="T96" fmla="*/ 10 w 57"/>
                <a:gd name="T97" fmla="*/ 5 h 36"/>
                <a:gd name="T98" fmla="*/ 10 w 57"/>
                <a:gd name="T99" fmla="*/ 3 h 36"/>
                <a:gd name="T100" fmla="*/ 13 w 57"/>
                <a:gd name="T101" fmla="*/ 3 h 36"/>
                <a:gd name="T102" fmla="*/ 8 w 57"/>
                <a:gd name="T103" fmla="*/ 3 h 36"/>
                <a:gd name="T104" fmla="*/ 3 w 57"/>
                <a:gd name="T10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3" y="3"/>
                  </a:lnTo>
                  <a:lnTo>
                    <a:pt x="5" y="5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9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7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2" y="21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9" y="13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5" name="Freeform 85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5 w 57"/>
                <a:gd name="T1" fmla="*/ 5 h 36"/>
                <a:gd name="T2" fmla="*/ 13 w 57"/>
                <a:gd name="T3" fmla="*/ 8 h 36"/>
                <a:gd name="T4" fmla="*/ 16 w 57"/>
                <a:gd name="T5" fmla="*/ 10 h 36"/>
                <a:gd name="T6" fmla="*/ 18 w 57"/>
                <a:gd name="T7" fmla="*/ 18 h 36"/>
                <a:gd name="T8" fmla="*/ 21 w 57"/>
                <a:gd name="T9" fmla="*/ 21 h 36"/>
                <a:gd name="T10" fmla="*/ 23 w 57"/>
                <a:gd name="T11" fmla="*/ 23 h 36"/>
                <a:gd name="T12" fmla="*/ 26 w 57"/>
                <a:gd name="T13" fmla="*/ 29 h 36"/>
                <a:gd name="T14" fmla="*/ 26 w 57"/>
                <a:gd name="T15" fmla="*/ 31 h 36"/>
                <a:gd name="T16" fmla="*/ 29 w 57"/>
                <a:gd name="T17" fmla="*/ 31 h 36"/>
                <a:gd name="T18" fmla="*/ 31 w 57"/>
                <a:gd name="T19" fmla="*/ 31 h 36"/>
                <a:gd name="T20" fmla="*/ 34 w 57"/>
                <a:gd name="T21" fmla="*/ 31 h 36"/>
                <a:gd name="T22" fmla="*/ 36 w 57"/>
                <a:gd name="T23" fmla="*/ 34 h 36"/>
                <a:gd name="T24" fmla="*/ 42 w 57"/>
                <a:gd name="T25" fmla="*/ 34 h 36"/>
                <a:gd name="T26" fmla="*/ 42 w 57"/>
                <a:gd name="T27" fmla="*/ 36 h 36"/>
                <a:gd name="T28" fmla="*/ 42 w 57"/>
                <a:gd name="T29" fmla="*/ 34 h 36"/>
                <a:gd name="T30" fmla="*/ 42 w 57"/>
                <a:gd name="T31" fmla="*/ 34 h 36"/>
                <a:gd name="T32" fmla="*/ 42 w 57"/>
                <a:gd name="T33" fmla="*/ 34 h 36"/>
                <a:gd name="T34" fmla="*/ 47 w 57"/>
                <a:gd name="T35" fmla="*/ 36 h 36"/>
                <a:gd name="T36" fmla="*/ 49 w 57"/>
                <a:gd name="T37" fmla="*/ 36 h 36"/>
                <a:gd name="T38" fmla="*/ 52 w 57"/>
                <a:gd name="T39" fmla="*/ 34 h 36"/>
                <a:gd name="T40" fmla="*/ 54 w 57"/>
                <a:gd name="T41" fmla="*/ 31 h 36"/>
                <a:gd name="T42" fmla="*/ 54 w 57"/>
                <a:gd name="T43" fmla="*/ 29 h 36"/>
                <a:gd name="T44" fmla="*/ 54 w 57"/>
                <a:gd name="T45" fmla="*/ 26 h 36"/>
                <a:gd name="T46" fmla="*/ 54 w 57"/>
                <a:gd name="T47" fmla="*/ 23 h 36"/>
                <a:gd name="T48" fmla="*/ 57 w 57"/>
                <a:gd name="T49" fmla="*/ 21 h 36"/>
                <a:gd name="T50" fmla="*/ 54 w 57"/>
                <a:gd name="T51" fmla="*/ 21 h 36"/>
                <a:gd name="T52" fmla="*/ 52 w 57"/>
                <a:gd name="T53" fmla="*/ 18 h 36"/>
                <a:gd name="T54" fmla="*/ 54 w 57"/>
                <a:gd name="T55" fmla="*/ 18 h 36"/>
                <a:gd name="T56" fmla="*/ 54 w 57"/>
                <a:gd name="T57" fmla="*/ 13 h 36"/>
                <a:gd name="T58" fmla="*/ 49 w 57"/>
                <a:gd name="T59" fmla="*/ 13 h 36"/>
                <a:gd name="T60" fmla="*/ 47 w 57"/>
                <a:gd name="T61" fmla="*/ 16 h 36"/>
                <a:gd name="T62" fmla="*/ 42 w 57"/>
                <a:gd name="T63" fmla="*/ 16 h 36"/>
                <a:gd name="T64" fmla="*/ 39 w 57"/>
                <a:gd name="T65" fmla="*/ 10 h 36"/>
                <a:gd name="T66" fmla="*/ 39 w 57"/>
                <a:gd name="T67" fmla="*/ 10 h 36"/>
                <a:gd name="T68" fmla="*/ 36 w 57"/>
                <a:gd name="T69" fmla="*/ 10 h 36"/>
                <a:gd name="T70" fmla="*/ 34 w 57"/>
                <a:gd name="T71" fmla="*/ 10 h 36"/>
                <a:gd name="T72" fmla="*/ 29 w 57"/>
                <a:gd name="T73" fmla="*/ 10 h 36"/>
                <a:gd name="T74" fmla="*/ 29 w 57"/>
                <a:gd name="T75" fmla="*/ 8 h 36"/>
                <a:gd name="T76" fmla="*/ 29 w 57"/>
                <a:gd name="T77" fmla="*/ 8 h 36"/>
                <a:gd name="T78" fmla="*/ 26 w 57"/>
                <a:gd name="T79" fmla="*/ 8 h 36"/>
                <a:gd name="T80" fmla="*/ 23 w 57"/>
                <a:gd name="T81" fmla="*/ 8 h 36"/>
                <a:gd name="T82" fmla="*/ 23 w 57"/>
                <a:gd name="T83" fmla="*/ 8 h 36"/>
                <a:gd name="T84" fmla="*/ 21 w 57"/>
                <a:gd name="T85" fmla="*/ 8 h 36"/>
                <a:gd name="T86" fmla="*/ 18 w 57"/>
                <a:gd name="T87" fmla="*/ 5 h 36"/>
                <a:gd name="T88" fmla="*/ 18 w 57"/>
                <a:gd name="T89" fmla="*/ 5 h 36"/>
                <a:gd name="T90" fmla="*/ 16 w 57"/>
                <a:gd name="T91" fmla="*/ 5 h 36"/>
                <a:gd name="T92" fmla="*/ 13 w 57"/>
                <a:gd name="T93" fmla="*/ 5 h 36"/>
                <a:gd name="T94" fmla="*/ 10 w 57"/>
                <a:gd name="T95" fmla="*/ 5 h 36"/>
                <a:gd name="T96" fmla="*/ 10 w 57"/>
                <a:gd name="T97" fmla="*/ 5 h 36"/>
                <a:gd name="T98" fmla="*/ 10 w 57"/>
                <a:gd name="T99" fmla="*/ 3 h 36"/>
                <a:gd name="T100" fmla="*/ 13 w 57"/>
                <a:gd name="T101" fmla="*/ 3 h 36"/>
                <a:gd name="T102" fmla="*/ 8 w 57"/>
                <a:gd name="T103" fmla="*/ 3 h 36"/>
                <a:gd name="T104" fmla="*/ 3 w 57"/>
                <a:gd name="T10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3" y="3"/>
                  </a:lnTo>
                  <a:lnTo>
                    <a:pt x="5" y="5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9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7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2" y="21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9" y="13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6" name="Freeform 86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5 w 57"/>
                <a:gd name="T1" fmla="*/ 5 h 36"/>
                <a:gd name="T2" fmla="*/ 13 w 57"/>
                <a:gd name="T3" fmla="*/ 8 h 36"/>
                <a:gd name="T4" fmla="*/ 16 w 57"/>
                <a:gd name="T5" fmla="*/ 10 h 36"/>
                <a:gd name="T6" fmla="*/ 18 w 57"/>
                <a:gd name="T7" fmla="*/ 18 h 36"/>
                <a:gd name="T8" fmla="*/ 21 w 57"/>
                <a:gd name="T9" fmla="*/ 21 h 36"/>
                <a:gd name="T10" fmla="*/ 23 w 57"/>
                <a:gd name="T11" fmla="*/ 23 h 36"/>
                <a:gd name="T12" fmla="*/ 26 w 57"/>
                <a:gd name="T13" fmla="*/ 29 h 36"/>
                <a:gd name="T14" fmla="*/ 26 w 57"/>
                <a:gd name="T15" fmla="*/ 31 h 36"/>
                <a:gd name="T16" fmla="*/ 29 w 57"/>
                <a:gd name="T17" fmla="*/ 31 h 36"/>
                <a:gd name="T18" fmla="*/ 31 w 57"/>
                <a:gd name="T19" fmla="*/ 31 h 36"/>
                <a:gd name="T20" fmla="*/ 34 w 57"/>
                <a:gd name="T21" fmla="*/ 31 h 36"/>
                <a:gd name="T22" fmla="*/ 36 w 57"/>
                <a:gd name="T23" fmla="*/ 34 h 36"/>
                <a:gd name="T24" fmla="*/ 42 w 57"/>
                <a:gd name="T25" fmla="*/ 34 h 36"/>
                <a:gd name="T26" fmla="*/ 42 w 57"/>
                <a:gd name="T27" fmla="*/ 36 h 36"/>
                <a:gd name="T28" fmla="*/ 42 w 57"/>
                <a:gd name="T29" fmla="*/ 34 h 36"/>
                <a:gd name="T30" fmla="*/ 42 w 57"/>
                <a:gd name="T31" fmla="*/ 34 h 36"/>
                <a:gd name="T32" fmla="*/ 42 w 57"/>
                <a:gd name="T33" fmla="*/ 34 h 36"/>
                <a:gd name="T34" fmla="*/ 47 w 57"/>
                <a:gd name="T35" fmla="*/ 36 h 36"/>
                <a:gd name="T36" fmla="*/ 49 w 57"/>
                <a:gd name="T37" fmla="*/ 36 h 36"/>
                <a:gd name="T38" fmla="*/ 52 w 57"/>
                <a:gd name="T39" fmla="*/ 34 h 36"/>
                <a:gd name="T40" fmla="*/ 54 w 57"/>
                <a:gd name="T41" fmla="*/ 31 h 36"/>
                <a:gd name="T42" fmla="*/ 54 w 57"/>
                <a:gd name="T43" fmla="*/ 29 h 36"/>
                <a:gd name="T44" fmla="*/ 54 w 57"/>
                <a:gd name="T45" fmla="*/ 26 h 36"/>
                <a:gd name="T46" fmla="*/ 54 w 57"/>
                <a:gd name="T47" fmla="*/ 23 h 36"/>
                <a:gd name="T48" fmla="*/ 57 w 57"/>
                <a:gd name="T49" fmla="*/ 21 h 36"/>
                <a:gd name="T50" fmla="*/ 54 w 57"/>
                <a:gd name="T51" fmla="*/ 21 h 36"/>
                <a:gd name="T52" fmla="*/ 52 w 57"/>
                <a:gd name="T53" fmla="*/ 18 h 36"/>
                <a:gd name="T54" fmla="*/ 54 w 57"/>
                <a:gd name="T55" fmla="*/ 18 h 36"/>
                <a:gd name="T56" fmla="*/ 54 w 57"/>
                <a:gd name="T57" fmla="*/ 13 h 36"/>
                <a:gd name="T58" fmla="*/ 49 w 57"/>
                <a:gd name="T59" fmla="*/ 13 h 36"/>
                <a:gd name="T60" fmla="*/ 47 w 57"/>
                <a:gd name="T61" fmla="*/ 16 h 36"/>
                <a:gd name="T62" fmla="*/ 42 w 57"/>
                <a:gd name="T63" fmla="*/ 16 h 36"/>
                <a:gd name="T64" fmla="*/ 39 w 57"/>
                <a:gd name="T65" fmla="*/ 10 h 36"/>
                <a:gd name="T66" fmla="*/ 39 w 57"/>
                <a:gd name="T67" fmla="*/ 10 h 36"/>
                <a:gd name="T68" fmla="*/ 36 w 57"/>
                <a:gd name="T69" fmla="*/ 10 h 36"/>
                <a:gd name="T70" fmla="*/ 34 w 57"/>
                <a:gd name="T71" fmla="*/ 10 h 36"/>
                <a:gd name="T72" fmla="*/ 29 w 57"/>
                <a:gd name="T73" fmla="*/ 10 h 36"/>
                <a:gd name="T74" fmla="*/ 29 w 57"/>
                <a:gd name="T75" fmla="*/ 8 h 36"/>
                <a:gd name="T76" fmla="*/ 29 w 57"/>
                <a:gd name="T77" fmla="*/ 8 h 36"/>
                <a:gd name="T78" fmla="*/ 26 w 57"/>
                <a:gd name="T79" fmla="*/ 8 h 36"/>
                <a:gd name="T80" fmla="*/ 23 w 57"/>
                <a:gd name="T81" fmla="*/ 8 h 36"/>
                <a:gd name="T82" fmla="*/ 23 w 57"/>
                <a:gd name="T83" fmla="*/ 8 h 36"/>
                <a:gd name="T84" fmla="*/ 21 w 57"/>
                <a:gd name="T85" fmla="*/ 8 h 36"/>
                <a:gd name="T86" fmla="*/ 18 w 57"/>
                <a:gd name="T87" fmla="*/ 5 h 36"/>
                <a:gd name="T88" fmla="*/ 18 w 57"/>
                <a:gd name="T89" fmla="*/ 5 h 36"/>
                <a:gd name="T90" fmla="*/ 16 w 57"/>
                <a:gd name="T91" fmla="*/ 5 h 36"/>
                <a:gd name="T92" fmla="*/ 13 w 57"/>
                <a:gd name="T93" fmla="*/ 5 h 36"/>
                <a:gd name="T94" fmla="*/ 10 w 57"/>
                <a:gd name="T95" fmla="*/ 5 h 36"/>
                <a:gd name="T96" fmla="*/ 10 w 57"/>
                <a:gd name="T97" fmla="*/ 5 h 36"/>
                <a:gd name="T98" fmla="*/ 10 w 57"/>
                <a:gd name="T99" fmla="*/ 3 h 36"/>
                <a:gd name="T100" fmla="*/ 13 w 57"/>
                <a:gd name="T101" fmla="*/ 3 h 36"/>
                <a:gd name="T102" fmla="*/ 8 w 57"/>
                <a:gd name="T103" fmla="*/ 3 h 36"/>
                <a:gd name="T104" fmla="*/ 3 w 57"/>
                <a:gd name="T10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3" y="3"/>
                  </a:lnTo>
                  <a:lnTo>
                    <a:pt x="5" y="5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9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7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2" y="21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9" y="13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7" name="Freeform 87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5 w 57"/>
                <a:gd name="T1" fmla="*/ 5 h 36"/>
                <a:gd name="T2" fmla="*/ 13 w 57"/>
                <a:gd name="T3" fmla="*/ 8 h 36"/>
                <a:gd name="T4" fmla="*/ 16 w 57"/>
                <a:gd name="T5" fmla="*/ 10 h 36"/>
                <a:gd name="T6" fmla="*/ 18 w 57"/>
                <a:gd name="T7" fmla="*/ 18 h 36"/>
                <a:gd name="T8" fmla="*/ 21 w 57"/>
                <a:gd name="T9" fmla="*/ 21 h 36"/>
                <a:gd name="T10" fmla="*/ 23 w 57"/>
                <a:gd name="T11" fmla="*/ 23 h 36"/>
                <a:gd name="T12" fmla="*/ 26 w 57"/>
                <a:gd name="T13" fmla="*/ 29 h 36"/>
                <a:gd name="T14" fmla="*/ 26 w 57"/>
                <a:gd name="T15" fmla="*/ 31 h 36"/>
                <a:gd name="T16" fmla="*/ 29 w 57"/>
                <a:gd name="T17" fmla="*/ 31 h 36"/>
                <a:gd name="T18" fmla="*/ 31 w 57"/>
                <a:gd name="T19" fmla="*/ 31 h 36"/>
                <a:gd name="T20" fmla="*/ 34 w 57"/>
                <a:gd name="T21" fmla="*/ 31 h 36"/>
                <a:gd name="T22" fmla="*/ 36 w 57"/>
                <a:gd name="T23" fmla="*/ 34 h 36"/>
                <a:gd name="T24" fmla="*/ 42 w 57"/>
                <a:gd name="T25" fmla="*/ 34 h 36"/>
                <a:gd name="T26" fmla="*/ 42 w 57"/>
                <a:gd name="T27" fmla="*/ 36 h 36"/>
                <a:gd name="T28" fmla="*/ 42 w 57"/>
                <a:gd name="T29" fmla="*/ 34 h 36"/>
                <a:gd name="T30" fmla="*/ 42 w 57"/>
                <a:gd name="T31" fmla="*/ 34 h 36"/>
                <a:gd name="T32" fmla="*/ 42 w 57"/>
                <a:gd name="T33" fmla="*/ 34 h 36"/>
                <a:gd name="T34" fmla="*/ 47 w 57"/>
                <a:gd name="T35" fmla="*/ 36 h 36"/>
                <a:gd name="T36" fmla="*/ 49 w 57"/>
                <a:gd name="T37" fmla="*/ 36 h 36"/>
                <a:gd name="T38" fmla="*/ 52 w 57"/>
                <a:gd name="T39" fmla="*/ 34 h 36"/>
                <a:gd name="T40" fmla="*/ 54 w 57"/>
                <a:gd name="T41" fmla="*/ 31 h 36"/>
                <a:gd name="T42" fmla="*/ 54 w 57"/>
                <a:gd name="T43" fmla="*/ 29 h 36"/>
                <a:gd name="T44" fmla="*/ 54 w 57"/>
                <a:gd name="T45" fmla="*/ 26 h 36"/>
                <a:gd name="T46" fmla="*/ 54 w 57"/>
                <a:gd name="T47" fmla="*/ 23 h 36"/>
                <a:gd name="T48" fmla="*/ 57 w 57"/>
                <a:gd name="T49" fmla="*/ 21 h 36"/>
                <a:gd name="T50" fmla="*/ 54 w 57"/>
                <a:gd name="T51" fmla="*/ 21 h 36"/>
                <a:gd name="T52" fmla="*/ 52 w 57"/>
                <a:gd name="T53" fmla="*/ 18 h 36"/>
                <a:gd name="T54" fmla="*/ 54 w 57"/>
                <a:gd name="T55" fmla="*/ 18 h 36"/>
                <a:gd name="T56" fmla="*/ 54 w 57"/>
                <a:gd name="T57" fmla="*/ 13 h 36"/>
                <a:gd name="T58" fmla="*/ 49 w 57"/>
                <a:gd name="T59" fmla="*/ 13 h 36"/>
                <a:gd name="T60" fmla="*/ 47 w 57"/>
                <a:gd name="T61" fmla="*/ 16 h 36"/>
                <a:gd name="T62" fmla="*/ 42 w 57"/>
                <a:gd name="T63" fmla="*/ 16 h 36"/>
                <a:gd name="T64" fmla="*/ 39 w 57"/>
                <a:gd name="T65" fmla="*/ 10 h 36"/>
                <a:gd name="T66" fmla="*/ 39 w 57"/>
                <a:gd name="T67" fmla="*/ 10 h 36"/>
                <a:gd name="T68" fmla="*/ 36 w 57"/>
                <a:gd name="T69" fmla="*/ 10 h 36"/>
                <a:gd name="T70" fmla="*/ 34 w 57"/>
                <a:gd name="T71" fmla="*/ 10 h 36"/>
                <a:gd name="T72" fmla="*/ 29 w 57"/>
                <a:gd name="T73" fmla="*/ 10 h 36"/>
                <a:gd name="T74" fmla="*/ 29 w 57"/>
                <a:gd name="T75" fmla="*/ 8 h 36"/>
                <a:gd name="T76" fmla="*/ 29 w 57"/>
                <a:gd name="T77" fmla="*/ 8 h 36"/>
                <a:gd name="T78" fmla="*/ 26 w 57"/>
                <a:gd name="T79" fmla="*/ 8 h 36"/>
                <a:gd name="T80" fmla="*/ 23 w 57"/>
                <a:gd name="T81" fmla="*/ 8 h 36"/>
                <a:gd name="T82" fmla="*/ 23 w 57"/>
                <a:gd name="T83" fmla="*/ 8 h 36"/>
                <a:gd name="T84" fmla="*/ 21 w 57"/>
                <a:gd name="T85" fmla="*/ 8 h 36"/>
                <a:gd name="T86" fmla="*/ 18 w 57"/>
                <a:gd name="T87" fmla="*/ 5 h 36"/>
                <a:gd name="T88" fmla="*/ 18 w 57"/>
                <a:gd name="T89" fmla="*/ 5 h 36"/>
                <a:gd name="T90" fmla="*/ 16 w 57"/>
                <a:gd name="T91" fmla="*/ 5 h 36"/>
                <a:gd name="T92" fmla="*/ 13 w 57"/>
                <a:gd name="T93" fmla="*/ 5 h 36"/>
                <a:gd name="T94" fmla="*/ 10 w 57"/>
                <a:gd name="T95" fmla="*/ 5 h 36"/>
                <a:gd name="T96" fmla="*/ 10 w 57"/>
                <a:gd name="T97" fmla="*/ 5 h 36"/>
                <a:gd name="T98" fmla="*/ 10 w 57"/>
                <a:gd name="T99" fmla="*/ 3 h 36"/>
                <a:gd name="T100" fmla="*/ 13 w 57"/>
                <a:gd name="T101" fmla="*/ 3 h 36"/>
                <a:gd name="T102" fmla="*/ 8 w 57"/>
                <a:gd name="T103" fmla="*/ 3 h 36"/>
                <a:gd name="T104" fmla="*/ 3 w 57"/>
                <a:gd name="T10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3" y="3"/>
                  </a:lnTo>
                  <a:lnTo>
                    <a:pt x="5" y="5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9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7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2" y="21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9" y="13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8" name="Freeform 88"/>
            <p:cNvSpPr>
              <a:spLocks noEditPoints="1"/>
            </p:cNvSpPr>
            <p:nvPr/>
          </p:nvSpPr>
          <p:spPr bwMode="auto">
            <a:xfrm>
              <a:off x="842" y="2532"/>
              <a:ext cx="551" cy="467"/>
            </a:xfrm>
            <a:custGeom>
              <a:avLst/>
              <a:gdLst>
                <a:gd name="T0" fmla="*/ 530 w 551"/>
                <a:gd name="T1" fmla="*/ 156 h 467"/>
                <a:gd name="T2" fmla="*/ 499 w 551"/>
                <a:gd name="T3" fmla="*/ 133 h 467"/>
                <a:gd name="T4" fmla="*/ 468 w 551"/>
                <a:gd name="T5" fmla="*/ 115 h 467"/>
                <a:gd name="T6" fmla="*/ 409 w 551"/>
                <a:gd name="T7" fmla="*/ 94 h 467"/>
                <a:gd name="T8" fmla="*/ 375 w 551"/>
                <a:gd name="T9" fmla="*/ 91 h 467"/>
                <a:gd name="T10" fmla="*/ 352 w 551"/>
                <a:gd name="T11" fmla="*/ 89 h 467"/>
                <a:gd name="T12" fmla="*/ 315 w 551"/>
                <a:gd name="T13" fmla="*/ 50 h 467"/>
                <a:gd name="T14" fmla="*/ 233 w 551"/>
                <a:gd name="T15" fmla="*/ 19 h 467"/>
                <a:gd name="T16" fmla="*/ 204 w 551"/>
                <a:gd name="T17" fmla="*/ 42 h 467"/>
                <a:gd name="T18" fmla="*/ 222 w 551"/>
                <a:gd name="T19" fmla="*/ 78 h 467"/>
                <a:gd name="T20" fmla="*/ 207 w 551"/>
                <a:gd name="T21" fmla="*/ 96 h 467"/>
                <a:gd name="T22" fmla="*/ 202 w 551"/>
                <a:gd name="T23" fmla="*/ 73 h 467"/>
                <a:gd name="T24" fmla="*/ 163 w 551"/>
                <a:gd name="T25" fmla="*/ 91 h 467"/>
                <a:gd name="T26" fmla="*/ 152 w 551"/>
                <a:gd name="T27" fmla="*/ 45 h 467"/>
                <a:gd name="T28" fmla="*/ 57 w 551"/>
                <a:gd name="T29" fmla="*/ 60 h 467"/>
                <a:gd name="T30" fmla="*/ 41 w 551"/>
                <a:gd name="T31" fmla="*/ 86 h 467"/>
                <a:gd name="T32" fmla="*/ 82 w 551"/>
                <a:gd name="T33" fmla="*/ 125 h 467"/>
                <a:gd name="T34" fmla="*/ 64 w 551"/>
                <a:gd name="T35" fmla="*/ 138 h 467"/>
                <a:gd name="T36" fmla="*/ 46 w 551"/>
                <a:gd name="T37" fmla="*/ 210 h 467"/>
                <a:gd name="T38" fmla="*/ 7 w 551"/>
                <a:gd name="T39" fmla="*/ 242 h 467"/>
                <a:gd name="T40" fmla="*/ 36 w 551"/>
                <a:gd name="T41" fmla="*/ 265 h 467"/>
                <a:gd name="T42" fmla="*/ 72 w 551"/>
                <a:gd name="T43" fmla="*/ 296 h 467"/>
                <a:gd name="T44" fmla="*/ 106 w 551"/>
                <a:gd name="T45" fmla="*/ 270 h 467"/>
                <a:gd name="T46" fmla="*/ 142 w 551"/>
                <a:gd name="T47" fmla="*/ 280 h 467"/>
                <a:gd name="T48" fmla="*/ 142 w 551"/>
                <a:gd name="T49" fmla="*/ 304 h 467"/>
                <a:gd name="T50" fmla="*/ 139 w 551"/>
                <a:gd name="T51" fmla="*/ 327 h 467"/>
                <a:gd name="T52" fmla="*/ 168 w 551"/>
                <a:gd name="T53" fmla="*/ 330 h 467"/>
                <a:gd name="T54" fmla="*/ 196 w 551"/>
                <a:gd name="T55" fmla="*/ 322 h 467"/>
                <a:gd name="T56" fmla="*/ 202 w 551"/>
                <a:gd name="T57" fmla="*/ 283 h 467"/>
                <a:gd name="T58" fmla="*/ 196 w 551"/>
                <a:gd name="T59" fmla="*/ 265 h 467"/>
                <a:gd name="T60" fmla="*/ 227 w 551"/>
                <a:gd name="T61" fmla="*/ 255 h 467"/>
                <a:gd name="T62" fmla="*/ 246 w 551"/>
                <a:gd name="T63" fmla="*/ 275 h 467"/>
                <a:gd name="T64" fmla="*/ 277 w 551"/>
                <a:gd name="T65" fmla="*/ 260 h 467"/>
                <a:gd name="T66" fmla="*/ 264 w 551"/>
                <a:gd name="T67" fmla="*/ 286 h 467"/>
                <a:gd name="T68" fmla="*/ 266 w 551"/>
                <a:gd name="T69" fmla="*/ 312 h 467"/>
                <a:gd name="T70" fmla="*/ 277 w 551"/>
                <a:gd name="T71" fmla="*/ 319 h 467"/>
                <a:gd name="T72" fmla="*/ 284 w 551"/>
                <a:gd name="T73" fmla="*/ 343 h 467"/>
                <a:gd name="T74" fmla="*/ 300 w 551"/>
                <a:gd name="T75" fmla="*/ 363 h 467"/>
                <a:gd name="T76" fmla="*/ 302 w 551"/>
                <a:gd name="T77" fmla="*/ 389 h 467"/>
                <a:gd name="T78" fmla="*/ 321 w 551"/>
                <a:gd name="T79" fmla="*/ 408 h 467"/>
                <a:gd name="T80" fmla="*/ 328 w 551"/>
                <a:gd name="T81" fmla="*/ 420 h 467"/>
                <a:gd name="T82" fmla="*/ 323 w 551"/>
                <a:gd name="T83" fmla="*/ 454 h 467"/>
                <a:gd name="T84" fmla="*/ 346 w 551"/>
                <a:gd name="T85" fmla="*/ 465 h 467"/>
                <a:gd name="T86" fmla="*/ 349 w 551"/>
                <a:gd name="T87" fmla="*/ 452 h 467"/>
                <a:gd name="T88" fmla="*/ 362 w 551"/>
                <a:gd name="T89" fmla="*/ 446 h 467"/>
                <a:gd name="T90" fmla="*/ 388 w 551"/>
                <a:gd name="T91" fmla="*/ 444 h 467"/>
                <a:gd name="T92" fmla="*/ 414 w 551"/>
                <a:gd name="T93" fmla="*/ 423 h 467"/>
                <a:gd name="T94" fmla="*/ 445 w 551"/>
                <a:gd name="T95" fmla="*/ 415 h 467"/>
                <a:gd name="T96" fmla="*/ 440 w 551"/>
                <a:gd name="T97" fmla="*/ 379 h 467"/>
                <a:gd name="T98" fmla="*/ 442 w 551"/>
                <a:gd name="T99" fmla="*/ 348 h 467"/>
                <a:gd name="T100" fmla="*/ 481 w 551"/>
                <a:gd name="T101" fmla="*/ 330 h 467"/>
                <a:gd name="T102" fmla="*/ 491 w 551"/>
                <a:gd name="T103" fmla="*/ 299 h 467"/>
                <a:gd name="T104" fmla="*/ 494 w 551"/>
                <a:gd name="T105" fmla="*/ 278 h 467"/>
                <a:gd name="T106" fmla="*/ 478 w 551"/>
                <a:gd name="T107" fmla="*/ 239 h 467"/>
                <a:gd name="T108" fmla="*/ 460 w 551"/>
                <a:gd name="T109" fmla="*/ 210 h 467"/>
                <a:gd name="T110" fmla="*/ 481 w 551"/>
                <a:gd name="T111" fmla="*/ 190 h 467"/>
                <a:gd name="T112" fmla="*/ 530 w 551"/>
                <a:gd name="T113" fmla="*/ 185 h 467"/>
                <a:gd name="T114" fmla="*/ 13 w 551"/>
                <a:gd name="T115" fmla="*/ 60 h 467"/>
                <a:gd name="T116" fmla="*/ 62 w 551"/>
                <a:gd name="T117" fmla="*/ 42 h 467"/>
                <a:gd name="T118" fmla="*/ 93 w 551"/>
                <a:gd name="T119" fmla="*/ 42 h 467"/>
                <a:gd name="T120" fmla="*/ 38 w 551"/>
                <a:gd name="T121" fmla="*/ 50 h 467"/>
                <a:gd name="T122" fmla="*/ 82 w 551"/>
                <a:gd name="T123" fmla="*/ 42 h 467"/>
                <a:gd name="T124" fmla="*/ 28 w 551"/>
                <a:gd name="T125" fmla="*/ 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1" h="467">
                  <a:moveTo>
                    <a:pt x="202" y="0"/>
                  </a:moveTo>
                  <a:lnTo>
                    <a:pt x="199" y="0"/>
                  </a:lnTo>
                  <a:lnTo>
                    <a:pt x="199" y="0"/>
                  </a:lnTo>
                  <a:lnTo>
                    <a:pt x="196" y="0"/>
                  </a:lnTo>
                  <a:lnTo>
                    <a:pt x="196" y="3"/>
                  </a:lnTo>
                  <a:lnTo>
                    <a:pt x="196" y="3"/>
                  </a:lnTo>
                  <a:lnTo>
                    <a:pt x="199" y="3"/>
                  </a:lnTo>
                  <a:lnTo>
                    <a:pt x="199" y="0"/>
                  </a:lnTo>
                  <a:lnTo>
                    <a:pt x="202" y="0"/>
                  </a:lnTo>
                  <a:lnTo>
                    <a:pt x="202" y="0"/>
                  </a:lnTo>
                  <a:close/>
                  <a:moveTo>
                    <a:pt x="207" y="6"/>
                  </a:moveTo>
                  <a:lnTo>
                    <a:pt x="204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4" y="8"/>
                  </a:lnTo>
                  <a:lnTo>
                    <a:pt x="204" y="8"/>
                  </a:lnTo>
                  <a:lnTo>
                    <a:pt x="207" y="8"/>
                  </a:lnTo>
                  <a:lnTo>
                    <a:pt x="207" y="8"/>
                  </a:lnTo>
                  <a:lnTo>
                    <a:pt x="207" y="8"/>
                  </a:lnTo>
                  <a:lnTo>
                    <a:pt x="207" y="6"/>
                  </a:lnTo>
                  <a:lnTo>
                    <a:pt x="207" y="6"/>
                  </a:lnTo>
                  <a:close/>
                  <a:moveTo>
                    <a:pt x="551" y="161"/>
                  </a:moveTo>
                  <a:lnTo>
                    <a:pt x="551" y="161"/>
                  </a:lnTo>
                  <a:lnTo>
                    <a:pt x="548" y="161"/>
                  </a:lnTo>
                  <a:lnTo>
                    <a:pt x="546" y="159"/>
                  </a:lnTo>
                  <a:lnTo>
                    <a:pt x="546" y="159"/>
                  </a:lnTo>
                  <a:lnTo>
                    <a:pt x="543" y="159"/>
                  </a:lnTo>
                  <a:lnTo>
                    <a:pt x="543" y="159"/>
                  </a:lnTo>
                  <a:lnTo>
                    <a:pt x="543" y="161"/>
                  </a:lnTo>
                  <a:lnTo>
                    <a:pt x="543" y="161"/>
                  </a:lnTo>
                  <a:lnTo>
                    <a:pt x="541" y="159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5" y="156"/>
                  </a:lnTo>
                  <a:lnTo>
                    <a:pt x="535" y="156"/>
                  </a:lnTo>
                  <a:lnTo>
                    <a:pt x="533" y="156"/>
                  </a:lnTo>
                  <a:lnTo>
                    <a:pt x="530" y="156"/>
                  </a:lnTo>
                  <a:lnTo>
                    <a:pt x="530" y="156"/>
                  </a:lnTo>
                  <a:lnTo>
                    <a:pt x="528" y="159"/>
                  </a:lnTo>
                  <a:lnTo>
                    <a:pt x="525" y="159"/>
                  </a:lnTo>
                  <a:lnTo>
                    <a:pt x="522" y="159"/>
                  </a:lnTo>
                  <a:lnTo>
                    <a:pt x="522" y="159"/>
                  </a:lnTo>
                  <a:lnTo>
                    <a:pt x="520" y="156"/>
                  </a:lnTo>
                  <a:lnTo>
                    <a:pt x="520" y="153"/>
                  </a:lnTo>
                  <a:lnTo>
                    <a:pt x="517" y="153"/>
                  </a:lnTo>
                  <a:lnTo>
                    <a:pt x="517" y="153"/>
                  </a:lnTo>
                  <a:lnTo>
                    <a:pt x="517" y="153"/>
                  </a:lnTo>
                  <a:lnTo>
                    <a:pt x="515" y="151"/>
                  </a:lnTo>
                  <a:lnTo>
                    <a:pt x="515" y="148"/>
                  </a:lnTo>
                  <a:lnTo>
                    <a:pt x="515" y="148"/>
                  </a:lnTo>
                  <a:lnTo>
                    <a:pt x="515" y="148"/>
                  </a:lnTo>
                  <a:lnTo>
                    <a:pt x="515" y="146"/>
                  </a:lnTo>
                  <a:lnTo>
                    <a:pt x="512" y="146"/>
                  </a:lnTo>
                  <a:lnTo>
                    <a:pt x="510" y="143"/>
                  </a:lnTo>
                  <a:lnTo>
                    <a:pt x="510" y="143"/>
                  </a:lnTo>
                  <a:lnTo>
                    <a:pt x="507" y="143"/>
                  </a:lnTo>
                  <a:lnTo>
                    <a:pt x="504" y="143"/>
                  </a:lnTo>
                  <a:lnTo>
                    <a:pt x="504" y="143"/>
                  </a:lnTo>
                  <a:lnTo>
                    <a:pt x="504" y="143"/>
                  </a:lnTo>
                  <a:lnTo>
                    <a:pt x="504" y="140"/>
                  </a:lnTo>
                  <a:lnTo>
                    <a:pt x="504" y="140"/>
                  </a:lnTo>
                  <a:lnTo>
                    <a:pt x="504" y="140"/>
                  </a:lnTo>
                  <a:lnTo>
                    <a:pt x="507" y="138"/>
                  </a:lnTo>
                  <a:lnTo>
                    <a:pt x="507" y="138"/>
                  </a:lnTo>
                  <a:lnTo>
                    <a:pt x="507" y="138"/>
                  </a:lnTo>
                  <a:lnTo>
                    <a:pt x="504" y="135"/>
                  </a:lnTo>
                  <a:lnTo>
                    <a:pt x="504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499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2" y="133"/>
                  </a:lnTo>
                  <a:lnTo>
                    <a:pt x="502" y="133"/>
                  </a:lnTo>
                  <a:lnTo>
                    <a:pt x="499" y="133"/>
                  </a:lnTo>
                  <a:lnTo>
                    <a:pt x="499" y="133"/>
                  </a:lnTo>
                  <a:lnTo>
                    <a:pt x="499" y="133"/>
                  </a:lnTo>
                  <a:lnTo>
                    <a:pt x="497" y="133"/>
                  </a:lnTo>
                  <a:lnTo>
                    <a:pt x="494" y="130"/>
                  </a:lnTo>
                  <a:lnTo>
                    <a:pt x="491" y="128"/>
                  </a:lnTo>
                  <a:lnTo>
                    <a:pt x="491" y="125"/>
                  </a:lnTo>
                  <a:lnTo>
                    <a:pt x="491" y="125"/>
                  </a:lnTo>
                  <a:lnTo>
                    <a:pt x="491" y="122"/>
                  </a:lnTo>
                  <a:lnTo>
                    <a:pt x="489" y="120"/>
                  </a:lnTo>
                  <a:lnTo>
                    <a:pt x="489" y="120"/>
                  </a:lnTo>
                  <a:lnTo>
                    <a:pt x="486" y="120"/>
                  </a:lnTo>
                  <a:lnTo>
                    <a:pt x="486" y="120"/>
                  </a:lnTo>
                  <a:lnTo>
                    <a:pt x="486" y="117"/>
                  </a:lnTo>
                  <a:lnTo>
                    <a:pt x="486" y="117"/>
                  </a:lnTo>
                  <a:lnTo>
                    <a:pt x="486" y="115"/>
                  </a:lnTo>
                  <a:lnTo>
                    <a:pt x="484" y="115"/>
                  </a:lnTo>
                  <a:lnTo>
                    <a:pt x="484" y="112"/>
                  </a:lnTo>
                  <a:lnTo>
                    <a:pt x="484" y="112"/>
                  </a:lnTo>
                  <a:lnTo>
                    <a:pt x="484" y="109"/>
                  </a:lnTo>
                  <a:lnTo>
                    <a:pt x="484" y="109"/>
                  </a:lnTo>
                  <a:lnTo>
                    <a:pt x="481" y="109"/>
                  </a:lnTo>
                  <a:lnTo>
                    <a:pt x="481" y="109"/>
                  </a:lnTo>
                  <a:lnTo>
                    <a:pt x="478" y="109"/>
                  </a:lnTo>
                  <a:lnTo>
                    <a:pt x="478" y="109"/>
                  </a:lnTo>
                  <a:lnTo>
                    <a:pt x="478" y="109"/>
                  </a:lnTo>
                  <a:lnTo>
                    <a:pt x="476" y="107"/>
                  </a:lnTo>
                  <a:lnTo>
                    <a:pt x="476" y="107"/>
                  </a:lnTo>
                  <a:lnTo>
                    <a:pt x="476" y="109"/>
                  </a:lnTo>
                  <a:lnTo>
                    <a:pt x="473" y="109"/>
                  </a:lnTo>
                  <a:lnTo>
                    <a:pt x="473" y="109"/>
                  </a:lnTo>
                  <a:lnTo>
                    <a:pt x="471" y="109"/>
                  </a:lnTo>
                  <a:lnTo>
                    <a:pt x="473" y="112"/>
                  </a:lnTo>
                  <a:lnTo>
                    <a:pt x="473" y="112"/>
                  </a:lnTo>
                  <a:lnTo>
                    <a:pt x="473" y="112"/>
                  </a:lnTo>
                  <a:lnTo>
                    <a:pt x="471" y="112"/>
                  </a:lnTo>
                  <a:lnTo>
                    <a:pt x="471" y="112"/>
                  </a:lnTo>
                  <a:lnTo>
                    <a:pt x="471" y="112"/>
                  </a:lnTo>
                  <a:lnTo>
                    <a:pt x="468" y="115"/>
                  </a:lnTo>
                  <a:lnTo>
                    <a:pt x="468" y="115"/>
                  </a:lnTo>
                  <a:lnTo>
                    <a:pt x="468" y="115"/>
                  </a:lnTo>
                  <a:lnTo>
                    <a:pt x="468" y="115"/>
                  </a:lnTo>
                  <a:lnTo>
                    <a:pt x="468" y="115"/>
                  </a:lnTo>
                  <a:lnTo>
                    <a:pt x="466" y="115"/>
                  </a:lnTo>
                  <a:lnTo>
                    <a:pt x="466" y="115"/>
                  </a:lnTo>
                  <a:lnTo>
                    <a:pt x="466" y="115"/>
                  </a:lnTo>
                  <a:lnTo>
                    <a:pt x="463" y="112"/>
                  </a:lnTo>
                  <a:lnTo>
                    <a:pt x="463" y="112"/>
                  </a:lnTo>
                  <a:lnTo>
                    <a:pt x="458" y="109"/>
                  </a:lnTo>
                  <a:lnTo>
                    <a:pt x="458" y="109"/>
                  </a:lnTo>
                  <a:lnTo>
                    <a:pt x="458" y="109"/>
                  </a:lnTo>
                  <a:lnTo>
                    <a:pt x="458" y="109"/>
                  </a:lnTo>
                  <a:lnTo>
                    <a:pt x="455" y="109"/>
                  </a:lnTo>
                  <a:lnTo>
                    <a:pt x="455" y="109"/>
                  </a:lnTo>
                  <a:lnTo>
                    <a:pt x="455" y="107"/>
                  </a:lnTo>
                  <a:lnTo>
                    <a:pt x="453" y="104"/>
                  </a:lnTo>
                  <a:lnTo>
                    <a:pt x="453" y="104"/>
                  </a:lnTo>
                  <a:lnTo>
                    <a:pt x="453" y="104"/>
                  </a:lnTo>
                  <a:lnTo>
                    <a:pt x="450" y="102"/>
                  </a:lnTo>
                  <a:lnTo>
                    <a:pt x="445" y="104"/>
                  </a:lnTo>
                  <a:lnTo>
                    <a:pt x="442" y="104"/>
                  </a:lnTo>
                  <a:lnTo>
                    <a:pt x="440" y="104"/>
                  </a:lnTo>
                  <a:lnTo>
                    <a:pt x="437" y="104"/>
                  </a:lnTo>
                  <a:lnTo>
                    <a:pt x="437" y="104"/>
                  </a:lnTo>
                  <a:lnTo>
                    <a:pt x="437" y="104"/>
                  </a:lnTo>
                  <a:lnTo>
                    <a:pt x="434" y="104"/>
                  </a:lnTo>
                  <a:lnTo>
                    <a:pt x="432" y="104"/>
                  </a:lnTo>
                  <a:lnTo>
                    <a:pt x="429" y="104"/>
                  </a:lnTo>
                  <a:lnTo>
                    <a:pt x="427" y="102"/>
                  </a:lnTo>
                  <a:lnTo>
                    <a:pt x="422" y="102"/>
                  </a:lnTo>
                  <a:lnTo>
                    <a:pt x="416" y="96"/>
                  </a:lnTo>
                  <a:lnTo>
                    <a:pt x="416" y="94"/>
                  </a:lnTo>
                  <a:lnTo>
                    <a:pt x="414" y="94"/>
                  </a:lnTo>
                  <a:lnTo>
                    <a:pt x="411" y="94"/>
                  </a:lnTo>
                  <a:lnTo>
                    <a:pt x="411" y="94"/>
                  </a:lnTo>
                  <a:lnTo>
                    <a:pt x="409" y="94"/>
                  </a:lnTo>
                  <a:lnTo>
                    <a:pt x="409" y="94"/>
                  </a:lnTo>
                  <a:lnTo>
                    <a:pt x="409" y="91"/>
                  </a:lnTo>
                  <a:lnTo>
                    <a:pt x="409" y="91"/>
                  </a:lnTo>
                  <a:lnTo>
                    <a:pt x="406" y="91"/>
                  </a:lnTo>
                  <a:lnTo>
                    <a:pt x="406" y="94"/>
                  </a:lnTo>
                  <a:lnTo>
                    <a:pt x="406" y="94"/>
                  </a:lnTo>
                  <a:lnTo>
                    <a:pt x="406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1" y="96"/>
                  </a:lnTo>
                  <a:lnTo>
                    <a:pt x="401" y="96"/>
                  </a:lnTo>
                  <a:lnTo>
                    <a:pt x="401" y="99"/>
                  </a:lnTo>
                  <a:lnTo>
                    <a:pt x="398" y="99"/>
                  </a:lnTo>
                  <a:lnTo>
                    <a:pt x="398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3" y="99"/>
                  </a:lnTo>
                  <a:lnTo>
                    <a:pt x="393" y="99"/>
                  </a:lnTo>
                  <a:lnTo>
                    <a:pt x="390" y="99"/>
                  </a:lnTo>
                  <a:lnTo>
                    <a:pt x="390" y="96"/>
                  </a:lnTo>
                  <a:lnTo>
                    <a:pt x="390" y="94"/>
                  </a:lnTo>
                  <a:lnTo>
                    <a:pt x="388" y="94"/>
                  </a:lnTo>
                  <a:lnTo>
                    <a:pt x="385" y="94"/>
                  </a:lnTo>
                  <a:lnTo>
                    <a:pt x="385" y="94"/>
                  </a:lnTo>
                  <a:lnTo>
                    <a:pt x="385" y="94"/>
                  </a:lnTo>
                  <a:lnTo>
                    <a:pt x="383" y="91"/>
                  </a:lnTo>
                  <a:lnTo>
                    <a:pt x="383" y="89"/>
                  </a:lnTo>
                  <a:lnTo>
                    <a:pt x="380" y="89"/>
                  </a:lnTo>
                  <a:lnTo>
                    <a:pt x="380" y="86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8" y="89"/>
                  </a:lnTo>
                  <a:lnTo>
                    <a:pt x="375" y="91"/>
                  </a:lnTo>
                  <a:lnTo>
                    <a:pt x="375" y="91"/>
                  </a:lnTo>
                  <a:lnTo>
                    <a:pt x="375" y="91"/>
                  </a:lnTo>
                  <a:lnTo>
                    <a:pt x="375" y="91"/>
                  </a:lnTo>
                  <a:lnTo>
                    <a:pt x="375" y="91"/>
                  </a:lnTo>
                  <a:lnTo>
                    <a:pt x="375" y="91"/>
                  </a:lnTo>
                  <a:lnTo>
                    <a:pt x="375" y="94"/>
                  </a:lnTo>
                  <a:lnTo>
                    <a:pt x="375" y="94"/>
                  </a:lnTo>
                  <a:lnTo>
                    <a:pt x="372" y="94"/>
                  </a:lnTo>
                  <a:lnTo>
                    <a:pt x="372" y="94"/>
                  </a:lnTo>
                  <a:lnTo>
                    <a:pt x="372" y="96"/>
                  </a:lnTo>
                  <a:lnTo>
                    <a:pt x="370" y="96"/>
                  </a:lnTo>
                  <a:lnTo>
                    <a:pt x="370" y="96"/>
                  </a:lnTo>
                  <a:lnTo>
                    <a:pt x="370" y="94"/>
                  </a:lnTo>
                  <a:lnTo>
                    <a:pt x="370" y="94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1"/>
                  </a:lnTo>
                  <a:lnTo>
                    <a:pt x="365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62" y="89"/>
                  </a:lnTo>
                  <a:lnTo>
                    <a:pt x="359" y="89"/>
                  </a:lnTo>
                  <a:lnTo>
                    <a:pt x="359" y="91"/>
                  </a:lnTo>
                  <a:lnTo>
                    <a:pt x="357" y="91"/>
                  </a:lnTo>
                  <a:lnTo>
                    <a:pt x="357" y="91"/>
                  </a:lnTo>
                  <a:lnTo>
                    <a:pt x="357" y="91"/>
                  </a:lnTo>
                  <a:lnTo>
                    <a:pt x="354" y="89"/>
                  </a:lnTo>
                  <a:lnTo>
                    <a:pt x="352" y="89"/>
                  </a:lnTo>
                  <a:lnTo>
                    <a:pt x="352" y="86"/>
                  </a:lnTo>
                  <a:lnTo>
                    <a:pt x="352" y="86"/>
                  </a:lnTo>
                  <a:lnTo>
                    <a:pt x="352" y="86"/>
                  </a:lnTo>
                  <a:lnTo>
                    <a:pt x="352" y="86"/>
                  </a:lnTo>
                  <a:lnTo>
                    <a:pt x="352" y="83"/>
                  </a:lnTo>
                  <a:lnTo>
                    <a:pt x="352" y="81"/>
                  </a:lnTo>
                  <a:lnTo>
                    <a:pt x="349" y="81"/>
                  </a:lnTo>
                  <a:lnTo>
                    <a:pt x="349" y="81"/>
                  </a:lnTo>
                  <a:lnTo>
                    <a:pt x="349" y="81"/>
                  </a:lnTo>
                  <a:lnTo>
                    <a:pt x="349" y="81"/>
                  </a:lnTo>
                  <a:lnTo>
                    <a:pt x="349" y="81"/>
                  </a:lnTo>
                  <a:lnTo>
                    <a:pt x="349" y="81"/>
                  </a:lnTo>
                  <a:lnTo>
                    <a:pt x="346" y="81"/>
                  </a:lnTo>
                  <a:lnTo>
                    <a:pt x="346" y="78"/>
                  </a:lnTo>
                  <a:lnTo>
                    <a:pt x="346" y="78"/>
                  </a:lnTo>
                  <a:lnTo>
                    <a:pt x="346" y="78"/>
                  </a:lnTo>
                  <a:lnTo>
                    <a:pt x="349" y="78"/>
                  </a:lnTo>
                  <a:lnTo>
                    <a:pt x="349" y="78"/>
                  </a:lnTo>
                  <a:lnTo>
                    <a:pt x="346" y="76"/>
                  </a:lnTo>
                  <a:lnTo>
                    <a:pt x="346" y="73"/>
                  </a:lnTo>
                  <a:lnTo>
                    <a:pt x="346" y="73"/>
                  </a:lnTo>
                  <a:lnTo>
                    <a:pt x="349" y="73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4" y="73"/>
                  </a:lnTo>
                  <a:lnTo>
                    <a:pt x="341" y="73"/>
                  </a:lnTo>
                  <a:lnTo>
                    <a:pt x="341" y="73"/>
                  </a:lnTo>
                  <a:lnTo>
                    <a:pt x="339" y="73"/>
                  </a:lnTo>
                  <a:lnTo>
                    <a:pt x="336" y="73"/>
                  </a:lnTo>
                  <a:lnTo>
                    <a:pt x="336" y="70"/>
                  </a:lnTo>
                  <a:lnTo>
                    <a:pt x="334" y="68"/>
                  </a:lnTo>
                  <a:lnTo>
                    <a:pt x="331" y="68"/>
                  </a:lnTo>
                  <a:lnTo>
                    <a:pt x="328" y="68"/>
                  </a:lnTo>
                  <a:lnTo>
                    <a:pt x="323" y="65"/>
                  </a:lnTo>
                  <a:lnTo>
                    <a:pt x="323" y="63"/>
                  </a:lnTo>
                  <a:lnTo>
                    <a:pt x="321" y="58"/>
                  </a:lnTo>
                  <a:lnTo>
                    <a:pt x="318" y="55"/>
                  </a:lnTo>
                  <a:lnTo>
                    <a:pt x="315" y="50"/>
                  </a:lnTo>
                  <a:lnTo>
                    <a:pt x="313" y="47"/>
                  </a:lnTo>
                  <a:lnTo>
                    <a:pt x="310" y="45"/>
                  </a:lnTo>
                  <a:lnTo>
                    <a:pt x="308" y="42"/>
                  </a:lnTo>
                  <a:lnTo>
                    <a:pt x="305" y="39"/>
                  </a:lnTo>
                  <a:lnTo>
                    <a:pt x="305" y="39"/>
                  </a:lnTo>
                  <a:lnTo>
                    <a:pt x="305" y="37"/>
                  </a:lnTo>
                  <a:lnTo>
                    <a:pt x="302" y="34"/>
                  </a:lnTo>
                  <a:lnTo>
                    <a:pt x="300" y="29"/>
                  </a:lnTo>
                  <a:lnTo>
                    <a:pt x="300" y="29"/>
                  </a:lnTo>
                  <a:lnTo>
                    <a:pt x="297" y="26"/>
                  </a:lnTo>
                  <a:lnTo>
                    <a:pt x="297" y="24"/>
                  </a:lnTo>
                  <a:lnTo>
                    <a:pt x="295" y="21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4" y="19"/>
                  </a:lnTo>
                  <a:lnTo>
                    <a:pt x="277" y="19"/>
                  </a:lnTo>
                  <a:lnTo>
                    <a:pt x="269" y="19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4"/>
                  </a:lnTo>
                  <a:lnTo>
                    <a:pt x="264" y="24"/>
                  </a:lnTo>
                  <a:lnTo>
                    <a:pt x="261" y="24"/>
                  </a:lnTo>
                  <a:lnTo>
                    <a:pt x="261" y="21"/>
                  </a:lnTo>
                  <a:lnTo>
                    <a:pt x="258" y="21"/>
                  </a:lnTo>
                  <a:lnTo>
                    <a:pt x="256" y="21"/>
                  </a:lnTo>
                  <a:lnTo>
                    <a:pt x="253" y="24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6" y="24"/>
                  </a:lnTo>
                  <a:lnTo>
                    <a:pt x="243" y="24"/>
                  </a:lnTo>
                  <a:lnTo>
                    <a:pt x="243" y="21"/>
                  </a:lnTo>
                  <a:lnTo>
                    <a:pt x="240" y="24"/>
                  </a:lnTo>
                  <a:lnTo>
                    <a:pt x="238" y="21"/>
                  </a:lnTo>
                  <a:lnTo>
                    <a:pt x="235" y="21"/>
                  </a:lnTo>
                  <a:lnTo>
                    <a:pt x="235" y="21"/>
                  </a:lnTo>
                  <a:lnTo>
                    <a:pt x="235" y="21"/>
                  </a:lnTo>
                  <a:lnTo>
                    <a:pt x="233" y="19"/>
                  </a:lnTo>
                  <a:lnTo>
                    <a:pt x="233" y="19"/>
                  </a:lnTo>
                  <a:lnTo>
                    <a:pt x="230" y="19"/>
                  </a:lnTo>
                  <a:lnTo>
                    <a:pt x="230" y="19"/>
                  </a:lnTo>
                  <a:lnTo>
                    <a:pt x="230" y="19"/>
                  </a:lnTo>
                  <a:lnTo>
                    <a:pt x="230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1"/>
                  </a:lnTo>
                  <a:lnTo>
                    <a:pt x="222" y="13"/>
                  </a:lnTo>
                  <a:lnTo>
                    <a:pt x="220" y="13"/>
                  </a:lnTo>
                  <a:lnTo>
                    <a:pt x="220" y="13"/>
                  </a:lnTo>
                  <a:lnTo>
                    <a:pt x="217" y="13"/>
                  </a:lnTo>
                  <a:lnTo>
                    <a:pt x="217" y="13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4" y="19"/>
                  </a:lnTo>
                  <a:lnTo>
                    <a:pt x="214" y="19"/>
                  </a:lnTo>
                  <a:lnTo>
                    <a:pt x="212" y="24"/>
                  </a:lnTo>
                  <a:lnTo>
                    <a:pt x="209" y="26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7" y="34"/>
                  </a:lnTo>
                  <a:lnTo>
                    <a:pt x="207" y="37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4" y="42"/>
                  </a:lnTo>
                  <a:lnTo>
                    <a:pt x="204" y="42"/>
                  </a:lnTo>
                  <a:lnTo>
                    <a:pt x="204" y="45"/>
                  </a:lnTo>
                  <a:lnTo>
                    <a:pt x="204" y="50"/>
                  </a:lnTo>
                  <a:lnTo>
                    <a:pt x="204" y="50"/>
                  </a:lnTo>
                  <a:lnTo>
                    <a:pt x="204" y="52"/>
                  </a:lnTo>
                  <a:lnTo>
                    <a:pt x="204" y="55"/>
                  </a:lnTo>
                  <a:lnTo>
                    <a:pt x="204" y="60"/>
                  </a:lnTo>
                  <a:lnTo>
                    <a:pt x="207" y="60"/>
                  </a:lnTo>
                  <a:lnTo>
                    <a:pt x="207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4" y="65"/>
                  </a:lnTo>
                  <a:lnTo>
                    <a:pt x="217" y="65"/>
                  </a:lnTo>
                  <a:lnTo>
                    <a:pt x="217" y="65"/>
                  </a:lnTo>
                  <a:lnTo>
                    <a:pt x="217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5"/>
                  </a:lnTo>
                  <a:lnTo>
                    <a:pt x="220" y="65"/>
                  </a:lnTo>
                  <a:lnTo>
                    <a:pt x="220" y="68"/>
                  </a:lnTo>
                  <a:lnTo>
                    <a:pt x="220" y="68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0" y="81"/>
                  </a:lnTo>
                  <a:lnTo>
                    <a:pt x="220" y="81"/>
                  </a:lnTo>
                  <a:lnTo>
                    <a:pt x="220" y="81"/>
                  </a:lnTo>
                  <a:lnTo>
                    <a:pt x="220" y="83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4" y="86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2" y="83"/>
                  </a:lnTo>
                  <a:lnTo>
                    <a:pt x="214" y="83"/>
                  </a:lnTo>
                  <a:lnTo>
                    <a:pt x="214" y="81"/>
                  </a:lnTo>
                  <a:lnTo>
                    <a:pt x="214" y="81"/>
                  </a:lnTo>
                  <a:lnTo>
                    <a:pt x="212" y="81"/>
                  </a:lnTo>
                  <a:lnTo>
                    <a:pt x="212" y="81"/>
                  </a:lnTo>
                  <a:lnTo>
                    <a:pt x="212" y="81"/>
                  </a:lnTo>
                  <a:lnTo>
                    <a:pt x="209" y="81"/>
                  </a:lnTo>
                  <a:lnTo>
                    <a:pt x="209" y="81"/>
                  </a:lnTo>
                  <a:lnTo>
                    <a:pt x="207" y="81"/>
                  </a:lnTo>
                  <a:lnTo>
                    <a:pt x="207" y="83"/>
                  </a:lnTo>
                  <a:lnTo>
                    <a:pt x="207" y="86"/>
                  </a:lnTo>
                  <a:lnTo>
                    <a:pt x="207" y="89"/>
                  </a:lnTo>
                  <a:lnTo>
                    <a:pt x="204" y="91"/>
                  </a:lnTo>
                  <a:lnTo>
                    <a:pt x="204" y="94"/>
                  </a:lnTo>
                  <a:lnTo>
                    <a:pt x="207" y="96"/>
                  </a:lnTo>
                  <a:lnTo>
                    <a:pt x="207" y="99"/>
                  </a:lnTo>
                  <a:lnTo>
                    <a:pt x="207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7"/>
                  </a:lnTo>
                  <a:lnTo>
                    <a:pt x="207" y="109"/>
                  </a:lnTo>
                  <a:lnTo>
                    <a:pt x="207" y="109"/>
                  </a:lnTo>
                  <a:lnTo>
                    <a:pt x="204" y="107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4" y="99"/>
                  </a:lnTo>
                  <a:lnTo>
                    <a:pt x="204" y="96"/>
                  </a:lnTo>
                  <a:lnTo>
                    <a:pt x="204" y="91"/>
                  </a:lnTo>
                  <a:lnTo>
                    <a:pt x="204" y="89"/>
                  </a:lnTo>
                  <a:lnTo>
                    <a:pt x="204" y="86"/>
                  </a:lnTo>
                  <a:lnTo>
                    <a:pt x="204" y="83"/>
                  </a:lnTo>
                  <a:lnTo>
                    <a:pt x="204" y="83"/>
                  </a:lnTo>
                  <a:lnTo>
                    <a:pt x="207" y="81"/>
                  </a:lnTo>
                  <a:lnTo>
                    <a:pt x="207" y="78"/>
                  </a:lnTo>
                  <a:lnTo>
                    <a:pt x="209" y="78"/>
                  </a:lnTo>
                  <a:lnTo>
                    <a:pt x="209" y="78"/>
                  </a:lnTo>
                  <a:lnTo>
                    <a:pt x="212" y="78"/>
                  </a:lnTo>
                  <a:lnTo>
                    <a:pt x="212" y="76"/>
                  </a:lnTo>
                  <a:lnTo>
                    <a:pt x="212" y="76"/>
                  </a:lnTo>
                  <a:lnTo>
                    <a:pt x="209" y="76"/>
                  </a:lnTo>
                  <a:lnTo>
                    <a:pt x="209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4" y="73"/>
                  </a:lnTo>
                  <a:lnTo>
                    <a:pt x="204" y="73"/>
                  </a:lnTo>
                  <a:lnTo>
                    <a:pt x="202" y="73"/>
                  </a:lnTo>
                  <a:lnTo>
                    <a:pt x="202" y="70"/>
                  </a:lnTo>
                  <a:lnTo>
                    <a:pt x="199" y="70"/>
                  </a:lnTo>
                  <a:lnTo>
                    <a:pt x="196" y="70"/>
                  </a:lnTo>
                  <a:lnTo>
                    <a:pt x="194" y="70"/>
                  </a:lnTo>
                  <a:lnTo>
                    <a:pt x="194" y="68"/>
                  </a:lnTo>
                  <a:lnTo>
                    <a:pt x="191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6" y="60"/>
                  </a:lnTo>
                  <a:lnTo>
                    <a:pt x="183" y="60"/>
                  </a:lnTo>
                  <a:lnTo>
                    <a:pt x="181" y="60"/>
                  </a:lnTo>
                  <a:lnTo>
                    <a:pt x="181" y="63"/>
                  </a:lnTo>
                  <a:lnTo>
                    <a:pt x="178" y="63"/>
                  </a:lnTo>
                  <a:lnTo>
                    <a:pt x="178" y="65"/>
                  </a:lnTo>
                  <a:lnTo>
                    <a:pt x="176" y="70"/>
                  </a:lnTo>
                  <a:lnTo>
                    <a:pt x="176" y="78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181" y="76"/>
                  </a:lnTo>
                  <a:lnTo>
                    <a:pt x="183" y="76"/>
                  </a:lnTo>
                  <a:lnTo>
                    <a:pt x="183" y="78"/>
                  </a:lnTo>
                  <a:lnTo>
                    <a:pt x="186" y="81"/>
                  </a:lnTo>
                  <a:lnTo>
                    <a:pt x="186" y="83"/>
                  </a:lnTo>
                  <a:lnTo>
                    <a:pt x="186" y="86"/>
                  </a:lnTo>
                  <a:lnTo>
                    <a:pt x="183" y="89"/>
                  </a:lnTo>
                  <a:lnTo>
                    <a:pt x="183" y="94"/>
                  </a:lnTo>
                  <a:lnTo>
                    <a:pt x="181" y="96"/>
                  </a:lnTo>
                  <a:lnTo>
                    <a:pt x="178" y="99"/>
                  </a:lnTo>
                  <a:lnTo>
                    <a:pt x="178" y="99"/>
                  </a:lnTo>
                  <a:lnTo>
                    <a:pt x="176" y="99"/>
                  </a:lnTo>
                  <a:lnTo>
                    <a:pt x="173" y="99"/>
                  </a:lnTo>
                  <a:lnTo>
                    <a:pt x="173" y="96"/>
                  </a:lnTo>
                  <a:lnTo>
                    <a:pt x="170" y="96"/>
                  </a:lnTo>
                  <a:lnTo>
                    <a:pt x="168" y="94"/>
                  </a:lnTo>
                  <a:lnTo>
                    <a:pt x="168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3" y="91"/>
                  </a:lnTo>
                  <a:lnTo>
                    <a:pt x="160" y="91"/>
                  </a:lnTo>
                  <a:lnTo>
                    <a:pt x="160" y="91"/>
                  </a:lnTo>
                  <a:lnTo>
                    <a:pt x="158" y="89"/>
                  </a:lnTo>
                  <a:lnTo>
                    <a:pt x="158" y="86"/>
                  </a:lnTo>
                  <a:lnTo>
                    <a:pt x="158" y="83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60" y="81"/>
                  </a:lnTo>
                  <a:lnTo>
                    <a:pt x="163" y="81"/>
                  </a:lnTo>
                  <a:lnTo>
                    <a:pt x="165" y="78"/>
                  </a:lnTo>
                  <a:lnTo>
                    <a:pt x="168" y="78"/>
                  </a:lnTo>
                  <a:lnTo>
                    <a:pt x="168" y="76"/>
                  </a:lnTo>
                  <a:lnTo>
                    <a:pt x="168" y="73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3"/>
                  </a:lnTo>
                  <a:lnTo>
                    <a:pt x="168" y="70"/>
                  </a:lnTo>
                  <a:lnTo>
                    <a:pt x="165" y="68"/>
                  </a:lnTo>
                  <a:lnTo>
                    <a:pt x="163" y="65"/>
                  </a:lnTo>
                  <a:lnTo>
                    <a:pt x="163" y="63"/>
                  </a:lnTo>
                  <a:lnTo>
                    <a:pt x="163" y="60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58" y="55"/>
                  </a:lnTo>
                  <a:lnTo>
                    <a:pt x="158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5"/>
                  </a:lnTo>
                  <a:lnTo>
                    <a:pt x="152" y="52"/>
                  </a:lnTo>
                  <a:lnTo>
                    <a:pt x="152" y="50"/>
                  </a:lnTo>
                  <a:lnTo>
                    <a:pt x="152" y="47"/>
                  </a:lnTo>
                  <a:lnTo>
                    <a:pt x="152" y="47"/>
                  </a:lnTo>
                  <a:lnTo>
                    <a:pt x="152" y="47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52" y="45"/>
                  </a:lnTo>
                  <a:lnTo>
                    <a:pt x="147" y="42"/>
                  </a:lnTo>
                  <a:lnTo>
                    <a:pt x="145" y="42"/>
                  </a:lnTo>
                  <a:lnTo>
                    <a:pt x="142" y="42"/>
                  </a:lnTo>
                  <a:lnTo>
                    <a:pt x="137" y="45"/>
                  </a:lnTo>
                  <a:lnTo>
                    <a:pt x="132" y="45"/>
                  </a:lnTo>
                  <a:lnTo>
                    <a:pt x="126" y="45"/>
                  </a:lnTo>
                  <a:lnTo>
                    <a:pt x="124" y="45"/>
                  </a:lnTo>
                  <a:lnTo>
                    <a:pt x="121" y="47"/>
                  </a:lnTo>
                  <a:lnTo>
                    <a:pt x="119" y="47"/>
                  </a:lnTo>
                  <a:lnTo>
                    <a:pt x="113" y="47"/>
                  </a:lnTo>
                  <a:lnTo>
                    <a:pt x="111" y="47"/>
                  </a:lnTo>
                  <a:lnTo>
                    <a:pt x="108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98" y="50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0" y="50"/>
                  </a:lnTo>
                  <a:lnTo>
                    <a:pt x="85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77" y="50"/>
                  </a:lnTo>
                  <a:lnTo>
                    <a:pt x="72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4" y="52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59" y="55"/>
                  </a:lnTo>
                  <a:lnTo>
                    <a:pt x="59" y="58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49" y="65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51" y="70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1" y="78"/>
                  </a:lnTo>
                  <a:lnTo>
                    <a:pt x="49" y="81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4" y="78"/>
                  </a:lnTo>
                  <a:lnTo>
                    <a:pt x="44" y="81"/>
                  </a:lnTo>
                  <a:lnTo>
                    <a:pt x="41" y="83"/>
                  </a:lnTo>
                  <a:lnTo>
                    <a:pt x="41" y="86"/>
                  </a:lnTo>
                  <a:lnTo>
                    <a:pt x="38" y="91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8" y="102"/>
                  </a:lnTo>
                  <a:lnTo>
                    <a:pt x="38" y="104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09"/>
                  </a:lnTo>
                  <a:lnTo>
                    <a:pt x="41" y="109"/>
                  </a:lnTo>
                  <a:lnTo>
                    <a:pt x="44" y="109"/>
                  </a:lnTo>
                  <a:lnTo>
                    <a:pt x="44" y="109"/>
                  </a:lnTo>
                  <a:lnTo>
                    <a:pt x="54" y="109"/>
                  </a:lnTo>
                  <a:lnTo>
                    <a:pt x="62" y="109"/>
                  </a:lnTo>
                  <a:lnTo>
                    <a:pt x="64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9" y="112"/>
                  </a:lnTo>
                  <a:lnTo>
                    <a:pt x="72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7"/>
                  </a:lnTo>
                  <a:lnTo>
                    <a:pt x="80" y="117"/>
                  </a:lnTo>
                  <a:lnTo>
                    <a:pt x="80" y="117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2" y="125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2" y="122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5" y="112"/>
                  </a:lnTo>
                  <a:lnTo>
                    <a:pt x="72" y="112"/>
                  </a:lnTo>
                  <a:lnTo>
                    <a:pt x="69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2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5"/>
                  </a:lnTo>
                  <a:lnTo>
                    <a:pt x="62" y="135"/>
                  </a:lnTo>
                  <a:lnTo>
                    <a:pt x="62" y="135"/>
                  </a:lnTo>
                  <a:lnTo>
                    <a:pt x="62" y="138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59" y="140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6"/>
                  </a:lnTo>
                  <a:lnTo>
                    <a:pt x="59" y="146"/>
                  </a:lnTo>
                  <a:lnTo>
                    <a:pt x="59" y="146"/>
                  </a:lnTo>
                  <a:lnTo>
                    <a:pt x="59" y="148"/>
                  </a:lnTo>
                  <a:lnTo>
                    <a:pt x="59" y="148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2" y="159"/>
                  </a:lnTo>
                  <a:lnTo>
                    <a:pt x="62" y="164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72"/>
                  </a:lnTo>
                  <a:lnTo>
                    <a:pt x="59" y="174"/>
                  </a:lnTo>
                  <a:lnTo>
                    <a:pt x="59" y="177"/>
                  </a:lnTo>
                  <a:lnTo>
                    <a:pt x="59" y="179"/>
                  </a:lnTo>
                  <a:lnTo>
                    <a:pt x="57" y="182"/>
                  </a:lnTo>
                  <a:lnTo>
                    <a:pt x="51" y="190"/>
                  </a:lnTo>
                  <a:lnTo>
                    <a:pt x="51" y="192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46" y="200"/>
                  </a:lnTo>
                  <a:lnTo>
                    <a:pt x="46" y="203"/>
                  </a:lnTo>
                  <a:lnTo>
                    <a:pt x="46" y="210"/>
                  </a:lnTo>
                  <a:lnTo>
                    <a:pt x="46" y="216"/>
                  </a:lnTo>
                  <a:lnTo>
                    <a:pt x="46" y="223"/>
                  </a:lnTo>
                  <a:lnTo>
                    <a:pt x="46" y="223"/>
                  </a:lnTo>
                  <a:lnTo>
                    <a:pt x="46" y="226"/>
                  </a:lnTo>
                  <a:lnTo>
                    <a:pt x="44" y="229"/>
                  </a:lnTo>
                  <a:lnTo>
                    <a:pt x="44" y="231"/>
                  </a:lnTo>
                  <a:lnTo>
                    <a:pt x="44" y="231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38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3" y="231"/>
                  </a:lnTo>
                  <a:lnTo>
                    <a:pt x="33" y="234"/>
                  </a:lnTo>
                  <a:lnTo>
                    <a:pt x="31" y="231"/>
                  </a:lnTo>
                  <a:lnTo>
                    <a:pt x="31" y="231"/>
                  </a:lnTo>
                  <a:lnTo>
                    <a:pt x="28" y="229"/>
                  </a:lnTo>
                  <a:lnTo>
                    <a:pt x="23" y="229"/>
                  </a:lnTo>
                  <a:lnTo>
                    <a:pt x="20" y="229"/>
                  </a:lnTo>
                  <a:lnTo>
                    <a:pt x="18" y="229"/>
                  </a:lnTo>
                  <a:lnTo>
                    <a:pt x="15" y="229"/>
                  </a:lnTo>
                  <a:lnTo>
                    <a:pt x="15" y="229"/>
                  </a:lnTo>
                  <a:lnTo>
                    <a:pt x="15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0" y="234"/>
                  </a:lnTo>
                  <a:lnTo>
                    <a:pt x="7" y="234"/>
                  </a:lnTo>
                  <a:lnTo>
                    <a:pt x="7" y="234"/>
                  </a:lnTo>
                  <a:lnTo>
                    <a:pt x="7" y="234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7" y="239"/>
                  </a:lnTo>
                  <a:lnTo>
                    <a:pt x="7" y="242"/>
                  </a:lnTo>
                  <a:lnTo>
                    <a:pt x="7" y="242"/>
                  </a:lnTo>
                  <a:lnTo>
                    <a:pt x="10" y="244"/>
                  </a:lnTo>
                  <a:lnTo>
                    <a:pt x="13" y="244"/>
                  </a:lnTo>
                  <a:lnTo>
                    <a:pt x="13" y="244"/>
                  </a:lnTo>
                  <a:lnTo>
                    <a:pt x="13" y="247"/>
                  </a:lnTo>
                  <a:lnTo>
                    <a:pt x="10" y="247"/>
                  </a:lnTo>
                  <a:lnTo>
                    <a:pt x="7" y="247"/>
                  </a:lnTo>
                  <a:lnTo>
                    <a:pt x="7" y="247"/>
                  </a:lnTo>
                  <a:lnTo>
                    <a:pt x="7" y="249"/>
                  </a:lnTo>
                  <a:lnTo>
                    <a:pt x="5" y="249"/>
                  </a:lnTo>
                  <a:lnTo>
                    <a:pt x="5" y="247"/>
                  </a:lnTo>
                  <a:lnTo>
                    <a:pt x="2" y="247"/>
                  </a:lnTo>
                  <a:lnTo>
                    <a:pt x="2" y="249"/>
                  </a:lnTo>
                  <a:lnTo>
                    <a:pt x="5" y="249"/>
                  </a:lnTo>
                  <a:lnTo>
                    <a:pt x="5" y="252"/>
                  </a:lnTo>
                  <a:lnTo>
                    <a:pt x="5" y="255"/>
                  </a:lnTo>
                  <a:lnTo>
                    <a:pt x="5" y="255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60"/>
                  </a:lnTo>
                  <a:lnTo>
                    <a:pt x="7" y="260"/>
                  </a:lnTo>
                  <a:lnTo>
                    <a:pt x="7" y="262"/>
                  </a:lnTo>
                  <a:lnTo>
                    <a:pt x="10" y="262"/>
                  </a:lnTo>
                  <a:lnTo>
                    <a:pt x="13" y="265"/>
                  </a:lnTo>
                  <a:lnTo>
                    <a:pt x="15" y="265"/>
                  </a:lnTo>
                  <a:lnTo>
                    <a:pt x="20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5" y="265"/>
                  </a:lnTo>
                  <a:lnTo>
                    <a:pt x="28" y="268"/>
                  </a:lnTo>
                  <a:lnTo>
                    <a:pt x="28" y="268"/>
                  </a:lnTo>
                  <a:lnTo>
                    <a:pt x="31" y="268"/>
                  </a:lnTo>
                  <a:lnTo>
                    <a:pt x="33" y="268"/>
                  </a:lnTo>
                  <a:lnTo>
                    <a:pt x="33" y="268"/>
                  </a:lnTo>
                  <a:lnTo>
                    <a:pt x="36" y="265"/>
                  </a:lnTo>
                  <a:lnTo>
                    <a:pt x="36" y="265"/>
                  </a:lnTo>
                  <a:lnTo>
                    <a:pt x="36" y="262"/>
                  </a:lnTo>
                  <a:lnTo>
                    <a:pt x="38" y="262"/>
                  </a:lnTo>
                  <a:lnTo>
                    <a:pt x="38" y="262"/>
                  </a:lnTo>
                  <a:lnTo>
                    <a:pt x="38" y="262"/>
                  </a:lnTo>
                  <a:lnTo>
                    <a:pt x="38" y="265"/>
                  </a:lnTo>
                  <a:lnTo>
                    <a:pt x="41" y="268"/>
                  </a:lnTo>
                  <a:lnTo>
                    <a:pt x="41" y="270"/>
                  </a:lnTo>
                  <a:lnTo>
                    <a:pt x="41" y="270"/>
                  </a:lnTo>
                  <a:lnTo>
                    <a:pt x="41" y="270"/>
                  </a:lnTo>
                  <a:lnTo>
                    <a:pt x="41" y="273"/>
                  </a:lnTo>
                  <a:lnTo>
                    <a:pt x="41" y="273"/>
                  </a:lnTo>
                  <a:lnTo>
                    <a:pt x="44" y="273"/>
                  </a:lnTo>
                  <a:lnTo>
                    <a:pt x="44" y="273"/>
                  </a:lnTo>
                  <a:lnTo>
                    <a:pt x="46" y="275"/>
                  </a:lnTo>
                  <a:lnTo>
                    <a:pt x="46" y="278"/>
                  </a:lnTo>
                  <a:lnTo>
                    <a:pt x="46" y="278"/>
                  </a:lnTo>
                  <a:lnTo>
                    <a:pt x="46" y="280"/>
                  </a:lnTo>
                  <a:lnTo>
                    <a:pt x="46" y="283"/>
                  </a:lnTo>
                  <a:lnTo>
                    <a:pt x="46" y="286"/>
                  </a:lnTo>
                  <a:lnTo>
                    <a:pt x="46" y="286"/>
                  </a:lnTo>
                  <a:lnTo>
                    <a:pt x="44" y="288"/>
                  </a:lnTo>
                  <a:lnTo>
                    <a:pt x="41" y="293"/>
                  </a:lnTo>
                  <a:lnTo>
                    <a:pt x="41" y="296"/>
                  </a:lnTo>
                  <a:lnTo>
                    <a:pt x="41" y="299"/>
                  </a:lnTo>
                  <a:lnTo>
                    <a:pt x="44" y="301"/>
                  </a:lnTo>
                  <a:lnTo>
                    <a:pt x="46" y="301"/>
                  </a:lnTo>
                  <a:lnTo>
                    <a:pt x="46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51" y="301"/>
                  </a:lnTo>
                  <a:lnTo>
                    <a:pt x="51" y="299"/>
                  </a:lnTo>
                  <a:lnTo>
                    <a:pt x="51" y="299"/>
                  </a:lnTo>
                  <a:lnTo>
                    <a:pt x="54" y="299"/>
                  </a:lnTo>
                  <a:lnTo>
                    <a:pt x="57" y="299"/>
                  </a:lnTo>
                  <a:lnTo>
                    <a:pt x="64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6"/>
                  </a:lnTo>
                  <a:lnTo>
                    <a:pt x="72" y="296"/>
                  </a:lnTo>
                  <a:lnTo>
                    <a:pt x="75" y="296"/>
                  </a:lnTo>
                  <a:lnTo>
                    <a:pt x="77" y="296"/>
                  </a:lnTo>
                  <a:lnTo>
                    <a:pt x="80" y="293"/>
                  </a:lnTo>
                  <a:lnTo>
                    <a:pt x="80" y="293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5" y="288"/>
                  </a:lnTo>
                  <a:lnTo>
                    <a:pt x="85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90" y="286"/>
                  </a:lnTo>
                  <a:lnTo>
                    <a:pt x="90" y="286"/>
                  </a:lnTo>
                  <a:lnTo>
                    <a:pt x="93" y="283"/>
                  </a:lnTo>
                  <a:lnTo>
                    <a:pt x="93" y="283"/>
                  </a:lnTo>
                  <a:lnTo>
                    <a:pt x="95" y="280"/>
                  </a:lnTo>
                  <a:lnTo>
                    <a:pt x="95" y="280"/>
                  </a:lnTo>
                  <a:lnTo>
                    <a:pt x="98" y="280"/>
                  </a:lnTo>
                  <a:lnTo>
                    <a:pt x="98" y="278"/>
                  </a:lnTo>
                  <a:lnTo>
                    <a:pt x="101" y="278"/>
                  </a:lnTo>
                  <a:lnTo>
                    <a:pt x="101" y="280"/>
                  </a:lnTo>
                  <a:lnTo>
                    <a:pt x="101" y="280"/>
                  </a:lnTo>
                  <a:lnTo>
                    <a:pt x="101" y="278"/>
                  </a:lnTo>
                  <a:lnTo>
                    <a:pt x="101" y="278"/>
                  </a:lnTo>
                  <a:lnTo>
                    <a:pt x="101" y="278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3" y="270"/>
                  </a:lnTo>
                  <a:lnTo>
                    <a:pt x="101" y="268"/>
                  </a:lnTo>
                  <a:lnTo>
                    <a:pt x="101" y="268"/>
                  </a:lnTo>
                  <a:lnTo>
                    <a:pt x="103" y="268"/>
                  </a:lnTo>
                  <a:lnTo>
                    <a:pt x="103" y="265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60"/>
                  </a:lnTo>
                  <a:lnTo>
                    <a:pt x="106" y="260"/>
                  </a:lnTo>
                  <a:lnTo>
                    <a:pt x="108" y="262"/>
                  </a:lnTo>
                  <a:lnTo>
                    <a:pt x="108" y="262"/>
                  </a:lnTo>
                  <a:lnTo>
                    <a:pt x="111" y="262"/>
                  </a:lnTo>
                  <a:lnTo>
                    <a:pt x="113" y="262"/>
                  </a:lnTo>
                  <a:lnTo>
                    <a:pt x="113" y="262"/>
                  </a:lnTo>
                  <a:lnTo>
                    <a:pt x="111" y="265"/>
                  </a:lnTo>
                  <a:lnTo>
                    <a:pt x="111" y="265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6" y="265"/>
                  </a:lnTo>
                  <a:lnTo>
                    <a:pt x="116" y="265"/>
                  </a:lnTo>
                  <a:lnTo>
                    <a:pt x="116" y="268"/>
                  </a:lnTo>
                  <a:lnTo>
                    <a:pt x="116" y="268"/>
                  </a:lnTo>
                  <a:lnTo>
                    <a:pt x="116" y="270"/>
                  </a:lnTo>
                  <a:lnTo>
                    <a:pt x="116" y="273"/>
                  </a:lnTo>
                  <a:lnTo>
                    <a:pt x="119" y="273"/>
                  </a:lnTo>
                  <a:lnTo>
                    <a:pt x="119" y="275"/>
                  </a:lnTo>
                  <a:lnTo>
                    <a:pt x="121" y="275"/>
                  </a:lnTo>
                  <a:lnTo>
                    <a:pt x="124" y="278"/>
                  </a:lnTo>
                  <a:lnTo>
                    <a:pt x="129" y="278"/>
                  </a:lnTo>
                  <a:lnTo>
                    <a:pt x="132" y="280"/>
                  </a:lnTo>
                  <a:lnTo>
                    <a:pt x="134" y="280"/>
                  </a:lnTo>
                  <a:lnTo>
                    <a:pt x="134" y="278"/>
                  </a:lnTo>
                  <a:lnTo>
                    <a:pt x="137" y="278"/>
                  </a:lnTo>
                  <a:lnTo>
                    <a:pt x="139" y="278"/>
                  </a:lnTo>
                  <a:lnTo>
                    <a:pt x="139" y="278"/>
                  </a:lnTo>
                  <a:lnTo>
                    <a:pt x="142" y="280"/>
                  </a:lnTo>
                  <a:lnTo>
                    <a:pt x="142" y="280"/>
                  </a:lnTo>
                  <a:lnTo>
                    <a:pt x="142" y="280"/>
                  </a:lnTo>
                  <a:lnTo>
                    <a:pt x="142" y="280"/>
                  </a:lnTo>
                  <a:lnTo>
                    <a:pt x="142" y="280"/>
                  </a:lnTo>
                  <a:lnTo>
                    <a:pt x="145" y="280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3"/>
                  </a:lnTo>
                  <a:lnTo>
                    <a:pt x="145" y="286"/>
                  </a:lnTo>
                  <a:lnTo>
                    <a:pt x="145" y="286"/>
                  </a:lnTo>
                  <a:lnTo>
                    <a:pt x="145" y="286"/>
                  </a:lnTo>
                  <a:lnTo>
                    <a:pt x="145" y="286"/>
                  </a:lnTo>
                  <a:lnTo>
                    <a:pt x="147" y="288"/>
                  </a:lnTo>
                  <a:lnTo>
                    <a:pt x="147" y="288"/>
                  </a:lnTo>
                  <a:lnTo>
                    <a:pt x="150" y="291"/>
                  </a:lnTo>
                  <a:lnTo>
                    <a:pt x="150" y="291"/>
                  </a:lnTo>
                  <a:lnTo>
                    <a:pt x="150" y="288"/>
                  </a:lnTo>
                  <a:lnTo>
                    <a:pt x="150" y="291"/>
                  </a:lnTo>
                  <a:lnTo>
                    <a:pt x="150" y="291"/>
                  </a:lnTo>
                  <a:lnTo>
                    <a:pt x="147" y="291"/>
                  </a:lnTo>
                  <a:lnTo>
                    <a:pt x="145" y="291"/>
                  </a:lnTo>
                  <a:lnTo>
                    <a:pt x="142" y="291"/>
                  </a:lnTo>
                  <a:lnTo>
                    <a:pt x="142" y="293"/>
                  </a:lnTo>
                  <a:lnTo>
                    <a:pt x="145" y="296"/>
                  </a:lnTo>
                  <a:lnTo>
                    <a:pt x="145" y="296"/>
                  </a:lnTo>
                  <a:lnTo>
                    <a:pt x="145" y="296"/>
                  </a:lnTo>
                  <a:lnTo>
                    <a:pt x="145" y="296"/>
                  </a:lnTo>
                  <a:lnTo>
                    <a:pt x="145" y="296"/>
                  </a:lnTo>
                  <a:lnTo>
                    <a:pt x="142" y="296"/>
                  </a:lnTo>
                  <a:lnTo>
                    <a:pt x="142" y="299"/>
                  </a:lnTo>
                  <a:lnTo>
                    <a:pt x="142" y="299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4"/>
                  </a:lnTo>
                  <a:lnTo>
                    <a:pt x="142" y="304"/>
                  </a:lnTo>
                  <a:lnTo>
                    <a:pt x="142" y="304"/>
                  </a:lnTo>
                  <a:lnTo>
                    <a:pt x="142" y="304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9"/>
                  </a:lnTo>
                  <a:lnTo>
                    <a:pt x="139" y="312"/>
                  </a:lnTo>
                  <a:lnTo>
                    <a:pt x="142" y="312"/>
                  </a:lnTo>
                  <a:lnTo>
                    <a:pt x="145" y="312"/>
                  </a:lnTo>
                  <a:lnTo>
                    <a:pt x="145" y="314"/>
                  </a:lnTo>
                  <a:lnTo>
                    <a:pt x="147" y="314"/>
                  </a:lnTo>
                  <a:lnTo>
                    <a:pt x="150" y="314"/>
                  </a:lnTo>
                  <a:lnTo>
                    <a:pt x="152" y="314"/>
                  </a:lnTo>
                  <a:lnTo>
                    <a:pt x="152" y="314"/>
                  </a:lnTo>
                  <a:lnTo>
                    <a:pt x="152" y="314"/>
                  </a:lnTo>
                  <a:lnTo>
                    <a:pt x="152" y="314"/>
                  </a:lnTo>
                  <a:lnTo>
                    <a:pt x="152" y="317"/>
                  </a:lnTo>
                  <a:lnTo>
                    <a:pt x="152" y="317"/>
                  </a:lnTo>
                  <a:lnTo>
                    <a:pt x="152" y="317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9"/>
                  </a:lnTo>
                  <a:lnTo>
                    <a:pt x="150" y="322"/>
                  </a:lnTo>
                  <a:lnTo>
                    <a:pt x="152" y="322"/>
                  </a:lnTo>
                  <a:lnTo>
                    <a:pt x="152" y="325"/>
                  </a:lnTo>
                  <a:lnTo>
                    <a:pt x="150" y="325"/>
                  </a:lnTo>
                  <a:lnTo>
                    <a:pt x="147" y="325"/>
                  </a:lnTo>
                  <a:lnTo>
                    <a:pt x="147" y="325"/>
                  </a:lnTo>
                  <a:lnTo>
                    <a:pt x="147" y="325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2" y="327"/>
                  </a:lnTo>
                  <a:lnTo>
                    <a:pt x="142" y="327"/>
                  </a:lnTo>
                  <a:lnTo>
                    <a:pt x="139" y="327"/>
                  </a:lnTo>
                  <a:lnTo>
                    <a:pt x="137" y="327"/>
                  </a:lnTo>
                  <a:lnTo>
                    <a:pt x="139" y="330"/>
                  </a:lnTo>
                  <a:lnTo>
                    <a:pt x="139" y="330"/>
                  </a:lnTo>
                  <a:lnTo>
                    <a:pt x="139" y="332"/>
                  </a:lnTo>
                  <a:lnTo>
                    <a:pt x="139" y="332"/>
                  </a:lnTo>
                  <a:lnTo>
                    <a:pt x="142" y="332"/>
                  </a:lnTo>
                  <a:lnTo>
                    <a:pt x="142" y="332"/>
                  </a:lnTo>
                  <a:lnTo>
                    <a:pt x="142" y="335"/>
                  </a:lnTo>
                  <a:lnTo>
                    <a:pt x="142" y="335"/>
                  </a:lnTo>
                  <a:lnTo>
                    <a:pt x="142" y="335"/>
                  </a:lnTo>
                  <a:lnTo>
                    <a:pt x="142" y="335"/>
                  </a:lnTo>
                  <a:lnTo>
                    <a:pt x="145" y="338"/>
                  </a:lnTo>
                  <a:lnTo>
                    <a:pt x="147" y="338"/>
                  </a:lnTo>
                  <a:lnTo>
                    <a:pt x="150" y="338"/>
                  </a:lnTo>
                  <a:lnTo>
                    <a:pt x="150" y="338"/>
                  </a:lnTo>
                  <a:lnTo>
                    <a:pt x="150" y="338"/>
                  </a:lnTo>
                  <a:lnTo>
                    <a:pt x="150" y="335"/>
                  </a:lnTo>
                  <a:lnTo>
                    <a:pt x="150" y="335"/>
                  </a:lnTo>
                  <a:lnTo>
                    <a:pt x="150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5" y="332"/>
                  </a:lnTo>
                  <a:lnTo>
                    <a:pt x="155" y="332"/>
                  </a:lnTo>
                  <a:lnTo>
                    <a:pt x="155" y="332"/>
                  </a:lnTo>
                  <a:lnTo>
                    <a:pt x="155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3" y="332"/>
                  </a:lnTo>
                  <a:lnTo>
                    <a:pt x="165" y="332"/>
                  </a:lnTo>
                  <a:lnTo>
                    <a:pt x="165" y="332"/>
                  </a:lnTo>
                  <a:lnTo>
                    <a:pt x="168" y="330"/>
                  </a:lnTo>
                  <a:lnTo>
                    <a:pt x="168" y="330"/>
                  </a:lnTo>
                  <a:lnTo>
                    <a:pt x="170" y="332"/>
                  </a:lnTo>
                  <a:lnTo>
                    <a:pt x="173" y="332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27"/>
                  </a:lnTo>
                  <a:lnTo>
                    <a:pt x="176" y="325"/>
                  </a:lnTo>
                  <a:lnTo>
                    <a:pt x="176" y="325"/>
                  </a:lnTo>
                  <a:lnTo>
                    <a:pt x="178" y="325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1" y="322"/>
                  </a:lnTo>
                  <a:lnTo>
                    <a:pt x="183" y="322"/>
                  </a:lnTo>
                  <a:lnTo>
                    <a:pt x="183" y="322"/>
                  </a:lnTo>
                  <a:lnTo>
                    <a:pt x="186" y="325"/>
                  </a:lnTo>
                  <a:lnTo>
                    <a:pt x="186" y="325"/>
                  </a:lnTo>
                  <a:lnTo>
                    <a:pt x="186" y="322"/>
                  </a:lnTo>
                  <a:lnTo>
                    <a:pt x="186" y="322"/>
                  </a:lnTo>
                  <a:lnTo>
                    <a:pt x="189" y="322"/>
                  </a:lnTo>
                  <a:lnTo>
                    <a:pt x="189" y="322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1" y="325"/>
                  </a:lnTo>
                  <a:lnTo>
                    <a:pt x="194" y="325"/>
                  </a:lnTo>
                  <a:lnTo>
                    <a:pt x="194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6" y="322"/>
                  </a:lnTo>
                  <a:lnTo>
                    <a:pt x="196" y="322"/>
                  </a:lnTo>
                  <a:lnTo>
                    <a:pt x="196" y="319"/>
                  </a:lnTo>
                  <a:lnTo>
                    <a:pt x="199" y="319"/>
                  </a:lnTo>
                  <a:lnTo>
                    <a:pt x="199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4"/>
                  </a:lnTo>
                  <a:lnTo>
                    <a:pt x="207" y="312"/>
                  </a:lnTo>
                  <a:lnTo>
                    <a:pt x="207" y="312"/>
                  </a:lnTo>
                  <a:lnTo>
                    <a:pt x="207" y="312"/>
                  </a:lnTo>
                  <a:lnTo>
                    <a:pt x="207" y="312"/>
                  </a:lnTo>
                  <a:lnTo>
                    <a:pt x="207" y="312"/>
                  </a:lnTo>
                  <a:lnTo>
                    <a:pt x="207" y="312"/>
                  </a:lnTo>
                  <a:lnTo>
                    <a:pt x="207" y="309"/>
                  </a:lnTo>
                  <a:lnTo>
                    <a:pt x="204" y="309"/>
                  </a:lnTo>
                  <a:lnTo>
                    <a:pt x="202" y="309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202" y="304"/>
                  </a:lnTo>
                  <a:lnTo>
                    <a:pt x="202" y="304"/>
                  </a:lnTo>
                  <a:lnTo>
                    <a:pt x="202" y="304"/>
                  </a:lnTo>
                  <a:lnTo>
                    <a:pt x="202" y="304"/>
                  </a:lnTo>
                  <a:lnTo>
                    <a:pt x="202" y="301"/>
                  </a:lnTo>
                  <a:lnTo>
                    <a:pt x="202" y="301"/>
                  </a:lnTo>
                  <a:lnTo>
                    <a:pt x="202" y="301"/>
                  </a:lnTo>
                  <a:lnTo>
                    <a:pt x="202" y="299"/>
                  </a:lnTo>
                  <a:lnTo>
                    <a:pt x="202" y="299"/>
                  </a:lnTo>
                  <a:lnTo>
                    <a:pt x="202" y="299"/>
                  </a:lnTo>
                  <a:lnTo>
                    <a:pt x="202" y="296"/>
                  </a:lnTo>
                  <a:lnTo>
                    <a:pt x="202" y="293"/>
                  </a:lnTo>
                  <a:lnTo>
                    <a:pt x="202" y="293"/>
                  </a:lnTo>
                  <a:lnTo>
                    <a:pt x="202" y="291"/>
                  </a:lnTo>
                  <a:lnTo>
                    <a:pt x="202" y="291"/>
                  </a:lnTo>
                  <a:lnTo>
                    <a:pt x="202" y="291"/>
                  </a:lnTo>
                  <a:lnTo>
                    <a:pt x="202" y="288"/>
                  </a:lnTo>
                  <a:lnTo>
                    <a:pt x="202" y="288"/>
                  </a:lnTo>
                  <a:lnTo>
                    <a:pt x="202" y="286"/>
                  </a:lnTo>
                  <a:lnTo>
                    <a:pt x="202" y="283"/>
                  </a:lnTo>
                  <a:lnTo>
                    <a:pt x="199" y="283"/>
                  </a:lnTo>
                  <a:lnTo>
                    <a:pt x="199" y="283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9" y="280"/>
                  </a:lnTo>
                  <a:lnTo>
                    <a:pt x="196" y="278"/>
                  </a:lnTo>
                  <a:lnTo>
                    <a:pt x="194" y="278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6" y="275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6" y="273"/>
                  </a:lnTo>
                  <a:lnTo>
                    <a:pt x="186" y="270"/>
                  </a:lnTo>
                  <a:lnTo>
                    <a:pt x="186" y="268"/>
                  </a:lnTo>
                  <a:lnTo>
                    <a:pt x="183" y="268"/>
                  </a:lnTo>
                  <a:lnTo>
                    <a:pt x="183" y="268"/>
                  </a:lnTo>
                  <a:lnTo>
                    <a:pt x="183" y="268"/>
                  </a:lnTo>
                  <a:lnTo>
                    <a:pt x="183" y="268"/>
                  </a:lnTo>
                  <a:lnTo>
                    <a:pt x="186" y="265"/>
                  </a:lnTo>
                  <a:lnTo>
                    <a:pt x="183" y="265"/>
                  </a:lnTo>
                  <a:lnTo>
                    <a:pt x="183" y="265"/>
                  </a:lnTo>
                  <a:lnTo>
                    <a:pt x="183" y="265"/>
                  </a:lnTo>
                  <a:lnTo>
                    <a:pt x="183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9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8"/>
                  </a:lnTo>
                  <a:lnTo>
                    <a:pt x="194" y="268"/>
                  </a:lnTo>
                  <a:lnTo>
                    <a:pt x="194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8"/>
                  </a:lnTo>
                  <a:lnTo>
                    <a:pt x="196" y="265"/>
                  </a:lnTo>
                  <a:lnTo>
                    <a:pt x="199" y="265"/>
                  </a:lnTo>
                  <a:lnTo>
                    <a:pt x="199" y="262"/>
                  </a:lnTo>
                  <a:lnTo>
                    <a:pt x="202" y="262"/>
                  </a:lnTo>
                  <a:lnTo>
                    <a:pt x="202" y="260"/>
                  </a:lnTo>
                  <a:lnTo>
                    <a:pt x="202" y="260"/>
                  </a:lnTo>
                  <a:lnTo>
                    <a:pt x="202" y="260"/>
                  </a:lnTo>
                  <a:lnTo>
                    <a:pt x="202" y="260"/>
                  </a:lnTo>
                  <a:lnTo>
                    <a:pt x="202" y="257"/>
                  </a:lnTo>
                  <a:lnTo>
                    <a:pt x="202" y="257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7" y="255"/>
                  </a:lnTo>
                  <a:lnTo>
                    <a:pt x="207" y="255"/>
                  </a:lnTo>
                  <a:lnTo>
                    <a:pt x="207" y="255"/>
                  </a:lnTo>
                  <a:lnTo>
                    <a:pt x="207" y="255"/>
                  </a:lnTo>
                  <a:lnTo>
                    <a:pt x="209" y="255"/>
                  </a:lnTo>
                  <a:lnTo>
                    <a:pt x="209" y="257"/>
                  </a:lnTo>
                  <a:lnTo>
                    <a:pt x="212" y="257"/>
                  </a:lnTo>
                  <a:lnTo>
                    <a:pt x="214" y="257"/>
                  </a:lnTo>
                  <a:lnTo>
                    <a:pt x="217" y="255"/>
                  </a:lnTo>
                  <a:lnTo>
                    <a:pt x="220" y="252"/>
                  </a:lnTo>
                  <a:lnTo>
                    <a:pt x="222" y="252"/>
                  </a:lnTo>
                  <a:lnTo>
                    <a:pt x="222" y="252"/>
                  </a:lnTo>
                  <a:lnTo>
                    <a:pt x="222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5"/>
                  </a:lnTo>
                  <a:lnTo>
                    <a:pt x="227" y="257"/>
                  </a:lnTo>
                  <a:lnTo>
                    <a:pt x="227" y="257"/>
                  </a:lnTo>
                  <a:lnTo>
                    <a:pt x="227" y="257"/>
                  </a:lnTo>
                  <a:lnTo>
                    <a:pt x="227" y="257"/>
                  </a:lnTo>
                  <a:lnTo>
                    <a:pt x="227" y="257"/>
                  </a:lnTo>
                  <a:lnTo>
                    <a:pt x="227" y="260"/>
                  </a:lnTo>
                  <a:lnTo>
                    <a:pt x="230" y="260"/>
                  </a:lnTo>
                  <a:lnTo>
                    <a:pt x="230" y="260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5"/>
                  </a:lnTo>
                  <a:lnTo>
                    <a:pt x="227" y="268"/>
                  </a:lnTo>
                  <a:lnTo>
                    <a:pt x="227" y="268"/>
                  </a:lnTo>
                  <a:lnTo>
                    <a:pt x="230" y="268"/>
                  </a:lnTo>
                  <a:lnTo>
                    <a:pt x="230" y="268"/>
                  </a:lnTo>
                  <a:lnTo>
                    <a:pt x="230" y="268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30" y="273"/>
                  </a:lnTo>
                  <a:lnTo>
                    <a:pt x="230" y="273"/>
                  </a:lnTo>
                  <a:lnTo>
                    <a:pt x="230" y="275"/>
                  </a:lnTo>
                  <a:lnTo>
                    <a:pt x="230" y="275"/>
                  </a:lnTo>
                  <a:lnTo>
                    <a:pt x="230" y="275"/>
                  </a:lnTo>
                  <a:lnTo>
                    <a:pt x="233" y="273"/>
                  </a:lnTo>
                  <a:lnTo>
                    <a:pt x="233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8" y="273"/>
                  </a:lnTo>
                  <a:lnTo>
                    <a:pt x="238" y="275"/>
                  </a:lnTo>
                  <a:lnTo>
                    <a:pt x="240" y="275"/>
                  </a:lnTo>
                  <a:lnTo>
                    <a:pt x="243" y="275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8" y="275"/>
                  </a:lnTo>
                  <a:lnTo>
                    <a:pt x="248" y="275"/>
                  </a:lnTo>
                  <a:lnTo>
                    <a:pt x="248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1" y="273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6" y="273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8" y="270"/>
                  </a:lnTo>
                  <a:lnTo>
                    <a:pt x="258" y="270"/>
                  </a:lnTo>
                  <a:lnTo>
                    <a:pt x="261" y="268"/>
                  </a:lnTo>
                  <a:lnTo>
                    <a:pt x="258" y="268"/>
                  </a:lnTo>
                  <a:lnTo>
                    <a:pt x="258" y="268"/>
                  </a:lnTo>
                  <a:lnTo>
                    <a:pt x="258" y="268"/>
                  </a:lnTo>
                  <a:lnTo>
                    <a:pt x="258" y="265"/>
                  </a:lnTo>
                  <a:lnTo>
                    <a:pt x="261" y="265"/>
                  </a:lnTo>
                  <a:lnTo>
                    <a:pt x="261" y="265"/>
                  </a:lnTo>
                  <a:lnTo>
                    <a:pt x="264" y="262"/>
                  </a:lnTo>
                  <a:lnTo>
                    <a:pt x="264" y="260"/>
                  </a:lnTo>
                  <a:lnTo>
                    <a:pt x="266" y="260"/>
                  </a:lnTo>
                  <a:lnTo>
                    <a:pt x="266" y="260"/>
                  </a:lnTo>
                  <a:lnTo>
                    <a:pt x="266" y="257"/>
                  </a:lnTo>
                  <a:lnTo>
                    <a:pt x="269" y="257"/>
                  </a:lnTo>
                  <a:lnTo>
                    <a:pt x="269" y="257"/>
                  </a:lnTo>
                  <a:lnTo>
                    <a:pt x="271" y="257"/>
                  </a:lnTo>
                  <a:lnTo>
                    <a:pt x="274" y="257"/>
                  </a:lnTo>
                  <a:lnTo>
                    <a:pt x="274" y="257"/>
                  </a:lnTo>
                  <a:lnTo>
                    <a:pt x="277" y="260"/>
                  </a:lnTo>
                  <a:lnTo>
                    <a:pt x="277" y="260"/>
                  </a:lnTo>
                  <a:lnTo>
                    <a:pt x="277" y="260"/>
                  </a:lnTo>
                  <a:lnTo>
                    <a:pt x="277" y="260"/>
                  </a:lnTo>
                  <a:lnTo>
                    <a:pt x="274" y="262"/>
                  </a:lnTo>
                  <a:lnTo>
                    <a:pt x="274" y="265"/>
                  </a:lnTo>
                  <a:lnTo>
                    <a:pt x="274" y="268"/>
                  </a:lnTo>
                  <a:lnTo>
                    <a:pt x="274" y="268"/>
                  </a:lnTo>
                  <a:lnTo>
                    <a:pt x="274" y="268"/>
                  </a:lnTo>
                  <a:lnTo>
                    <a:pt x="274" y="268"/>
                  </a:lnTo>
                  <a:lnTo>
                    <a:pt x="274" y="270"/>
                  </a:lnTo>
                  <a:lnTo>
                    <a:pt x="274" y="270"/>
                  </a:lnTo>
                  <a:lnTo>
                    <a:pt x="274" y="270"/>
                  </a:lnTo>
                  <a:lnTo>
                    <a:pt x="274" y="270"/>
                  </a:lnTo>
                  <a:lnTo>
                    <a:pt x="274" y="270"/>
                  </a:lnTo>
                  <a:lnTo>
                    <a:pt x="274" y="270"/>
                  </a:lnTo>
                  <a:lnTo>
                    <a:pt x="277" y="270"/>
                  </a:lnTo>
                  <a:lnTo>
                    <a:pt x="277" y="273"/>
                  </a:lnTo>
                  <a:lnTo>
                    <a:pt x="277" y="273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3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8"/>
                  </a:lnTo>
                  <a:lnTo>
                    <a:pt x="274" y="278"/>
                  </a:lnTo>
                  <a:lnTo>
                    <a:pt x="274" y="280"/>
                  </a:lnTo>
                  <a:lnTo>
                    <a:pt x="271" y="280"/>
                  </a:lnTo>
                  <a:lnTo>
                    <a:pt x="269" y="283"/>
                  </a:lnTo>
                  <a:lnTo>
                    <a:pt x="269" y="283"/>
                  </a:lnTo>
                  <a:lnTo>
                    <a:pt x="269" y="283"/>
                  </a:lnTo>
                  <a:lnTo>
                    <a:pt x="266" y="283"/>
                  </a:lnTo>
                  <a:lnTo>
                    <a:pt x="266" y="283"/>
                  </a:lnTo>
                  <a:lnTo>
                    <a:pt x="264" y="283"/>
                  </a:lnTo>
                  <a:lnTo>
                    <a:pt x="264" y="283"/>
                  </a:lnTo>
                  <a:lnTo>
                    <a:pt x="264" y="283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1" y="286"/>
                  </a:lnTo>
                  <a:lnTo>
                    <a:pt x="261" y="288"/>
                  </a:lnTo>
                  <a:lnTo>
                    <a:pt x="261" y="288"/>
                  </a:lnTo>
                  <a:lnTo>
                    <a:pt x="261" y="291"/>
                  </a:lnTo>
                  <a:lnTo>
                    <a:pt x="261" y="291"/>
                  </a:lnTo>
                  <a:lnTo>
                    <a:pt x="258" y="293"/>
                  </a:lnTo>
                  <a:lnTo>
                    <a:pt x="258" y="293"/>
                  </a:lnTo>
                  <a:lnTo>
                    <a:pt x="258" y="293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61" y="299"/>
                  </a:lnTo>
                  <a:lnTo>
                    <a:pt x="261" y="299"/>
                  </a:lnTo>
                  <a:lnTo>
                    <a:pt x="264" y="299"/>
                  </a:lnTo>
                  <a:lnTo>
                    <a:pt x="264" y="299"/>
                  </a:lnTo>
                  <a:lnTo>
                    <a:pt x="266" y="299"/>
                  </a:lnTo>
                  <a:lnTo>
                    <a:pt x="266" y="301"/>
                  </a:lnTo>
                  <a:lnTo>
                    <a:pt x="266" y="301"/>
                  </a:lnTo>
                  <a:lnTo>
                    <a:pt x="269" y="301"/>
                  </a:lnTo>
                  <a:lnTo>
                    <a:pt x="269" y="301"/>
                  </a:lnTo>
                  <a:lnTo>
                    <a:pt x="269" y="304"/>
                  </a:lnTo>
                  <a:lnTo>
                    <a:pt x="269" y="304"/>
                  </a:lnTo>
                  <a:lnTo>
                    <a:pt x="269" y="304"/>
                  </a:lnTo>
                  <a:lnTo>
                    <a:pt x="269" y="304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66" y="304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6" y="309"/>
                  </a:lnTo>
                  <a:lnTo>
                    <a:pt x="266" y="309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4" y="312"/>
                  </a:lnTo>
                  <a:lnTo>
                    <a:pt x="264" y="312"/>
                  </a:lnTo>
                  <a:lnTo>
                    <a:pt x="264" y="312"/>
                  </a:lnTo>
                  <a:lnTo>
                    <a:pt x="264" y="312"/>
                  </a:lnTo>
                  <a:lnTo>
                    <a:pt x="264" y="312"/>
                  </a:lnTo>
                  <a:lnTo>
                    <a:pt x="264" y="312"/>
                  </a:lnTo>
                  <a:lnTo>
                    <a:pt x="264" y="309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1" y="312"/>
                  </a:lnTo>
                  <a:lnTo>
                    <a:pt x="261" y="312"/>
                  </a:lnTo>
                  <a:lnTo>
                    <a:pt x="264" y="312"/>
                  </a:lnTo>
                  <a:lnTo>
                    <a:pt x="264" y="314"/>
                  </a:lnTo>
                  <a:lnTo>
                    <a:pt x="264" y="314"/>
                  </a:lnTo>
                  <a:lnTo>
                    <a:pt x="264" y="314"/>
                  </a:lnTo>
                  <a:lnTo>
                    <a:pt x="264" y="314"/>
                  </a:lnTo>
                  <a:lnTo>
                    <a:pt x="264" y="317"/>
                  </a:lnTo>
                  <a:lnTo>
                    <a:pt x="264" y="317"/>
                  </a:lnTo>
                  <a:lnTo>
                    <a:pt x="264" y="317"/>
                  </a:lnTo>
                  <a:lnTo>
                    <a:pt x="264" y="319"/>
                  </a:lnTo>
                  <a:lnTo>
                    <a:pt x="264" y="319"/>
                  </a:lnTo>
                  <a:lnTo>
                    <a:pt x="264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9" y="319"/>
                  </a:lnTo>
                  <a:lnTo>
                    <a:pt x="269" y="319"/>
                  </a:lnTo>
                  <a:lnTo>
                    <a:pt x="269" y="319"/>
                  </a:lnTo>
                  <a:lnTo>
                    <a:pt x="269" y="319"/>
                  </a:lnTo>
                  <a:lnTo>
                    <a:pt x="271" y="319"/>
                  </a:lnTo>
                  <a:lnTo>
                    <a:pt x="271" y="319"/>
                  </a:lnTo>
                  <a:lnTo>
                    <a:pt x="274" y="322"/>
                  </a:lnTo>
                  <a:lnTo>
                    <a:pt x="274" y="322"/>
                  </a:lnTo>
                  <a:lnTo>
                    <a:pt x="274" y="319"/>
                  </a:lnTo>
                  <a:lnTo>
                    <a:pt x="277" y="319"/>
                  </a:lnTo>
                  <a:lnTo>
                    <a:pt x="277" y="319"/>
                  </a:lnTo>
                  <a:lnTo>
                    <a:pt x="277" y="319"/>
                  </a:lnTo>
                  <a:lnTo>
                    <a:pt x="277" y="319"/>
                  </a:lnTo>
                  <a:lnTo>
                    <a:pt x="277" y="322"/>
                  </a:lnTo>
                  <a:lnTo>
                    <a:pt x="277" y="322"/>
                  </a:lnTo>
                  <a:lnTo>
                    <a:pt x="277" y="322"/>
                  </a:lnTo>
                  <a:lnTo>
                    <a:pt x="279" y="322"/>
                  </a:lnTo>
                  <a:lnTo>
                    <a:pt x="279" y="322"/>
                  </a:lnTo>
                  <a:lnTo>
                    <a:pt x="279" y="322"/>
                  </a:lnTo>
                  <a:lnTo>
                    <a:pt x="279" y="325"/>
                  </a:lnTo>
                  <a:lnTo>
                    <a:pt x="277" y="325"/>
                  </a:lnTo>
                  <a:lnTo>
                    <a:pt x="277" y="327"/>
                  </a:lnTo>
                  <a:lnTo>
                    <a:pt x="277" y="327"/>
                  </a:lnTo>
                  <a:lnTo>
                    <a:pt x="277" y="327"/>
                  </a:lnTo>
                  <a:lnTo>
                    <a:pt x="277" y="327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82" y="330"/>
                  </a:lnTo>
                  <a:lnTo>
                    <a:pt x="282" y="330"/>
                  </a:lnTo>
                  <a:lnTo>
                    <a:pt x="282" y="330"/>
                  </a:lnTo>
                  <a:lnTo>
                    <a:pt x="282" y="330"/>
                  </a:lnTo>
                  <a:lnTo>
                    <a:pt x="282" y="332"/>
                  </a:lnTo>
                  <a:lnTo>
                    <a:pt x="284" y="332"/>
                  </a:lnTo>
                  <a:lnTo>
                    <a:pt x="282" y="332"/>
                  </a:lnTo>
                  <a:lnTo>
                    <a:pt x="282" y="335"/>
                  </a:lnTo>
                  <a:lnTo>
                    <a:pt x="282" y="335"/>
                  </a:lnTo>
                  <a:lnTo>
                    <a:pt x="282" y="338"/>
                  </a:lnTo>
                  <a:lnTo>
                    <a:pt x="282" y="338"/>
                  </a:lnTo>
                  <a:lnTo>
                    <a:pt x="282" y="338"/>
                  </a:lnTo>
                  <a:lnTo>
                    <a:pt x="284" y="340"/>
                  </a:lnTo>
                  <a:lnTo>
                    <a:pt x="282" y="343"/>
                  </a:lnTo>
                  <a:lnTo>
                    <a:pt x="282" y="343"/>
                  </a:lnTo>
                  <a:lnTo>
                    <a:pt x="282" y="343"/>
                  </a:lnTo>
                  <a:lnTo>
                    <a:pt x="282" y="343"/>
                  </a:lnTo>
                  <a:lnTo>
                    <a:pt x="282" y="343"/>
                  </a:lnTo>
                  <a:lnTo>
                    <a:pt x="284" y="343"/>
                  </a:lnTo>
                  <a:lnTo>
                    <a:pt x="282" y="345"/>
                  </a:lnTo>
                  <a:lnTo>
                    <a:pt x="282" y="345"/>
                  </a:lnTo>
                  <a:lnTo>
                    <a:pt x="282" y="345"/>
                  </a:lnTo>
                  <a:lnTo>
                    <a:pt x="282" y="348"/>
                  </a:lnTo>
                  <a:lnTo>
                    <a:pt x="282" y="350"/>
                  </a:lnTo>
                  <a:lnTo>
                    <a:pt x="284" y="350"/>
                  </a:lnTo>
                  <a:lnTo>
                    <a:pt x="287" y="350"/>
                  </a:lnTo>
                  <a:lnTo>
                    <a:pt x="287" y="348"/>
                  </a:lnTo>
                  <a:lnTo>
                    <a:pt x="290" y="348"/>
                  </a:lnTo>
                  <a:lnTo>
                    <a:pt x="290" y="348"/>
                  </a:lnTo>
                  <a:lnTo>
                    <a:pt x="292" y="348"/>
                  </a:lnTo>
                  <a:lnTo>
                    <a:pt x="292" y="348"/>
                  </a:lnTo>
                  <a:lnTo>
                    <a:pt x="292" y="348"/>
                  </a:lnTo>
                  <a:lnTo>
                    <a:pt x="292" y="348"/>
                  </a:lnTo>
                  <a:lnTo>
                    <a:pt x="292" y="350"/>
                  </a:lnTo>
                  <a:lnTo>
                    <a:pt x="292" y="350"/>
                  </a:lnTo>
                  <a:lnTo>
                    <a:pt x="292" y="350"/>
                  </a:lnTo>
                  <a:lnTo>
                    <a:pt x="292" y="350"/>
                  </a:lnTo>
                  <a:lnTo>
                    <a:pt x="292" y="350"/>
                  </a:lnTo>
                  <a:lnTo>
                    <a:pt x="295" y="353"/>
                  </a:lnTo>
                  <a:lnTo>
                    <a:pt x="292" y="353"/>
                  </a:lnTo>
                  <a:lnTo>
                    <a:pt x="292" y="353"/>
                  </a:lnTo>
                  <a:lnTo>
                    <a:pt x="292" y="353"/>
                  </a:lnTo>
                  <a:lnTo>
                    <a:pt x="292" y="353"/>
                  </a:lnTo>
                  <a:lnTo>
                    <a:pt x="292" y="353"/>
                  </a:lnTo>
                  <a:lnTo>
                    <a:pt x="292" y="356"/>
                  </a:lnTo>
                  <a:lnTo>
                    <a:pt x="292" y="356"/>
                  </a:lnTo>
                  <a:lnTo>
                    <a:pt x="292" y="356"/>
                  </a:lnTo>
                  <a:lnTo>
                    <a:pt x="292" y="356"/>
                  </a:lnTo>
                  <a:lnTo>
                    <a:pt x="292" y="356"/>
                  </a:lnTo>
                  <a:lnTo>
                    <a:pt x="295" y="356"/>
                  </a:lnTo>
                  <a:lnTo>
                    <a:pt x="295" y="358"/>
                  </a:lnTo>
                  <a:lnTo>
                    <a:pt x="297" y="358"/>
                  </a:lnTo>
                  <a:lnTo>
                    <a:pt x="297" y="358"/>
                  </a:lnTo>
                  <a:lnTo>
                    <a:pt x="297" y="358"/>
                  </a:lnTo>
                  <a:lnTo>
                    <a:pt x="300" y="361"/>
                  </a:lnTo>
                  <a:lnTo>
                    <a:pt x="300" y="363"/>
                  </a:lnTo>
                  <a:lnTo>
                    <a:pt x="300" y="363"/>
                  </a:lnTo>
                  <a:lnTo>
                    <a:pt x="300" y="366"/>
                  </a:lnTo>
                  <a:lnTo>
                    <a:pt x="300" y="369"/>
                  </a:lnTo>
                  <a:lnTo>
                    <a:pt x="297" y="369"/>
                  </a:lnTo>
                  <a:lnTo>
                    <a:pt x="297" y="369"/>
                  </a:lnTo>
                  <a:lnTo>
                    <a:pt x="297" y="369"/>
                  </a:lnTo>
                  <a:lnTo>
                    <a:pt x="300" y="369"/>
                  </a:lnTo>
                  <a:lnTo>
                    <a:pt x="302" y="369"/>
                  </a:lnTo>
                  <a:lnTo>
                    <a:pt x="302" y="369"/>
                  </a:lnTo>
                  <a:lnTo>
                    <a:pt x="305" y="369"/>
                  </a:lnTo>
                  <a:lnTo>
                    <a:pt x="308" y="369"/>
                  </a:lnTo>
                  <a:lnTo>
                    <a:pt x="308" y="369"/>
                  </a:lnTo>
                  <a:lnTo>
                    <a:pt x="310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0" y="371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6"/>
                  </a:lnTo>
                  <a:lnTo>
                    <a:pt x="310" y="376"/>
                  </a:lnTo>
                  <a:lnTo>
                    <a:pt x="310" y="379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3" y="382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5" y="387"/>
                  </a:lnTo>
                  <a:lnTo>
                    <a:pt x="305" y="387"/>
                  </a:lnTo>
                  <a:lnTo>
                    <a:pt x="305" y="387"/>
                  </a:lnTo>
                  <a:lnTo>
                    <a:pt x="305" y="387"/>
                  </a:lnTo>
                  <a:lnTo>
                    <a:pt x="302" y="389"/>
                  </a:lnTo>
                  <a:lnTo>
                    <a:pt x="302" y="389"/>
                  </a:lnTo>
                  <a:lnTo>
                    <a:pt x="302" y="389"/>
                  </a:lnTo>
                  <a:lnTo>
                    <a:pt x="302" y="389"/>
                  </a:lnTo>
                  <a:lnTo>
                    <a:pt x="305" y="389"/>
                  </a:lnTo>
                  <a:lnTo>
                    <a:pt x="305" y="389"/>
                  </a:lnTo>
                  <a:lnTo>
                    <a:pt x="305" y="392"/>
                  </a:lnTo>
                  <a:lnTo>
                    <a:pt x="305" y="392"/>
                  </a:lnTo>
                  <a:lnTo>
                    <a:pt x="305" y="392"/>
                  </a:lnTo>
                  <a:lnTo>
                    <a:pt x="305" y="392"/>
                  </a:lnTo>
                  <a:lnTo>
                    <a:pt x="305" y="395"/>
                  </a:lnTo>
                  <a:lnTo>
                    <a:pt x="305" y="395"/>
                  </a:lnTo>
                  <a:lnTo>
                    <a:pt x="305" y="395"/>
                  </a:lnTo>
                  <a:lnTo>
                    <a:pt x="305" y="397"/>
                  </a:lnTo>
                  <a:lnTo>
                    <a:pt x="305" y="397"/>
                  </a:lnTo>
                  <a:lnTo>
                    <a:pt x="305" y="397"/>
                  </a:lnTo>
                  <a:lnTo>
                    <a:pt x="305" y="397"/>
                  </a:lnTo>
                  <a:lnTo>
                    <a:pt x="305" y="400"/>
                  </a:lnTo>
                  <a:lnTo>
                    <a:pt x="305" y="400"/>
                  </a:lnTo>
                  <a:lnTo>
                    <a:pt x="305" y="400"/>
                  </a:lnTo>
                  <a:lnTo>
                    <a:pt x="305" y="400"/>
                  </a:lnTo>
                  <a:lnTo>
                    <a:pt x="305" y="402"/>
                  </a:lnTo>
                  <a:lnTo>
                    <a:pt x="305" y="402"/>
                  </a:lnTo>
                  <a:lnTo>
                    <a:pt x="305" y="402"/>
                  </a:lnTo>
                  <a:lnTo>
                    <a:pt x="302" y="402"/>
                  </a:lnTo>
                  <a:lnTo>
                    <a:pt x="302" y="405"/>
                  </a:lnTo>
                  <a:lnTo>
                    <a:pt x="302" y="405"/>
                  </a:lnTo>
                  <a:lnTo>
                    <a:pt x="302" y="405"/>
                  </a:lnTo>
                  <a:lnTo>
                    <a:pt x="305" y="405"/>
                  </a:lnTo>
                  <a:lnTo>
                    <a:pt x="308" y="405"/>
                  </a:lnTo>
                  <a:lnTo>
                    <a:pt x="308" y="405"/>
                  </a:lnTo>
                  <a:lnTo>
                    <a:pt x="310" y="405"/>
                  </a:lnTo>
                  <a:lnTo>
                    <a:pt x="313" y="405"/>
                  </a:lnTo>
                  <a:lnTo>
                    <a:pt x="313" y="405"/>
                  </a:lnTo>
                  <a:lnTo>
                    <a:pt x="315" y="405"/>
                  </a:lnTo>
                  <a:lnTo>
                    <a:pt x="315" y="402"/>
                  </a:lnTo>
                  <a:lnTo>
                    <a:pt x="318" y="405"/>
                  </a:lnTo>
                  <a:lnTo>
                    <a:pt x="318" y="405"/>
                  </a:lnTo>
                  <a:lnTo>
                    <a:pt x="318" y="408"/>
                  </a:lnTo>
                  <a:lnTo>
                    <a:pt x="318" y="408"/>
                  </a:lnTo>
                  <a:lnTo>
                    <a:pt x="318" y="410"/>
                  </a:lnTo>
                  <a:lnTo>
                    <a:pt x="321" y="408"/>
                  </a:lnTo>
                  <a:lnTo>
                    <a:pt x="321" y="408"/>
                  </a:lnTo>
                  <a:lnTo>
                    <a:pt x="323" y="408"/>
                  </a:lnTo>
                  <a:lnTo>
                    <a:pt x="323" y="408"/>
                  </a:lnTo>
                  <a:lnTo>
                    <a:pt x="323" y="408"/>
                  </a:lnTo>
                  <a:lnTo>
                    <a:pt x="323" y="408"/>
                  </a:lnTo>
                  <a:lnTo>
                    <a:pt x="323" y="408"/>
                  </a:lnTo>
                  <a:lnTo>
                    <a:pt x="323" y="408"/>
                  </a:lnTo>
                  <a:lnTo>
                    <a:pt x="326" y="410"/>
                  </a:lnTo>
                  <a:lnTo>
                    <a:pt x="328" y="410"/>
                  </a:lnTo>
                  <a:lnTo>
                    <a:pt x="328" y="410"/>
                  </a:lnTo>
                  <a:lnTo>
                    <a:pt x="331" y="408"/>
                  </a:lnTo>
                  <a:lnTo>
                    <a:pt x="331" y="410"/>
                  </a:lnTo>
                  <a:lnTo>
                    <a:pt x="334" y="410"/>
                  </a:lnTo>
                  <a:lnTo>
                    <a:pt x="334" y="413"/>
                  </a:lnTo>
                  <a:lnTo>
                    <a:pt x="336" y="415"/>
                  </a:lnTo>
                  <a:lnTo>
                    <a:pt x="336" y="415"/>
                  </a:lnTo>
                  <a:lnTo>
                    <a:pt x="336" y="415"/>
                  </a:lnTo>
                  <a:lnTo>
                    <a:pt x="336" y="418"/>
                  </a:lnTo>
                  <a:lnTo>
                    <a:pt x="339" y="418"/>
                  </a:lnTo>
                  <a:lnTo>
                    <a:pt x="339" y="418"/>
                  </a:lnTo>
                  <a:lnTo>
                    <a:pt x="339" y="418"/>
                  </a:lnTo>
                  <a:lnTo>
                    <a:pt x="336" y="418"/>
                  </a:lnTo>
                  <a:lnTo>
                    <a:pt x="336" y="418"/>
                  </a:lnTo>
                  <a:lnTo>
                    <a:pt x="336" y="418"/>
                  </a:lnTo>
                  <a:lnTo>
                    <a:pt x="334" y="418"/>
                  </a:lnTo>
                  <a:lnTo>
                    <a:pt x="334" y="418"/>
                  </a:lnTo>
                  <a:lnTo>
                    <a:pt x="334" y="415"/>
                  </a:lnTo>
                  <a:lnTo>
                    <a:pt x="331" y="415"/>
                  </a:lnTo>
                  <a:lnTo>
                    <a:pt x="331" y="418"/>
                  </a:lnTo>
                  <a:lnTo>
                    <a:pt x="331" y="418"/>
                  </a:lnTo>
                  <a:lnTo>
                    <a:pt x="331" y="420"/>
                  </a:lnTo>
                  <a:lnTo>
                    <a:pt x="334" y="420"/>
                  </a:lnTo>
                  <a:lnTo>
                    <a:pt x="334" y="423"/>
                  </a:lnTo>
                  <a:lnTo>
                    <a:pt x="334" y="423"/>
                  </a:lnTo>
                  <a:lnTo>
                    <a:pt x="331" y="423"/>
                  </a:lnTo>
                  <a:lnTo>
                    <a:pt x="331" y="420"/>
                  </a:lnTo>
                  <a:lnTo>
                    <a:pt x="331" y="420"/>
                  </a:lnTo>
                  <a:lnTo>
                    <a:pt x="328" y="420"/>
                  </a:lnTo>
                  <a:lnTo>
                    <a:pt x="328" y="423"/>
                  </a:lnTo>
                  <a:lnTo>
                    <a:pt x="331" y="423"/>
                  </a:lnTo>
                  <a:lnTo>
                    <a:pt x="331" y="423"/>
                  </a:lnTo>
                  <a:lnTo>
                    <a:pt x="331" y="423"/>
                  </a:lnTo>
                  <a:lnTo>
                    <a:pt x="331" y="426"/>
                  </a:lnTo>
                  <a:lnTo>
                    <a:pt x="328" y="426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31"/>
                  </a:lnTo>
                  <a:lnTo>
                    <a:pt x="328" y="431"/>
                  </a:lnTo>
                  <a:lnTo>
                    <a:pt x="331" y="433"/>
                  </a:lnTo>
                  <a:lnTo>
                    <a:pt x="331" y="436"/>
                  </a:lnTo>
                  <a:lnTo>
                    <a:pt x="334" y="436"/>
                  </a:lnTo>
                  <a:lnTo>
                    <a:pt x="334" y="436"/>
                  </a:lnTo>
                  <a:lnTo>
                    <a:pt x="334" y="439"/>
                  </a:lnTo>
                  <a:lnTo>
                    <a:pt x="331" y="439"/>
                  </a:lnTo>
                  <a:lnTo>
                    <a:pt x="331" y="439"/>
                  </a:lnTo>
                  <a:lnTo>
                    <a:pt x="331" y="441"/>
                  </a:lnTo>
                  <a:lnTo>
                    <a:pt x="331" y="444"/>
                  </a:lnTo>
                  <a:lnTo>
                    <a:pt x="334" y="446"/>
                  </a:lnTo>
                  <a:lnTo>
                    <a:pt x="331" y="446"/>
                  </a:lnTo>
                  <a:lnTo>
                    <a:pt x="331" y="446"/>
                  </a:lnTo>
                  <a:lnTo>
                    <a:pt x="331" y="446"/>
                  </a:lnTo>
                  <a:lnTo>
                    <a:pt x="331" y="446"/>
                  </a:lnTo>
                  <a:lnTo>
                    <a:pt x="331" y="446"/>
                  </a:lnTo>
                  <a:lnTo>
                    <a:pt x="331" y="449"/>
                  </a:lnTo>
                  <a:lnTo>
                    <a:pt x="328" y="449"/>
                  </a:lnTo>
                  <a:lnTo>
                    <a:pt x="328" y="449"/>
                  </a:lnTo>
                  <a:lnTo>
                    <a:pt x="328" y="449"/>
                  </a:lnTo>
                  <a:lnTo>
                    <a:pt x="328" y="449"/>
                  </a:lnTo>
                  <a:lnTo>
                    <a:pt x="328" y="449"/>
                  </a:lnTo>
                  <a:lnTo>
                    <a:pt x="328" y="449"/>
                  </a:lnTo>
                  <a:lnTo>
                    <a:pt x="326" y="449"/>
                  </a:lnTo>
                  <a:lnTo>
                    <a:pt x="326" y="449"/>
                  </a:lnTo>
                  <a:lnTo>
                    <a:pt x="326" y="452"/>
                  </a:lnTo>
                  <a:lnTo>
                    <a:pt x="323" y="452"/>
                  </a:lnTo>
                  <a:lnTo>
                    <a:pt x="323" y="454"/>
                  </a:lnTo>
                  <a:lnTo>
                    <a:pt x="323" y="454"/>
                  </a:lnTo>
                  <a:lnTo>
                    <a:pt x="326" y="454"/>
                  </a:lnTo>
                  <a:lnTo>
                    <a:pt x="326" y="454"/>
                  </a:lnTo>
                  <a:lnTo>
                    <a:pt x="323" y="454"/>
                  </a:lnTo>
                  <a:lnTo>
                    <a:pt x="323" y="457"/>
                  </a:lnTo>
                  <a:lnTo>
                    <a:pt x="323" y="457"/>
                  </a:lnTo>
                  <a:lnTo>
                    <a:pt x="323" y="457"/>
                  </a:lnTo>
                  <a:lnTo>
                    <a:pt x="323" y="457"/>
                  </a:lnTo>
                  <a:lnTo>
                    <a:pt x="323" y="459"/>
                  </a:lnTo>
                  <a:lnTo>
                    <a:pt x="323" y="459"/>
                  </a:lnTo>
                  <a:lnTo>
                    <a:pt x="326" y="459"/>
                  </a:lnTo>
                  <a:lnTo>
                    <a:pt x="326" y="459"/>
                  </a:lnTo>
                  <a:lnTo>
                    <a:pt x="326" y="459"/>
                  </a:lnTo>
                  <a:lnTo>
                    <a:pt x="328" y="462"/>
                  </a:lnTo>
                  <a:lnTo>
                    <a:pt x="328" y="462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2"/>
                  </a:lnTo>
                  <a:lnTo>
                    <a:pt x="331" y="465"/>
                  </a:lnTo>
                  <a:lnTo>
                    <a:pt x="331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6" y="465"/>
                  </a:lnTo>
                  <a:lnTo>
                    <a:pt x="336" y="465"/>
                  </a:lnTo>
                  <a:lnTo>
                    <a:pt x="336" y="462"/>
                  </a:lnTo>
                  <a:lnTo>
                    <a:pt x="336" y="462"/>
                  </a:lnTo>
                  <a:lnTo>
                    <a:pt x="336" y="465"/>
                  </a:lnTo>
                  <a:lnTo>
                    <a:pt x="339" y="465"/>
                  </a:lnTo>
                  <a:lnTo>
                    <a:pt x="339" y="465"/>
                  </a:lnTo>
                  <a:lnTo>
                    <a:pt x="339" y="465"/>
                  </a:lnTo>
                  <a:lnTo>
                    <a:pt x="341" y="465"/>
                  </a:lnTo>
                  <a:lnTo>
                    <a:pt x="341" y="467"/>
                  </a:lnTo>
                  <a:lnTo>
                    <a:pt x="344" y="467"/>
                  </a:lnTo>
                  <a:lnTo>
                    <a:pt x="346" y="465"/>
                  </a:lnTo>
                  <a:lnTo>
                    <a:pt x="346" y="465"/>
                  </a:lnTo>
                  <a:lnTo>
                    <a:pt x="346" y="465"/>
                  </a:lnTo>
                  <a:lnTo>
                    <a:pt x="346" y="465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46" y="462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59"/>
                  </a:lnTo>
                  <a:lnTo>
                    <a:pt x="346" y="462"/>
                  </a:lnTo>
                  <a:lnTo>
                    <a:pt x="344" y="462"/>
                  </a:lnTo>
                  <a:lnTo>
                    <a:pt x="344" y="462"/>
                  </a:lnTo>
                  <a:lnTo>
                    <a:pt x="344" y="462"/>
                  </a:lnTo>
                  <a:lnTo>
                    <a:pt x="341" y="459"/>
                  </a:lnTo>
                  <a:lnTo>
                    <a:pt x="341" y="457"/>
                  </a:lnTo>
                  <a:lnTo>
                    <a:pt x="341" y="457"/>
                  </a:lnTo>
                  <a:lnTo>
                    <a:pt x="339" y="457"/>
                  </a:lnTo>
                  <a:lnTo>
                    <a:pt x="341" y="457"/>
                  </a:lnTo>
                  <a:lnTo>
                    <a:pt x="341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6" y="454"/>
                  </a:lnTo>
                  <a:lnTo>
                    <a:pt x="346" y="452"/>
                  </a:lnTo>
                  <a:lnTo>
                    <a:pt x="346" y="452"/>
                  </a:lnTo>
                  <a:lnTo>
                    <a:pt x="346" y="452"/>
                  </a:lnTo>
                  <a:lnTo>
                    <a:pt x="346" y="452"/>
                  </a:lnTo>
                  <a:lnTo>
                    <a:pt x="349" y="452"/>
                  </a:lnTo>
                  <a:lnTo>
                    <a:pt x="349" y="452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52" y="449"/>
                  </a:lnTo>
                  <a:lnTo>
                    <a:pt x="349" y="449"/>
                  </a:lnTo>
                  <a:lnTo>
                    <a:pt x="349" y="449"/>
                  </a:lnTo>
                  <a:lnTo>
                    <a:pt x="352" y="446"/>
                  </a:lnTo>
                  <a:lnTo>
                    <a:pt x="352" y="446"/>
                  </a:lnTo>
                  <a:lnTo>
                    <a:pt x="354" y="446"/>
                  </a:lnTo>
                  <a:lnTo>
                    <a:pt x="354" y="449"/>
                  </a:lnTo>
                  <a:lnTo>
                    <a:pt x="354" y="449"/>
                  </a:lnTo>
                  <a:lnTo>
                    <a:pt x="354" y="449"/>
                  </a:lnTo>
                  <a:lnTo>
                    <a:pt x="354" y="449"/>
                  </a:lnTo>
                  <a:lnTo>
                    <a:pt x="354" y="449"/>
                  </a:lnTo>
                  <a:lnTo>
                    <a:pt x="357" y="452"/>
                  </a:lnTo>
                  <a:lnTo>
                    <a:pt x="357" y="454"/>
                  </a:lnTo>
                  <a:lnTo>
                    <a:pt x="357" y="454"/>
                  </a:lnTo>
                  <a:lnTo>
                    <a:pt x="357" y="454"/>
                  </a:lnTo>
                  <a:lnTo>
                    <a:pt x="357" y="452"/>
                  </a:lnTo>
                  <a:lnTo>
                    <a:pt x="357" y="449"/>
                  </a:lnTo>
                  <a:lnTo>
                    <a:pt x="357" y="449"/>
                  </a:lnTo>
                  <a:lnTo>
                    <a:pt x="357" y="449"/>
                  </a:lnTo>
                  <a:lnTo>
                    <a:pt x="357" y="449"/>
                  </a:lnTo>
                  <a:lnTo>
                    <a:pt x="357" y="446"/>
                  </a:lnTo>
                  <a:lnTo>
                    <a:pt x="357" y="446"/>
                  </a:lnTo>
                  <a:lnTo>
                    <a:pt x="357" y="446"/>
                  </a:lnTo>
                  <a:lnTo>
                    <a:pt x="357" y="446"/>
                  </a:lnTo>
                  <a:lnTo>
                    <a:pt x="357" y="446"/>
                  </a:lnTo>
                  <a:lnTo>
                    <a:pt x="357" y="446"/>
                  </a:lnTo>
                  <a:lnTo>
                    <a:pt x="359" y="446"/>
                  </a:lnTo>
                  <a:lnTo>
                    <a:pt x="359" y="449"/>
                  </a:lnTo>
                  <a:lnTo>
                    <a:pt x="359" y="446"/>
                  </a:lnTo>
                  <a:lnTo>
                    <a:pt x="359" y="446"/>
                  </a:lnTo>
                  <a:lnTo>
                    <a:pt x="359" y="446"/>
                  </a:lnTo>
                  <a:lnTo>
                    <a:pt x="362" y="446"/>
                  </a:lnTo>
                  <a:lnTo>
                    <a:pt x="362" y="446"/>
                  </a:lnTo>
                  <a:lnTo>
                    <a:pt x="362" y="446"/>
                  </a:lnTo>
                  <a:lnTo>
                    <a:pt x="362" y="446"/>
                  </a:lnTo>
                  <a:lnTo>
                    <a:pt x="362" y="446"/>
                  </a:lnTo>
                  <a:lnTo>
                    <a:pt x="365" y="446"/>
                  </a:lnTo>
                  <a:lnTo>
                    <a:pt x="365" y="446"/>
                  </a:lnTo>
                  <a:lnTo>
                    <a:pt x="365" y="446"/>
                  </a:lnTo>
                  <a:lnTo>
                    <a:pt x="365" y="449"/>
                  </a:lnTo>
                  <a:lnTo>
                    <a:pt x="365" y="449"/>
                  </a:lnTo>
                  <a:lnTo>
                    <a:pt x="365" y="449"/>
                  </a:lnTo>
                  <a:lnTo>
                    <a:pt x="365" y="449"/>
                  </a:lnTo>
                  <a:lnTo>
                    <a:pt x="365" y="452"/>
                  </a:lnTo>
                  <a:lnTo>
                    <a:pt x="365" y="452"/>
                  </a:lnTo>
                  <a:lnTo>
                    <a:pt x="365" y="452"/>
                  </a:lnTo>
                  <a:lnTo>
                    <a:pt x="365" y="452"/>
                  </a:lnTo>
                  <a:lnTo>
                    <a:pt x="367" y="452"/>
                  </a:lnTo>
                  <a:lnTo>
                    <a:pt x="370" y="452"/>
                  </a:lnTo>
                  <a:lnTo>
                    <a:pt x="372" y="449"/>
                  </a:lnTo>
                  <a:lnTo>
                    <a:pt x="372" y="449"/>
                  </a:lnTo>
                  <a:lnTo>
                    <a:pt x="372" y="446"/>
                  </a:lnTo>
                  <a:lnTo>
                    <a:pt x="375" y="446"/>
                  </a:lnTo>
                  <a:lnTo>
                    <a:pt x="375" y="444"/>
                  </a:lnTo>
                  <a:lnTo>
                    <a:pt x="378" y="444"/>
                  </a:lnTo>
                  <a:lnTo>
                    <a:pt x="378" y="444"/>
                  </a:lnTo>
                  <a:lnTo>
                    <a:pt x="378" y="444"/>
                  </a:lnTo>
                  <a:lnTo>
                    <a:pt x="378" y="441"/>
                  </a:lnTo>
                  <a:lnTo>
                    <a:pt x="378" y="441"/>
                  </a:lnTo>
                  <a:lnTo>
                    <a:pt x="380" y="441"/>
                  </a:lnTo>
                  <a:lnTo>
                    <a:pt x="380" y="441"/>
                  </a:lnTo>
                  <a:lnTo>
                    <a:pt x="380" y="444"/>
                  </a:lnTo>
                  <a:lnTo>
                    <a:pt x="380" y="444"/>
                  </a:lnTo>
                  <a:lnTo>
                    <a:pt x="380" y="444"/>
                  </a:lnTo>
                  <a:lnTo>
                    <a:pt x="380" y="446"/>
                  </a:lnTo>
                  <a:lnTo>
                    <a:pt x="380" y="446"/>
                  </a:lnTo>
                  <a:lnTo>
                    <a:pt x="383" y="444"/>
                  </a:lnTo>
                  <a:lnTo>
                    <a:pt x="383" y="444"/>
                  </a:lnTo>
                  <a:lnTo>
                    <a:pt x="383" y="444"/>
                  </a:lnTo>
                  <a:lnTo>
                    <a:pt x="385" y="444"/>
                  </a:lnTo>
                  <a:lnTo>
                    <a:pt x="385" y="444"/>
                  </a:lnTo>
                  <a:lnTo>
                    <a:pt x="388" y="444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90" y="441"/>
                  </a:lnTo>
                  <a:lnTo>
                    <a:pt x="390" y="441"/>
                  </a:lnTo>
                  <a:lnTo>
                    <a:pt x="390" y="441"/>
                  </a:lnTo>
                  <a:lnTo>
                    <a:pt x="390" y="441"/>
                  </a:lnTo>
                  <a:lnTo>
                    <a:pt x="390" y="441"/>
                  </a:lnTo>
                  <a:lnTo>
                    <a:pt x="393" y="439"/>
                  </a:lnTo>
                  <a:lnTo>
                    <a:pt x="393" y="439"/>
                  </a:lnTo>
                  <a:lnTo>
                    <a:pt x="393" y="436"/>
                  </a:lnTo>
                  <a:lnTo>
                    <a:pt x="393" y="436"/>
                  </a:lnTo>
                  <a:lnTo>
                    <a:pt x="393" y="436"/>
                  </a:lnTo>
                  <a:lnTo>
                    <a:pt x="393" y="433"/>
                  </a:lnTo>
                  <a:lnTo>
                    <a:pt x="396" y="433"/>
                  </a:lnTo>
                  <a:lnTo>
                    <a:pt x="396" y="433"/>
                  </a:lnTo>
                  <a:lnTo>
                    <a:pt x="396" y="433"/>
                  </a:lnTo>
                  <a:lnTo>
                    <a:pt x="396" y="436"/>
                  </a:lnTo>
                  <a:lnTo>
                    <a:pt x="396" y="436"/>
                  </a:lnTo>
                  <a:lnTo>
                    <a:pt x="398" y="436"/>
                  </a:lnTo>
                  <a:lnTo>
                    <a:pt x="398" y="436"/>
                  </a:lnTo>
                  <a:lnTo>
                    <a:pt x="398" y="436"/>
                  </a:lnTo>
                  <a:lnTo>
                    <a:pt x="401" y="433"/>
                  </a:lnTo>
                  <a:lnTo>
                    <a:pt x="401" y="433"/>
                  </a:lnTo>
                  <a:lnTo>
                    <a:pt x="401" y="433"/>
                  </a:lnTo>
                  <a:lnTo>
                    <a:pt x="403" y="433"/>
                  </a:lnTo>
                  <a:lnTo>
                    <a:pt x="403" y="433"/>
                  </a:lnTo>
                  <a:lnTo>
                    <a:pt x="403" y="433"/>
                  </a:lnTo>
                  <a:lnTo>
                    <a:pt x="403" y="431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6" y="431"/>
                  </a:lnTo>
                  <a:lnTo>
                    <a:pt x="406" y="431"/>
                  </a:lnTo>
                  <a:lnTo>
                    <a:pt x="409" y="428"/>
                  </a:lnTo>
                  <a:lnTo>
                    <a:pt x="409" y="428"/>
                  </a:lnTo>
                  <a:lnTo>
                    <a:pt x="411" y="428"/>
                  </a:lnTo>
                  <a:lnTo>
                    <a:pt x="411" y="428"/>
                  </a:lnTo>
                  <a:lnTo>
                    <a:pt x="414" y="426"/>
                  </a:lnTo>
                  <a:lnTo>
                    <a:pt x="414" y="423"/>
                  </a:lnTo>
                  <a:lnTo>
                    <a:pt x="414" y="420"/>
                  </a:lnTo>
                  <a:lnTo>
                    <a:pt x="414" y="420"/>
                  </a:lnTo>
                  <a:lnTo>
                    <a:pt x="414" y="420"/>
                  </a:lnTo>
                  <a:lnTo>
                    <a:pt x="414" y="420"/>
                  </a:lnTo>
                  <a:lnTo>
                    <a:pt x="416" y="418"/>
                  </a:lnTo>
                  <a:lnTo>
                    <a:pt x="416" y="418"/>
                  </a:lnTo>
                  <a:lnTo>
                    <a:pt x="414" y="415"/>
                  </a:lnTo>
                  <a:lnTo>
                    <a:pt x="416" y="415"/>
                  </a:lnTo>
                  <a:lnTo>
                    <a:pt x="419" y="415"/>
                  </a:lnTo>
                  <a:lnTo>
                    <a:pt x="419" y="415"/>
                  </a:lnTo>
                  <a:lnTo>
                    <a:pt x="419" y="415"/>
                  </a:lnTo>
                  <a:lnTo>
                    <a:pt x="422" y="415"/>
                  </a:lnTo>
                  <a:lnTo>
                    <a:pt x="422" y="415"/>
                  </a:lnTo>
                  <a:lnTo>
                    <a:pt x="424" y="415"/>
                  </a:lnTo>
                  <a:lnTo>
                    <a:pt x="427" y="418"/>
                  </a:lnTo>
                  <a:lnTo>
                    <a:pt x="427" y="418"/>
                  </a:lnTo>
                  <a:lnTo>
                    <a:pt x="429" y="420"/>
                  </a:lnTo>
                  <a:lnTo>
                    <a:pt x="432" y="420"/>
                  </a:lnTo>
                  <a:lnTo>
                    <a:pt x="432" y="420"/>
                  </a:lnTo>
                  <a:lnTo>
                    <a:pt x="434" y="420"/>
                  </a:lnTo>
                  <a:lnTo>
                    <a:pt x="437" y="420"/>
                  </a:lnTo>
                  <a:lnTo>
                    <a:pt x="440" y="420"/>
                  </a:lnTo>
                  <a:lnTo>
                    <a:pt x="440" y="418"/>
                  </a:lnTo>
                  <a:lnTo>
                    <a:pt x="440" y="418"/>
                  </a:lnTo>
                  <a:lnTo>
                    <a:pt x="442" y="418"/>
                  </a:lnTo>
                  <a:lnTo>
                    <a:pt x="442" y="418"/>
                  </a:lnTo>
                  <a:lnTo>
                    <a:pt x="445" y="420"/>
                  </a:lnTo>
                  <a:lnTo>
                    <a:pt x="445" y="420"/>
                  </a:lnTo>
                  <a:lnTo>
                    <a:pt x="445" y="420"/>
                  </a:lnTo>
                  <a:lnTo>
                    <a:pt x="447" y="420"/>
                  </a:lnTo>
                  <a:lnTo>
                    <a:pt x="447" y="420"/>
                  </a:lnTo>
                  <a:lnTo>
                    <a:pt x="447" y="420"/>
                  </a:lnTo>
                  <a:lnTo>
                    <a:pt x="447" y="418"/>
                  </a:lnTo>
                  <a:lnTo>
                    <a:pt x="447" y="418"/>
                  </a:lnTo>
                  <a:lnTo>
                    <a:pt x="447" y="418"/>
                  </a:lnTo>
                  <a:lnTo>
                    <a:pt x="447" y="418"/>
                  </a:lnTo>
                  <a:lnTo>
                    <a:pt x="445" y="418"/>
                  </a:lnTo>
                  <a:lnTo>
                    <a:pt x="445" y="415"/>
                  </a:lnTo>
                  <a:lnTo>
                    <a:pt x="445" y="415"/>
                  </a:lnTo>
                  <a:lnTo>
                    <a:pt x="445" y="413"/>
                  </a:lnTo>
                  <a:lnTo>
                    <a:pt x="445" y="413"/>
                  </a:lnTo>
                  <a:lnTo>
                    <a:pt x="445" y="413"/>
                  </a:lnTo>
                  <a:lnTo>
                    <a:pt x="445" y="413"/>
                  </a:lnTo>
                  <a:lnTo>
                    <a:pt x="445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50" y="408"/>
                  </a:lnTo>
                  <a:lnTo>
                    <a:pt x="450" y="408"/>
                  </a:lnTo>
                  <a:lnTo>
                    <a:pt x="450" y="408"/>
                  </a:lnTo>
                  <a:lnTo>
                    <a:pt x="450" y="405"/>
                  </a:lnTo>
                  <a:lnTo>
                    <a:pt x="450" y="405"/>
                  </a:lnTo>
                  <a:lnTo>
                    <a:pt x="450" y="405"/>
                  </a:lnTo>
                  <a:lnTo>
                    <a:pt x="450" y="402"/>
                  </a:lnTo>
                  <a:lnTo>
                    <a:pt x="447" y="400"/>
                  </a:lnTo>
                  <a:lnTo>
                    <a:pt x="447" y="400"/>
                  </a:lnTo>
                  <a:lnTo>
                    <a:pt x="447" y="397"/>
                  </a:lnTo>
                  <a:lnTo>
                    <a:pt x="447" y="395"/>
                  </a:lnTo>
                  <a:lnTo>
                    <a:pt x="447" y="395"/>
                  </a:lnTo>
                  <a:lnTo>
                    <a:pt x="447" y="392"/>
                  </a:lnTo>
                  <a:lnTo>
                    <a:pt x="445" y="392"/>
                  </a:lnTo>
                  <a:lnTo>
                    <a:pt x="445" y="392"/>
                  </a:lnTo>
                  <a:lnTo>
                    <a:pt x="445" y="392"/>
                  </a:lnTo>
                  <a:lnTo>
                    <a:pt x="445" y="389"/>
                  </a:lnTo>
                  <a:lnTo>
                    <a:pt x="445" y="387"/>
                  </a:lnTo>
                  <a:lnTo>
                    <a:pt x="442" y="387"/>
                  </a:lnTo>
                  <a:lnTo>
                    <a:pt x="442" y="384"/>
                  </a:lnTo>
                  <a:lnTo>
                    <a:pt x="442" y="384"/>
                  </a:lnTo>
                  <a:lnTo>
                    <a:pt x="440" y="384"/>
                  </a:lnTo>
                  <a:lnTo>
                    <a:pt x="440" y="384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7" y="382"/>
                  </a:lnTo>
                  <a:lnTo>
                    <a:pt x="440" y="382"/>
                  </a:lnTo>
                  <a:lnTo>
                    <a:pt x="440" y="379"/>
                  </a:lnTo>
                  <a:lnTo>
                    <a:pt x="440" y="379"/>
                  </a:lnTo>
                  <a:lnTo>
                    <a:pt x="437" y="376"/>
                  </a:lnTo>
                  <a:lnTo>
                    <a:pt x="437" y="376"/>
                  </a:lnTo>
                  <a:lnTo>
                    <a:pt x="437" y="376"/>
                  </a:lnTo>
                  <a:lnTo>
                    <a:pt x="440" y="374"/>
                  </a:lnTo>
                  <a:lnTo>
                    <a:pt x="440" y="374"/>
                  </a:lnTo>
                  <a:lnTo>
                    <a:pt x="440" y="371"/>
                  </a:lnTo>
                  <a:lnTo>
                    <a:pt x="440" y="371"/>
                  </a:lnTo>
                  <a:lnTo>
                    <a:pt x="440" y="371"/>
                  </a:lnTo>
                  <a:lnTo>
                    <a:pt x="440" y="371"/>
                  </a:lnTo>
                  <a:lnTo>
                    <a:pt x="440" y="369"/>
                  </a:lnTo>
                  <a:lnTo>
                    <a:pt x="440" y="369"/>
                  </a:lnTo>
                  <a:lnTo>
                    <a:pt x="440" y="369"/>
                  </a:lnTo>
                  <a:lnTo>
                    <a:pt x="440" y="369"/>
                  </a:lnTo>
                  <a:lnTo>
                    <a:pt x="440" y="369"/>
                  </a:lnTo>
                  <a:lnTo>
                    <a:pt x="442" y="369"/>
                  </a:lnTo>
                  <a:lnTo>
                    <a:pt x="442" y="369"/>
                  </a:lnTo>
                  <a:lnTo>
                    <a:pt x="442" y="366"/>
                  </a:lnTo>
                  <a:lnTo>
                    <a:pt x="445" y="363"/>
                  </a:lnTo>
                  <a:lnTo>
                    <a:pt x="445" y="363"/>
                  </a:lnTo>
                  <a:lnTo>
                    <a:pt x="445" y="361"/>
                  </a:lnTo>
                  <a:lnTo>
                    <a:pt x="445" y="361"/>
                  </a:lnTo>
                  <a:lnTo>
                    <a:pt x="445" y="358"/>
                  </a:lnTo>
                  <a:lnTo>
                    <a:pt x="442" y="358"/>
                  </a:lnTo>
                  <a:lnTo>
                    <a:pt x="442" y="356"/>
                  </a:lnTo>
                  <a:lnTo>
                    <a:pt x="442" y="356"/>
                  </a:lnTo>
                  <a:lnTo>
                    <a:pt x="442" y="356"/>
                  </a:lnTo>
                  <a:lnTo>
                    <a:pt x="442" y="356"/>
                  </a:lnTo>
                  <a:lnTo>
                    <a:pt x="442" y="356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5" y="353"/>
                  </a:lnTo>
                  <a:lnTo>
                    <a:pt x="445" y="350"/>
                  </a:lnTo>
                  <a:lnTo>
                    <a:pt x="447" y="350"/>
                  </a:lnTo>
                  <a:lnTo>
                    <a:pt x="445" y="350"/>
                  </a:lnTo>
                  <a:lnTo>
                    <a:pt x="445" y="350"/>
                  </a:lnTo>
                  <a:lnTo>
                    <a:pt x="442" y="350"/>
                  </a:lnTo>
                  <a:lnTo>
                    <a:pt x="442" y="350"/>
                  </a:lnTo>
                  <a:lnTo>
                    <a:pt x="442" y="348"/>
                  </a:lnTo>
                  <a:lnTo>
                    <a:pt x="440" y="348"/>
                  </a:lnTo>
                  <a:lnTo>
                    <a:pt x="440" y="348"/>
                  </a:lnTo>
                  <a:lnTo>
                    <a:pt x="440" y="348"/>
                  </a:lnTo>
                  <a:lnTo>
                    <a:pt x="437" y="345"/>
                  </a:lnTo>
                  <a:lnTo>
                    <a:pt x="437" y="343"/>
                  </a:lnTo>
                  <a:lnTo>
                    <a:pt x="437" y="343"/>
                  </a:lnTo>
                  <a:lnTo>
                    <a:pt x="437" y="343"/>
                  </a:lnTo>
                  <a:lnTo>
                    <a:pt x="437" y="343"/>
                  </a:lnTo>
                  <a:lnTo>
                    <a:pt x="440" y="343"/>
                  </a:lnTo>
                  <a:lnTo>
                    <a:pt x="440" y="343"/>
                  </a:lnTo>
                  <a:lnTo>
                    <a:pt x="442" y="340"/>
                  </a:lnTo>
                  <a:lnTo>
                    <a:pt x="442" y="343"/>
                  </a:lnTo>
                  <a:lnTo>
                    <a:pt x="442" y="343"/>
                  </a:lnTo>
                  <a:lnTo>
                    <a:pt x="445" y="343"/>
                  </a:lnTo>
                  <a:lnTo>
                    <a:pt x="445" y="340"/>
                  </a:lnTo>
                  <a:lnTo>
                    <a:pt x="445" y="340"/>
                  </a:lnTo>
                  <a:lnTo>
                    <a:pt x="447" y="340"/>
                  </a:lnTo>
                  <a:lnTo>
                    <a:pt x="447" y="340"/>
                  </a:lnTo>
                  <a:lnTo>
                    <a:pt x="447" y="338"/>
                  </a:lnTo>
                  <a:lnTo>
                    <a:pt x="447" y="338"/>
                  </a:lnTo>
                  <a:lnTo>
                    <a:pt x="445" y="338"/>
                  </a:lnTo>
                  <a:lnTo>
                    <a:pt x="450" y="335"/>
                  </a:lnTo>
                  <a:lnTo>
                    <a:pt x="455" y="335"/>
                  </a:lnTo>
                  <a:lnTo>
                    <a:pt x="458" y="335"/>
                  </a:lnTo>
                  <a:lnTo>
                    <a:pt x="463" y="335"/>
                  </a:lnTo>
                  <a:lnTo>
                    <a:pt x="466" y="335"/>
                  </a:lnTo>
                  <a:lnTo>
                    <a:pt x="466" y="335"/>
                  </a:lnTo>
                  <a:lnTo>
                    <a:pt x="468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3" y="335"/>
                  </a:lnTo>
                  <a:lnTo>
                    <a:pt x="478" y="332"/>
                  </a:lnTo>
                  <a:lnTo>
                    <a:pt x="478" y="335"/>
                  </a:lnTo>
                  <a:lnTo>
                    <a:pt x="481" y="335"/>
                  </a:lnTo>
                  <a:lnTo>
                    <a:pt x="481" y="332"/>
                  </a:lnTo>
                  <a:lnTo>
                    <a:pt x="481" y="332"/>
                  </a:lnTo>
                  <a:lnTo>
                    <a:pt x="481" y="330"/>
                  </a:lnTo>
                  <a:lnTo>
                    <a:pt x="481" y="330"/>
                  </a:lnTo>
                  <a:lnTo>
                    <a:pt x="481" y="330"/>
                  </a:lnTo>
                  <a:lnTo>
                    <a:pt x="481" y="327"/>
                  </a:lnTo>
                  <a:lnTo>
                    <a:pt x="481" y="327"/>
                  </a:lnTo>
                  <a:lnTo>
                    <a:pt x="478" y="327"/>
                  </a:lnTo>
                  <a:lnTo>
                    <a:pt x="478" y="327"/>
                  </a:lnTo>
                  <a:lnTo>
                    <a:pt x="478" y="327"/>
                  </a:lnTo>
                  <a:lnTo>
                    <a:pt x="481" y="325"/>
                  </a:lnTo>
                  <a:lnTo>
                    <a:pt x="486" y="322"/>
                  </a:lnTo>
                  <a:lnTo>
                    <a:pt x="489" y="322"/>
                  </a:lnTo>
                  <a:lnTo>
                    <a:pt x="489" y="322"/>
                  </a:lnTo>
                  <a:lnTo>
                    <a:pt x="489" y="322"/>
                  </a:lnTo>
                  <a:lnTo>
                    <a:pt x="489" y="319"/>
                  </a:lnTo>
                  <a:lnTo>
                    <a:pt x="489" y="319"/>
                  </a:lnTo>
                  <a:lnTo>
                    <a:pt x="491" y="317"/>
                  </a:lnTo>
                  <a:lnTo>
                    <a:pt x="491" y="317"/>
                  </a:lnTo>
                  <a:lnTo>
                    <a:pt x="491" y="317"/>
                  </a:lnTo>
                  <a:lnTo>
                    <a:pt x="491" y="314"/>
                  </a:lnTo>
                  <a:lnTo>
                    <a:pt x="491" y="314"/>
                  </a:lnTo>
                  <a:lnTo>
                    <a:pt x="491" y="314"/>
                  </a:lnTo>
                  <a:lnTo>
                    <a:pt x="489" y="314"/>
                  </a:lnTo>
                  <a:lnTo>
                    <a:pt x="489" y="312"/>
                  </a:lnTo>
                  <a:lnTo>
                    <a:pt x="486" y="312"/>
                  </a:lnTo>
                  <a:lnTo>
                    <a:pt x="486" y="309"/>
                  </a:lnTo>
                  <a:lnTo>
                    <a:pt x="486" y="309"/>
                  </a:lnTo>
                  <a:lnTo>
                    <a:pt x="486" y="309"/>
                  </a:lnTo>
                  <a:lnTo>
                    <a:pt x="486" y="309"/>
                  </a:lnTo>
                  <a:lnTo>
                    <a:pt x="489" y="306"/>
                  </a:lnTo>
                  <a:lnTo>
                    <a:pt x="489" y="306"/>
                  </a:lnTo>
                  <a:lnTo>
                    <a:pt x="489" y="306"/>
                  </a:lnTo>
                  <a:lnTo>
                    <a:pt x="489" y="306"/>
                  </a:lnTo>
                  <a:lnTo>
                    <a:pt x="491" y="306"/>
                  </a:lnTo>
                  <a:lnTo>
                    <a:pt x="494" y="306"/>
                  </a:lnTo>
                  <a:lnTo>
                    <a:pt x="494" y="304"/>
                  </a:lnTo>
                  <a:lnTo>
                    <a:pt x="494" y="301"/>
                  </a:lnTo>
                  <a:lnTo>
                    <a:pt x="494" y="301"/>
                  </a:lnTo>
                  <a:lnTo>
                    <a:pt x="491" y="301"/>
                  </a:lnTo>
                  <a:lnTo>
                    <a:pt x="491" y="299"/>
                  </a:lnTo>
                  <a:lnTo>
                    <a:pt x="491" y="299"/>
                  </a:lnTo>
                  <a:lnTo>
                    <a:pt x="491" y="296"/>
                  </a:lnTo>
                  <a:lnTo>
                    <a:pt x="491" y="296"/>
                  </a:lnTo>
                  <a:lnTo>
                    <a:pt x="489" y="296"/>
                  </a:lnTo>
                  <a:lnTo>
                    <a:pt x="489" y="296"/>
                  </a:lnTo>
                  <a:lnTo>
                    <a:pt x="489" y="296"/>
                  </a:lnTo>
                  <a:lnTo>
                    <a:pt x="489" y="296"/>
                  </a:lnTo>
                  <a:lnTo>
                    <a:pt x="486" y="296"/>
                  </a:lnTo>
                  <a:lnTo>
                    <a:pt x="486" y="293"/>
                  </a:lnTo>
                  <a:lnTo>
                    <a:pt x="486" y="293"/>
                  </a:lnTo>
                  <a:lnTo>
                    <a:pt x="486" y="291"/>
                  </a:lnTo>
                  <a:lnTo>
                    <a:pt x="489" y="291"/>
                  </a:lnTo>
                  <a:lnTo>
                    <a:pt x="489" y="291"/>
                  </a:lnTo>
                  <a:lnTo>
                    <a:pt x="489" y="291"/>
                  </a:lnTo>
                  <a:lnTo>
                    <a:pt x="489" y="291"/>
                  </a:lnTo>
                  <a:lnTo>
                    <a:pt x="489" y="291"/>
                  </a:lnTo>
                  <a:lnTo>
                    <a:pt x="489" y="288"/>
                  </a:lnTo>
                  <a:lnTo>
                    <a:pt x="486" y="288"/>
                  </a:lnTo>
                  <a:lnTo>
                    <a:pt x="484" y="286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6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6" y="283"/>
                  </a:lnTo>
                  <a:lnTo>
                    <a:pt x="489" y="283"/>
                  </a:lnTo>
                  <a:lnTo>
                    <a:pt x="491" y="283"/>
                  </a:lnTo>
                  <a:lnTo>
                    <a:pt x="491" y="283"/>
                  </a:lnTo>
                  <a:lnTo>
                    <a:pt x="491" y="280"/>
                  </a:lnTo>
                  <a:lnTo>
                    <a:pt x="494" y="280"/>
                  </a:lnTo>
                  <a:lnTo>
                    <a:pt x="494" y="280"/>
                  </a:lnTo>
                  <a:lnTo>
                    <a:pt x="494" y="280"/>
                  </a:lnTo>
                  <a:lnTo>
                    <a:pt x="494" y="280"/>
                  </a:lnTo>
                  <a:lnTo>
                    <a:pt x="494" y="280"/>
                  </a:lnTo>
                  <a:lnTo>
                    <a:pt x="494" y="278"/>
                  </a:lnTo>
                  <a:lnTo>
                    <a:pt x="494" y="278"/>
                  </a:lnTo>
                  <a:lnTo>
                    <a:pt x="494" y="278"/>
                  </a:lnTo>
                  <a:lnTo>
                    <a:pt x="491" y="278"/>
                  </a:lnTo>
                  <a:lnTo>
                    <a:pt x="491" y="278"/>
                  </a:lnTo>
                  <a:lnTo>
                    <a:pt x="491" y="278"/>
                  </a:lnTo>
                  <a:lnTo>
                    <a:pt x="491" y="278"/>
                  </a:lnTo>
                  <a:lnTo>
                    <a:pt x="489" y="275"/>
                  </a:lnTo>
                  <a:lnTo>
                    <a:pt x="489" y="275"/>
                  </a:lnTo>
                  <a:lnTo>
                    <a:pt x="489" y="275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73"/>
                  </a:lnTo>
                  <a:lnTo>
                    <a:pt x="486" y="273"/>
                  </a:lnTo>
                  <a:lnTo>
                    <a:pt x="484" y="273"/>
                  </a:lnTo>
                  <a:lnTo>
                    <a:pt x="481" y="268"/>
                  </a:lnTo>
                  <a:lnTo>
                    <a:pt x="478" y="268"/>
                  </a:lnTo>
                  <a:lnTo>
                    <a:pt x="478" y="265"/>
                  </a:lnTo>
                  <a:lnTo>
                    <a:pt x="478" y="262"/>
                  </a:lnTo>
                  <a:lnTo>
                    <a:pt x="478" y="260"/>
                  </a:lnTo>
                  <a:lnTo>
                    <a:pt x="478" y="260"/>
                  </a:lnTo>
                  <a:lnTo>
                    <a:pt x="478" y="260"/>
                  </a:lnTo>
                  <a:lnTo>
                    <a:pt x="478" y="257"/>
                  </a:lnTo>
                  <a:lnTo>
                    <a:pt x="481" y="257"/>
                  </a:lnTo>
                  <a:lnTo>
                    <a:pt x="481" y="257"/>
                  </a:lnTo>
                  <a:lnTo>
                    <a:pt x="484" y="257"/>
                  </a:lnTo>
                  <a:lnTo>
                    <a:pt x="484" y="257"/>
                  </a:lnTo>
                  <a:lnTo>
                    <a:pt x="486" y="257"/>
                  </a:lnTo>
                  <a:lnTo>
                    <a:pt x="484" y="255"/>
                  </a:lnTo>
                  <a:lnTo>
                    <a:pt x="481" y="252"/>
                  </a:lnTo>
                  <a:lnTo>
                    <a:pt x="478" y="247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2"/>
                  </a:lnTo>
                  <a:lnTo>
                    <a:pt x="478" y="242"/>
                  </a:lnTo>
                  <a:lnTo>
                    <a:pt x="478" y="242"/>
                  </a:lnTo>
                  <a:lnTo>
                    <a:pt x="478" y="242"/>
                  </a:lnTo>
                  <a:lnTo>
                    <a:pt x="478" y="242"/>
                  </a:lnTo>
                  <a:lnTo>
                    <a:pt x="478" y="239"/>
                  </a:lnTo>
                  <a:lnTo>
                    <a:pt x="481" y="239"/>
                  </a:lnTo>
                  <a:lnTo>
                    <a:pt x="484" y="236"/>
                  </a:lnTo>
                  <a:lnTo>
                    <a:pt x="484" y="236"/>
                  </a:lnTo>
                  <a:lnTo>
                    <a:pt x="481" y="234"/>
                  </a:lnTo>
                  <a:lnTo>
                    <a:pt x="481" y="234"/>
                  </a:lnTo>
                  <a:lnTo>
                    <a:pt x="481" y="234"/>
                  </a:lnTo>
                  <a:lnTo>
                    <a:pt x="478" y="234"/>
                  </a:lnTo>
                  <a:lnTo>
                    <a:pt x="478" y="236"/>
                  </a:lnTo>
                  <a:lnTo>
                    <a:pt x="476" y="236"/>
                  </a:lnTo>
                  <a:lnTo>
                    <a:pt x="476" y="236"/>
                  </a:lnTo>
                  <a:lnTo>
                    <a:pt x="476" y="236"/>
                  </a:lnTo>
                  <a:lnTo>
                    <a:pt x="476" y="234"/>
                  </a:lnTo>
                  <a:lnTo>
                    <a:pt x="473" y="234"/>
                  </a:lnTo>
                  <a:lnTo>
                    <a:pt x="473" y="231"/>
                  </a:lnTo>
                  <a:lnTo>
                    <a:pt x="473" y="231"/>
                  </a:lnTo>
                  <a:lnTo>
                    <a:pt x="471" y="229"/>
                  </a:lnTo>
                  <a:lnTo>
                    <a:pt x="471" y="229"/>
                  </a:lnTo>
                  <a:lnTo>
                    <a:pt x="471" y="226"/>
                  </a:lnTo>
                  <a:lnTo>
                    <a:pt x="468" y="226"/>
                  </a:lnTo>
                  <a:lnTo>
                    <a:pt x="468" y="223"/>
                  </a:lnTo>
                  <a:lnTo>
                    <a:pt x="466" y="221"/>
                  </a:lnTo>
                  <a:lnTo>
                    <a:pt x="466" y="221"/>
                  </a:lnTo>
                  <a:lnTo>
                    <a:pt x="466" y="221"/>
                  </a:lnTo>
                  <a:lnTo>
                    <a:pt x="466" y="218"/>
                  </a:lnTo>
                  <a:lnTo>
                    <a:pt x="466" y="218"/>
                  </a:lnTo>
                  <a:lnTo>
                    <a:pt x="463" y="218"/>
                  </a:lnTo>
                  <a:lnTo>
                    <a:pt x="463" y="218"/>
                  </a:lnTo>
                  <a:lnTo>
                    <a:pt x="463" y="218"/>
                  </a:lnTo>
                  <a:lnTo>
                    <a:pt x="460" y="218"/>
                  </a:lnTo>
                  <a:lnTo>
                    <a:pt x="460" y="216"/>
                  </a:lnTo>
                  <a:lnTo>
                    <a:pt x="460" y="216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60" y="210"/>
                  </a:lnTo>
                  <a:lnTo>
                    <a:pt x="458" y="210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5"/>
                  </a:lnTo>
                  <a:lnTo>
                    <a:pt x="458" y="203"/>
                  </a:lnTo>
                  <a:lnTo>
                    <a:pt x="458" y="203"/>
                  </a:lnTo>
                  <a:lnTo>
                    <a:pt x="458" y="200"/>
                  </a:lnTo>
                  <a:lnTo>
                    <a:pt x="458" y="200"/>
                  </a:lnTo>
                  <a:lnTo>
                    <a:pt x="458" y="200"/>
                  </a:lnTo>
                  <a:lnTo>
                    <a:pt x="458" y="198"/>
                  </a:lnTo>
                  <a:lnTo>
                    <a:pt x="458" y="198"/>
                  </a:lnTo>
                  <a:lnTo>
                    <a:pt x="458" y="198"/>
                  </a:lnTo>
                  <a:lnTo>
                    <a:pt x="458" y="198"/>
                  </a:lnTo>
                  <a:lnTo>
                    <a:pt x="460" y="198"/>
                  </a:lnTo>
                  <a:lnTo>
                    <a:pt x="458" y="198"/>
                  </a:lnTo>
                  <a:lnTo>
                    <a:pt x="458" y="198"/>
                  </a:lnTo>
                  <a:lnTo>
                    <a:pt x="458" y="195"/>
                  </a:lnTo>
                  <a:lnTo>
                    <a:pt x="460" y="195"/>
                  </a:lnTo>
                  <a:lnTo>
                    <a:pt x="463" y="195"/>
                  </a:lnTo>
                  <a:lnTo>
                    <a:pt x="463" y="195"/>
                  </a:lnTo>
                  <a:lnTo>
                    <a:pt x="466" y="195"/>
                  </a:lnTo>
                  <a:lnTo>
                    <a:pt x="466" y="195"/>
                  </a:lnTo>
                  <a:lnTo>
                    <a:pt x="468" y="195"/>
                  </a:lnTo>
                  <a:lnTo>
                    <a:pt x="468" y="195"/>
                  </a:lnTo>
                  <a:lnTo>
                    <a:pt x="468" y="195"/>
                  </a:lnTo>
                  <a:lnTo>
                    <a:pt x="471" y="195"/>
                  </a:lnTo>
                  <a:lnTo>
                    <a:pt x="471" y="195"/>
                  </a:lnTo>
                  <a:lnTo>
                    <a:pt x="471" y="195"/>
                  </a:lnTo>
                  <a:lnTo>
                    <a:pt x="473" y="195"/>
                  </a:lnTo>
                  <a:lnTo>
                    <a:pt x="473" y="192"/>
                  </a:lnTo>
                  <a:lnTo>
                    <a:pt x="473" y="192"/>
                  </a:lnTo>
                  <a:lnTo>
                    <a:pt x="476" y="195"/>
                  </a:lnTo>
                  <a:lnTo>
                    <a:pt x="476" y="195"/>
                  </a:lnTo>
                  <a:lnTo>
                    <a:pt x="478" y="195"/>
                  </a:lnTo>
                  <a:lnTo>
                    <a:pt x="478" y="195"/>
                  </a:lnTo>
                  <a:lnTo>
                    <a:pt x="481" y="192"/>
                  </a:lnTo>
                  <a:lnTo>
                    <a:pt x="481" y="192"/>
                  </a:lnTo>
                  <a:lnTo>
                    <a:pt x="481" y="190"/>
                  </a:lnTo>
                  <a:lnTo>
                    <a:pt x="481" y="190"/>
                  </a:lnTo>
                  <a:lnTo>
                    <a:pt x="481" y="190"/>
                  </a:lnTo>
                  <a:lnTo>
                    <a:pt x="484" y="190"/>
                  </a:lnTo>
                  <a:lnTo>
                    <a:pt x="484" y="190"/>
                  </a:lnTo>
                  <a:lnTo>
                    <a:pt x="484" y="190"/>
                  </a:lnTo>
                  <a:lnTo>
                    <a:pt x="484" y="187"/>
                  </a:lnTo>
                  <a:lnTo>
                    <a:pt x="484" y="185"/>
                  </a:lnTo>
                  <a:lnTo>
                    <a:pt x="484" y="185"/>
                  </a:lnTo>
                  <a:lnTo>
                    <a:pt x="486" y="185"/>
                  </a:lnTo>
                  <a:lnTo>
                    <a:pt x="491" y="185"/>
                  </a:lnTo>
                  <a:lnTo>
                    <a:pt x="494" y="185"/>
                  </a:lnTo>
                  <a:lnTo>
                    <a:pt x="497" y="185"/>
                  </a:lnTo>
                  <a:lnTo>
                    <a:pt x="497" y="185"/>
                  </a:lnTo>
                  <a:lnTo>
                    <a:pt x="497" y="187"/>
                  </a:lnTo>
                  <a:lnTo>
                    <a:pt x="497" y="187"/>
                  </a:lnTo>
                  <a:lnTo>
                    <a:pt x="497" y="187"/>
                  </a:lnTo>
                  <a:lnTo>
                    <a:pt x="499" y="187"/>
                  </a:lnTo>
                  <a:lnTo>
                    <a:pt x="502" y="187"/>
                  </a:lnTo>
                  <a:lnTo>
                    <a:pt x="502" y="185"/>
                  </a:lnTo>
                  <a:lnTo>
                    <a:pt x="510" y="185"/>
                  </a:lnTo>
                  <a:lnTo>
                    <a:pt x="510" y="187"/>
                  </a:lnTo>
                  <a:lnTo>
                    <a:pt x="512" y="190"/>
                  </a:lnTo>
                  <a:lnTo>
                    <a:pt x="512" y="190"/>
                  </a:lnTo>
                  <a:lnTo>
                    <a:pt x="515" y="190"/>
                  </a:lnTo>
                  <a:lnTo>
                    <a:pt x="515" y="190"/>
                  </a:lnTo>
                  <a:lnTo>
                    <a:pt x="515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7" y="190"/>
                  </a:lnTo>
                  <a:lnTo>
                    <a:pt x="517" y="190"/>
                  </a:lnTo>
                  <a:lnTo>
                    <a:pt x="520" y="190"/>
                  </a:lnTo>
                  <a:lnTo>
                    <a:pt x="520" y="190"/>
                  </a:lnTo>
                  <a:lnTo>
                    <a:pt x="522" y="187"/>
                  </a:lnTo>
                  <a:lnTo>
                    <a:pt x="525" y="187"/>
                  </a:lnTo>
                  <a:lnTo>
                    <a:pt x="528" y="187"/>
                  </a:lnTo>
                  <a:lnTo>
                    <a:pt x="528" y="185"/>
                  </a:lnTo>
                  <a:lnTo>
                    <a:pt x="528" y="185"/>
                  </a:lnTo>
                  <a:lnTo>
                    <a:pt x="530" y="185"/>
                  </a:lnTo>
                  <a:lnTo>
                    <a:pt x="533" y="182"/>
                  </a:lnTo>
                  <a:lnTo>
                    <a:pt x="535" y="182"/>
                  </a:lnTo>
                  <a:lnTo>
                    <a:pt x="535" y="179"/>
                  </a:lnTo>
                  <a:lnTo>
                    <a:pt x="538" y="179"/>
                  </a:lnTo>
                  <a:lnTo>
                    <a:pt x="541" y="179"/>
                  </a:lnTo>
                  <a:lnTo>
                    <a:pt x="541" y="177"/>
                  </a:lnTo>
                  <a:lnTo>
                    <a:pt x="541" y="177"/>
                  </a:lnTo>
                  <a:lnTo>
                    <a:pt x="541" y="174"/>
                  </a:lnTo>
                  <a:lnTo>
                    <a:pt x="541" y="172"/>
                  </a:lnTo>
                  <a:lnTo>
                    <a:pt x="543" y="166"/>
                  </a:lnTo>
                  <a:lnTo>
                    <a:pt x="543" y="166"/>
                  </a:lnTo>
                  <a:lnTo>
                    <a:pt x="543" y="166"/>
                  </a:lnTo>
                  <a:lnTo>
                    <a:pt x="543" y="166"/>
                  </a:lnTo>
                  <a:lnTo>
                    <a:pt x="546" y="169"/>
                  </a:lnTo>
                  <a:lnTo>
                    <a:pt x="548" y="169"/>
                  </a:lnTo>
                  <a:lnTo>
                    <a:pt x="548" y="166"/>
                  </a:lnTo>
                  <a:lnTo>
                    <a:pt x="548" y="166"/>
                  </a:lnTo>
                  <a:lnTo>
                    <a:pt x="546" y="166"/>
                  </a:lnTo>
                  <a:lnTo>
                    <a:pt x="548" y="164"/>
                  </a:lnTo>
                  <a:lnTo>
                    <a:pt x="551" y="164"/>
                  </a:lnTo>
                  <a:lnTo>
                    <a:pt x="551" y="161"/>
                  </a:lnTo>
                  <a:lnTo>
                    <a:pt x="551" y="161"/>
                  </a:lnTo>
                  <a:close/>
                  <a:moveTo>
                    <a:pt x="10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68"/>
                  </a:lnTo>
                  <a:lnTo>
                    <a:pt x="7" y="68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10" y="65"/>
                  </a:lnTo>
                  <a:lnTo>
                    <a:pt x="15" y="63"/>
                  </a:lnTo>
                  <a:lnTo>
                    <a:pt x="18" y="63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0" y="60"/>
                  </a:lnTo>
                  <a:lnTo>
                    <a:pt x="7" y="60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2" y="68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close/>
                  <a:moveTo>
                    <a:pt x="57" y="45"/>
                  </a:moveTo>
                  <a:lnTo>
                    <a:pt x="59" y="45"/>
                  </a:lnTo>
                  <a:lnTo>
                    <a:pt x="59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5" y="45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5" y="42"/>
                  </a:lnTo>
                  <a:lnTo>
                    <a:pt x="72" y="42"/>
                  </a:lnTo>
                  <a:lnTo>
                    <a:pt x="67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2" y="42"/>
                  </a:lnTo>
                  <a:lnTo>
                    <a:pt x="59" y="42"/>
                  </a:lnTo>
                  <a:lnTo>
                    <a:pt x="57" y="42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93" y="42"/>
                  </a:moveTo>
                  <a:lnTo>
                    <a:pt x="93" y="42"/>
                  </a:lnTo>
                  <a:lnTo>
                    <a:pt x="93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39"/>
                  </a:lnTo>
                  <a:lnTo>
                    <a:pt x="95" y="39"/>
                  </a:lnTo>
                  <a:lnTo>
                    <a:pt x="98" y="39"/>
                  </a:lnTo>
                  <a:lnTo>
                    <a:pt x="101" y="39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3" y="37"/>
                  </a:lnTo>
                  <a:lnTo>
                    <a:pt x="101" y="34"/>
                  </a:lnTo>
                  <a:lnTo>
                    <a:pt x="98" y="34"/>
                  </a:lnTo>
                  <a:lnTo>
                    <a:pt x="95" y="34"/>
                  </a:lnTo>
                  <a:lnTo>
                    <a:pt x="93" y="37"/>
                  </a:lnTo>
                  <a:lnTo>
                    <a:pt x="90" y="39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close/>
                  <a:moveTo>
                    <a:pt x="116" y="34"/>
                  </a:moveTo>
                  <a:lnTo>
                    <a:pt x="116" y="34"/>
                  </a:lnTo>
                  <a:lnTo>
                    <a:pt x="119" y="34"/>
                  </a:lnTo>
                  <a:lnTo>
                    <a:pt x="121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29" y="32"/>
                  </a:lnTo>
                  <a:lnTo>
                    <a:pt x="126" y="32"/>
                  </a:lnTo>
                  <a:lnTo>
                    <a:pt x="124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6" y="32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6" y="37"/>
                  </a:lnTo>
                  <a:lnTo>
                    <a:pt x="116" y="34"/>
                  </a:lnTo>
                  <a:lnTo>
                    <a:pt x="116" y="34"/>
                  </a:lnTo>
                  <a:close/>
                  <a:moveTo>
                    <a:pt x="36" y="52"/>
                  </a:moveTo>
                  <a:lnTo>
                    <a:pt x="36" y="52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1" y="50"/>
                  </a:lnTo>
                  <a:lnTo>
                    <a:pt x="44" y="50"/>
                  </a:lnTo>
                  <a:lnTo>
                    <a:pt x="46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6" y="47"/>
                  </a:lnTo>
                  <a:lnTo>
                    <a:pt x="41" y="47"/>
                  </a:lnTo>
                  <a:lnTo>
                    <a:pt x="38" y="50"/>
                  </a:lnTo>
                  <a:lnTo>
                    <a:pt x="33" y="50"/>
                  </a:lnTo>
                  <a:lnTo>
                    <a:pt x="28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8" y="52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close/>
                  <a:moveTo>
                    <a:pt x="134" y="32"/>
                  </a:moveTo>
                  <a:lnTo>
                    <a:pt x="134" y="32"/>
                  </a:lnTo>
                  <a:lnTo>
                    <a:pt x="134" y="32"/>
                  </a:lnTo>
                  <a:lnTo>
                    <a:pt x="137" y="32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42" y="32"/>
                  </a:lnTo>
                  <a:lnTo>
                    <a:pt x="145" y="32"/>
                  </a:lnTo>
                  <a:lnTo>
                    <a:pt x="145" y="34"/>
                  </a:lnTo>
                  <a:lnTo>
                    <a:pt x="147" y="34"/>
                  </a:lnTo>
                  <a:lnTo>
                    <a:pt x="145" y="32"/>
                  </a:lnTo>
                  <a:lnTo>
                    <a:pt x="145" y="32"/>
                  </a:lnTo>
                  <a:lnTo>
                    <a:pt x="139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2" y="32"/>
                  </a:lnTo>
                  <a:lnTo>
                    <a:pt x="132" y="32"/>
                  </a:lnTo>
                  <a:lnTo>
                    <a:pt x="134" y="32"/>
                  </a:lnTo>
                  <a:lnTo>
                    <a:pt x="134" y="34"/>
                  </a:lnTo>
                  <a:lnTo>
                    <a:pt x="134" y="32"/>
                  </a:lnTo>
                  <a:lnTo>
                    <a:pt x="134" y="32"/>
                  </a:lnTo>
                  <a:close/>
                  <a:moveTo>
                    <a:pt x="80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8" y="45"/>
                  </a:lnTo>
                  <a:lnTo>
                    <a:pt x="88" y="42"/>
                  </a:lnTo>
                  <a:lnTo>
                    <a:pt x="85" y="42"/>
                  </a:lnTo>
                  <a:lnTo>
                    <a:pt x="85" y="39"/>
                  </a:lnTo>
                  <a:lnTo>
                    <a:pt x="82" y="39"/>
                  </a:lnTo>
                  <a:lnTo>
                    <a:pt x="80" y="39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2"/>
                  </a:lnTo>
                  <a:close/>
                  <a:moveTo>
                    <a:pt x="28" y="60"/>
                  </a:moveTo>
                  <a:lnTo>
                    <a:pt x="25" y="60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3" y="55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8" y="60"/>
                  </a:lnTo>
                  <a:lnTo>
                    <a:pt x="28" y="60"/>
                  </a:lnTo>
                  <a:close/>
                  <a:moveTo>
                    <a:pt x="150" y="37"/>
                  </a:moveTo>
                  <a:lnTo>
                    <a:pt x="150" y="37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7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7"/>
                  </a:lnTo>
                  <a:lnTo>
                    <a:pt x="150" y="37"/>
                  </a:lnTo>
                  <a:close/>
                  <a:moveTo>
                    <a:pt x="150" y="34"/>
                  </a:move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4"/>
                  </a:lnTo>
                  <a:lnTo>
                    <a:pt x="150" y="34"/>
                  </a:lnTo>
                  <a:close/>
                  <a:moveTo>
                    <a:pt x="23" y="63"/>
                  </a:moveTo>
                  <a:lnTo>
                    <a:pt x="23" y="63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3"/>
                  </a:lnTo>
                  <a:lnTo>
                    <a:pt x="23" y="6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49" name="Freeform 89"/>
            <p:cNvSpPr>
              <a:spLocks/>
            </p:cNvSpPr>
            <p:nvPr/>
          </p:nvSpPr>
          <p:spPr bwMode="auto">
            <a:xfrm>
              <a:off x="1038" y="2532"/>
              <a:ext cx="6" cy="3"/>
            </a:xfrm>
            <a:custGeom>
              <a:avLst/>
              <a:gdLst>
                <a:gd name="T0" fmla="*/ 6 w 6"/>
                <a:gd name="T1" fmla="*/ 0 h 3"/>
                <a:gd name="T2" fmla="*/ 3 w 6"/>
                <a:gd name="T3" fmla="*/ 0 h 3"/>
                <a:gd name="T4" fmla="*/ 3 w 6"/>
                <a:gd name="T5" fmla="*/ 0 h 3"/>
                <a:gd name="T6" fmla="*/ 0 w 6"/>
                <a:gd name="T7" fmla="*/ 0 h 3"/>
                <a:gd name="T8" fmla="*/ 0 w 6"/>
                <a:gd name="T9" fmla="*/ 3 h 3"/>
                <a:gd name="T10" fmla="*/ 0 w 6"/>
                <a:gd name="T11" fmla="*/ 3 h 3"/>
                <a:gd name="T12" fmla="*/ 3 w 6"/>
                <a:gd name="T13" fmla="*/ 3 h 3"/>
                <a:gd name="T14" fmla="*/ 3 w 6"/>
                <a:gd name="T15" fmla="*/ 0 h 3"/>
                <a:gd name="T16" fmla="*/ 6 w 6"/>
                <a:gd name="T17" fmla="*/ 0 h 3"/>
                <a:gd name="T18" fmla="*/ 6 w 6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0" name="Freeform 90"/>
            <p:cNvSpPr>
              <a:spLocks/>
            </p:cNvSpPr>
            <p:nvPr/>
          </p:nvSpPr>
          <p:spPr bwMode="auto">
            <a:xfrm>
              <a:off x="1046" y="2538"/>
              <a:ext cx="3" cy="2"/>
            </a:xfrm>
            <a:custGeom>
              <a:avLst/>
              <a:gdLst>
                <a:gd name="T0" fmla="*/ 3 w 3"/>
                <a:gd name="T1" fmla="*/ 0 h 2"/>
                <a:gd name="T2" fmla="*/ 0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0 w 3"/>
                <a:gd name="T9" fmla="*/ 2 h 2"/>
                <a:gd name="T10" fmla="*/ 0 w 3"/>
                <a:gd name="T11" fmla="*/ 2 h 2"/>
                <a:gd name="T12" fmla="*/ 0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3 w 3"/>
                <a:gd name="T19" fmla="*/ 2 h 2"/>
                <a:gd name="T20" fmla="*/ 3 w 3"/>
                <a:gd name="T21" fmla="*/ 0 h 2"/>
                <a:gd name="T22" fmla="*/ 3 w 3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1" name="Freeform 91"/>
            <p:cNvSpPr>
              <a:spLocks/>
            </p:cNvSpPr>
            <p:nvPr/>
          </p:nvSpPr>
          <p:spPr bwMode="auto">
            <a:xfrm>
              <a:off x="844" y="2543"/>
              <a:ext cx="549" cy="456"/>
            </a:xfrm>
            <a:custGeom>
              <a:avLst/>
              <a:gdLst>
                <a:gd name="T0" fmla="*/ 508 w 549"/>
                <a:gd name="T1" fmla="*/ 132 h 456"/>
                <a:gd name="T2" fmla="*/ 484 w 549"/>
                <a:gd name="T3" fmla="*/ 106 h 456"/>
                <a:gd name="T4" fmla="*/ 456 w 549"/>
                <a:gd name="T5" fmla="*/ 98 h 456"/>
                <a:gd name="T6" fmla="*/ 404 w 549"/>
                <a:gd name="T7" fmla="*/ 83 h 456"/>
                <a:gd name="T8" fmla="*/ 373 w 549"/>
                <a:gd name="T9" fmla="*/ 80 h 456"/>
                <a:gd name="T10" fmla="*/ 355 w 549"/>
                <a:gd name="T11" fmla="*/ 80 h 456"/>
                <a:gd name="T12" fmla="*/ 329 w 549"/>
                <a:gd name="T13" fmla="*/ 57 h 456"/>
                <a:gd name="T14" fmla="*/ 246 w 549"/>
                <a:gd name="T15" fmla="*/ 13 h 456"/>
                <a:gd name="T16" fmla="*/ 207 w 549"/>
                <a:gd name="T17" fmla="*/ 18 h 456"/>
                <a:gd name="T18" fmla="*/ 218 w 549"/>
                <a:gd name="T19" fmla="*/ 52 h 456"/>
                <a:gd name="T20" fmla="*/ 212 w 549"/>
                <a:gd name="T21" fmla="*/ 75 h 456"/>
                <a:gd name="T22" fmla="*/ 205 w 549"/>
                <a:gd name="T23" fmla="*/ 98 h 456"/>
                <a:gd name="T24" fmla="*/ 187 w 549"/>
                <a:gd name="T25" fmla="*/ 52 h 456"/>
                <a:gd name="T26" fmla="*/ 156 w 549"/>
                <a:gd name="T27" fmla="*/ 75 h 456"/>
                <a:gd name="T28" fmla="*/ 150 w 549"/>
                <a:gd name="T29" fmla="*/ 34 h 456"/>
                <a:gd name="T30" fmla="*/ 57 w 549"/>
                <a:gd name="T31" fmla="*/ 44 h 456"/>
                <a:gd name="T32" fmla="*/ 44 w 549"/>
                <a:gd name="T33" fmla="*/ 67 h 456"/>
                <a:gd name="T34" fmla="*/ 75 w 549"/>
                <a:gd name="T35" fmla="*/ 106 h 456"/>
                <a:gd name="T36" fmla="*/ 60 w 549"/>
                <a:gd name="T37" fmla="*/ 114 h 456"/>
                <a:gd name="T38" fmla="*/ 60 w 549"/>
                <a:gd name="T39" fmla="*/ 155 h 456"/>
                <a:gd name="T40" fmla="*/ 34 w 549"/>
                <a:gd name="T41" fmla="*/ 220 h 456"/>
                <a:gd name="T42" fmla="*/ 3 w 549"/>
                <a:gd name="T43" fmla="*/ 236 h 456"/>
                <a:gd name="T44" fmla="*/ 39 w 549"/>
                <a:gd name="T45" fmla="*/ 257 h 456"/>
                <a:gd name="T46" fmla="*/ 73 w 549"/>
                <a:gd name="T47" fmla="*/ 285 h 456"/>
                <a:gd name="T48" fmla="*/ 104 w 549"/>
                <a:gd name="T49" fmla="*/ 259 h 456"/>
                <a:gd name="T50" fmla="*/ 132 w 549"/>
                <a:gd name="T51" fmla="*/ 267 h 456"/>
                <a:gd name="T52" fmla="*/ 143 w 549"/>
                <a:gd name="T53" fmla="*/ 285 h 456"/>
                <a:gd name="T54" fmla="*/ 148 w 549"/>
                <a:gd name="T55" fmla="*/ 306 h 456"/>
                <a:gd name="T56" fmla="*/ 150 w 549"/>
                <a:gd name="T57" fmla="*/ 324 h 456"/>
                <a:gd name="T58" fmla="*/ 179 w 549"/>
                <a:gd name="T59" fmla="*/ 311 h 456"/>
                <a:gd name="T60" fmla="*/ 205 w 549"/>
                <a:gd name="T61" fmla="*/ 301 h 456"/>
                <a:gd name="T62" fmla="*/ 192 w 549"/>
                <a:gd name="T63" fmla="*/ 267 h 456"/>
                <a:gd name="T64" fmla="*/ 197 w 549"/>
                <a:gd name="T65" fmla="*/ 254 h 456"/>
                <a:gd name="T66" fmla="*/ 225 w 549"/>
                <a:gd name="T67" fmla="*/ 244 h 456"/>
                <a:gd name="T68" fmla="*/ 236 w 549"/>
                <a:gd name="T69" fmla="*/ 262 h 456"/>
                <a:gd name="T70" fmla="*/ 267 w 549"/>
                <a:gd name="T71" fmla="*/ 246 h 456"/>
                <a:gd name="T72" fmla="*/ 272 w 549"/>
                <a:gd name="T73" fmla="*/ 269 h 456"/>
                <a:gd name="T74" fmla="*/ 267 w 549"/>
                <a:gd name="T75" fmla="*/ 293 h 456"/>
                <a:gd name="T76" fmla="*/ 262 w 549"/>
                <a:gd name="T77" fmla="*/ 303 h 456"/>
                <a:gd name="T78" fmla="*/ 275 w 549"/>
                <a:gd name="T79" fmla="*/ 316 h 456"/>
                <a:gd name="T80" fmla="*/ 288 w 549"/>
                <a:gd name="T81" fmla="*/ 337 h 456"/>
                <a:gd name="T82" fmla="*/ 298 w 549"/>
                <a:gd name="T83" fmla="*/ 358 h 456"/>
                <a:gd name="T84" fmla="*/ 303 w 549"/>
                <a:gd name="T85" fmla="*/ 378 h 456"/>
                <a:gd name="T86" fmla="*/ 316 w 549"/>
                <a:gd name="T87" fmla="*/ 397 h 456"/>
                <a:gd name="T88" fmla="*/ 332 w 549"/>
                <a:gd name="T89" fmla="*/ 409 h 456"/>
                <a:gd name="T90" fmla="*/ 326 w 549"/>
                <a:gd name="T91" fmla="*/ 438 h 456"/>
                <a:gd name="T92" fmla="*/ 332 w 549"/>
                <a:gd name="T93" fmla="*/ 454 h 456"/>
                <a:gd name="T94" fmla="*/ 342 w 549"/>
                <a:gd name="T95" fmla="*/ 451 h 456"/>
                <a:gd name="T96" fmla="*/ 355 w 549"/>
                <a:gd name="T97" fmla="*/ 443 h 456"/>
                <a:gd name="T98" fmla="*/ 363 w 549"/>
                <a:gd name="T99" fmla="*/ 441 h 456"/>
                <a:gd name="T100" fmla="*/ 391 w 549"/>
                <a:gd name="T101" fmla="*/ 428 h 456"/>
                <a:gd name="T102" fmla="*/ 412 w 549"/>
                <a:gd name="T103" fmla="*/ 409 h 456"/>
                <a:gd name="T104" fmla="*/ 443 w 549"/>
                <a:gd name="T105" fmla="*/ 404 h 456"/>
                <a:gd name="T106" fmla="*/ 438 w 549"/>
                <a:gd name="T107" fmla="*/ 371 h 456"/>
                <a:gd name="T108" fmla="*/ 440 w 549"/>
                <a:gd name="T109" fmla="*/ 342 h 456"/>
                <a:gd name="T110" fmla="*/ 464 w 549"/>
                <a:gd name="T111" fmla="*/ 324 h 456"/>
                <a:gd name="T112" fmla="*/ 484 w 549"/>
                <a:gd name="T113" fmla="*/ 301 h 456"/>
                <a:gd name="T114" fmla="*/ 482 w 549"/>
                <a:gd name="T115" fmla="*/ 275 h 456"/>
                <a:gd name="T116" fmla="*/ 479 w 549"/>
                <a:gd name="T117" fmla="*/ 257 h 456"/>
                <a:gd name="T118" fmla="*/ 474 w 549"/>
                <a:gd name="T119" fmla="*/ 225 h 456"/>
                <a:gd name="T120" fmla="*/ 456 w 549"/>
                <a:gd name="T121" fmla="*/ 192 h 456"/>
                <a:gd name="T122" fmla="*/ 479 w 549"/>
                <a:gd name="T123" fmla="*/ 179 h 456"/>
                <a:gd name="T124" fmla="*/ 526 w 549"/>
                <a:gd name="T125" fmla="*/ 174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9" h="456">
                  <a:moveTo>
                    <a:pt x="549" y="150"/>
                  </a:moveTo>
                  <a:lnTo>
                    <a:pt x="549" y="150"/>
                  </a:lnTo>
                  <a:lnTo>
                    <a:pt x="546" y="150"/>
                  </a:lnTo>
                  <a:lnTo>
                    <a:pt x="544" y="148"/>
                  </a:lnTo>
                  <a:lnTo>
                    <a:pt x="544" y="148"/>
                  </a:lnTo>
                  <a:lnTo>
                    <a:pt x="541" y="148"/>
                  </a:lnTo>
                  <a:lnTo>
                    <a:pt x="541" y="148"/>
                  </a:lnTo>
                  <a:lnTo>
                    <a:pt x="541" y="150"/>
                  </a:lnTo>
                  <a:lnTo>
                    <a:pt x="541" y="150"/>
                  </a:lnTo>
                  <a:lnTo>
                    <a:pt x="539" y="148"/>
                  </a:lnTo>
                  <a:lnTo>
                    <a:pt x="536" y="148"/>
                  </a:lnTo>
                  <a:lnTo>
                    <a:pt x="536" y="148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1" y="145"/>
                  </a:lnTo>
                  <a:lnTo>
                    <a:pt x="528" y="145"/>
                  </a:lnTo>
                  <a:lnTo>
                    <a:pt x="528" y="145"/>
                  </a:lnTo>
                  <a:lnTo>
                    <a:pt x="526" y="148"/>
                  </a:lnTo>
                  <a:lnTo>
                    <a:pt x="523" y="148"/>
                  </a:lnTo>
                  <a:lnTo>
                    <a:pt x="520" y="148"/>
                  </a:lnTo>
                  <a:lnTo>
                    <a:pt x="520" y="148"/>
                  </a:lnTo>
                  <a:lnTo>
                    <a:pt x="518" y="145"/>
                  </a:lnTo>
                  <a:lnTo>
                    <a:pt x="518" y="142"/>
                  </a:lnTo>
                  <a:lnTo>
                    <a:pt x="515" y="142"/>
                  </a:lnTo>
                  <a:lnTo>
                    <a:pt x="515" y="142"/>
                  </a:lnTo>
                  <a:lnTo>
                    <a:pt x="515" y="142"/>
                  </a:lnTo>
                  <a:lnTo>
                    <a:pt x="513" y="140"/>
                  </a:lnTo>
                  <a:lnTo>
                    <a:pt x="513" y="137"/>
                  </a:lnTo>
                  <a:lnTo>
                    <a:pt x="513" y="137"/>
                  </a:lnTo>
                  <a:lnTo>
                    <a:pt x="513" y="137"/>
                  </a:lnTo>
                  <a:lnTo>
                    <a:pt x="513" y="135"/>
                  </a:lnTo>
                  <a:lnTo>
                    <a:pt x="510" y="135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5" y="132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2" y="129"/>
                  </a:lnTo>
                  <a:lnTo>
                    <a:pt x="502" y="129"/>
                  </a:lnTo>
                  <a:lnTo>
                    <a:pt x="502" y="129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2" y="124"/>
                  </a:lnTo>
                  <a:lnTo>
                    <a:pt x="502" y="124"/>
                  </a:lnTo>
                  <a:lnTo>
                    <a:pt x="500" y="124"/>
                  </a:lnTo>
                  <a:lnTo>
                    <a:pt x="500" y="124"/>
                  </a:lnTo>
                  <a:lnTo>
                    <a:pt x="497" y="124"/>
                  </a:lnTo>
                  <a:lnTo>
                    <a:pt x="500" y="124"/>
                  </a:lnTo>
                  <a:lnTo>
                    <a:pt x="500" y="124"/>
                  </a:lnTo>
                  <a:lnTo>
                    <a:pt x="500" y="122"/>
                  </a:lnTo>
                  <a:lnTo>
                    <a:pt x="500" y="122"/>
                  </a:lnTo>
                  <a:lnTo>
                    <a:pt x="497" y="122"/>
                  </a:lnTo>
                  <a:lnTo>
                    <a:pt x="497" y="122"/>
                  </a:lnTo>
                  <a:lnTo>
                    <a:pt x="497" y="122"/>
                  </a:lnTo>
                  <a:lnTo>
                    <a:pt x="495" y="122"/>
                  </a:lnTo>
                  <a:lnTo>
                    <a:pt x="492" y="119"/>
                  </a:lnTo>
                  <a:lnTo>
                    <a:pt x="489" y="117"/>
                  </a:lnTo>
                  <a:lnTo>
                    <a:pt x="489" y="114"/>
                  </a:lnTo>
                  <a:lnTo>
                    <a:pt x="489" y="114"/>
                  </a:lnTo>
                  <a:lnTo>
                    <a:pt x="489" y="111"/>
                  </a:lnTo>
                  <a:lnTo>
                    <a:pt x="487" y="109"/>
                  </a:lnTo>
                  <a:lnTo>
                    <a:pt x="487" y="109"/>
                  </a:lnTo>
                  <a:lnTo>
                    <a:pt x="484" y="109"/>
                  </a:lnTo>
                  <a:lnTo>
                    <a:pt x="484" y="109"/>
                  </a:lnTo>
                  <a:lnTo>
                    <a:pt x="484" y="106"/>
                  </a:lnTo>
                  <a:lnTo>
                    <a:pt x="484" y="106"/>
                  </a:lnTo>
                  <a:lnTo>
                    <a:pt x="484" y="104"/>
                  </a:lnTo>
                  <a:lnTo>
                    <a:pt x="482" y="104"/>
                  </a:lnTo>
                  <a:lnTo>
                    <a:pt x="482" y="101"/>
                  </a:lnTo>
                  <a:lnTo>
                    <a:pt x="482" y="101"/>
                  </a:lnTo>
                  <a:lnTo>
                    <a:pt x="482" y="98"/>
                  </a:lnTo>
                  <a:lnTo>
                    <a:pt x="482" y="98"/>
                  </a:lnTo>
                  <a:lnTo>
                    <a:pt x="479" y="98"/>
                  </a:lnTo>
                  <a:lnTo>
                    <a:pt x="479" y="98"/>
                  </a:lnTo>
                  <a:lnTo>
                    <a:pt x="476" y="98"/>
                  </a:lnTo>
                  <a:lnTo>
                    <a:pt x="476" y="98"/>
                  </a:lnTo>
                  <a:lnTo>
                    <a:pt x="476" y="98"/>
                  </a:lnTo>
                  <a:lnTo>
                    <a:pt x="474" y="96"/>
                  </a:lnTo>
                  <a:lnTo>
                    <a:pt x="474" y="96"/>
                  </a:lnTo>
                  <a:lnTo>
                    <a:pt x="474" y="98"/>
                  </a:lnTo>
                  <a:lnTo>
                    <a:pt x="471" y="98"/>
                  </a:lnTo>
                  <a:lnTo>
                    <a:pt x="471" y="98"/>
                  </a:lnTo>
                  <a:lnTo>
                    <a:pt x="469" y="98"/>
                  </a:lnTo>
                  <a:lnTo>
                    <a:pt x="471" y="101"/>
                  </a:lnTo>
                  <a:lnTo>
                    <a:pt x="471" y="101"/>
                  </a:lnTo>
                  <a:lnTo>
                    <a:pt x="471" y="101"/>
                  </a:lnTo>
                  <a:lnTo>
                    <a:pt x="469" y="101"/>
                  </a:lnTo>
                  <a:lnTo>
                    <a:pt x="469" y="101"/>
                  </a:lnTo>
                  <a:lnTo>
                    <a:pt x="469" y="101"/>
                  </a:lnTo>
                  <a:lnTo>
                    <a:pt x="466" y="104"/>
                  </a:lnTo>
                  <a:lnTo>
                    <a:pt x="466" y="104"/>
                  </a:lnTo>
                  <a:lnTo>
                    <a:pt x="466" y="104"/>
                  </a:lnTo>
                  <a:lnTo>
                    <a:pt x="466" y="104"/>
                  </a:lnTo>
                  <a:lnTo>
                    <a:pt x="466" y="104"/>
                  </a:lnTo>
                  <a:lnTo>
                    <a:pt x="464" y="104"/>
                  </a:lnTo>
                  <a:lnTo>
                    <a:pt x="464" y="104"/>
                  </a:lnTo>
                  <a:lnTo>
                    <a:pt x="464" y="104"/>
                  </a:lnTo>
                  <a:lnTo>
                    <a:pt x="461" y="101"/>
                  </a:lnTo>
                  <a:lnTo>
                    <a:pt x="461" y="101"/>
                  </a:lnTo>
                  <a:lnTo>
                    <a:pt x="456" y="98"/>
                  </a:lnTo>
                  <a:lnTo>
                    <a:pt x="456" y="98"/>
                  </a:lnTo>
                  <a:lnTo>
                    <a:pt x="456" y="98"/>
                  </a:lnTo>
                  <a:lnTo>
                    <a:pt x="456" y="98"/>
                  </a:lnTo>
                  <a:lnTo>
                    <a:pt x="453" y="98"/>
                  </a:lnTo>
                  <a:lnTo>
                    <a:pt x="453" y="98"/>
                  </a:lnTo>
                  <a:lnTo>
                    <a:pt x="453" y="96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48" y="91"/>
                  </a:lnTo>
                  <a:lnTo>
                    <a:pt x="443" y="93"/>
                  </a:lnTo>
                  <a:lnTo>
                    <a:pt x="440" y="93"/>
                  </a:lnTo>
                  <a:lnTo>
                    <a:pt x="438" y="93"/>
                  </a:lnTo>
                  <a:lnTo>
                    <a:pt x="435" y="93"/>
                  </a:lnTo>
                  <a:lnTo>
                    <a:pt x="435" y="93"/>
                  </a:lnTo>
                  <a:lnTo>
                    <a:pt x="435" y="93"/>
                  </a:lnTo>
                  <a:lnTo>
                    <a:pt x="432" y="93"/>
                  </a:lnTo>
                  <a:lnTo>
                    <a:pt x="430" y="93"/>
                  </a:lnTo>
                  <a:lnTo>
                    <a:pt x="427" y="93"/>
                  </a:lnTo>
                  <a:lnTo>
                    <a:pt x="425" y="91"/>
                  </a:lnTo>
                  <a:lnTo>
                    <a:pt x="420" y="91"/>
                  </a:lnTo>
                  <a:lnTo>
                    <a:pt x="414" y="85"/>
                  </a:lnTo>
                  <a:lnTo>
                    <a:pt x="414" y="83"/>
                  </a:lnTo>
                  <a:lnTo>
                    <a:pt x="412" y="83"/>
                  </a:lnTo>
                  <a:lnTo>
                    <a:pt x="409" y="83"/>
                  </a:lnTo>
                  <a:lnTo>
                    <a:pt x="409" y="83"/>
                  </a:lnTo>
                  <a:lnTo>
                    <a:pt x="407" y="83"/>
                  </a:lnTo>
                  <a:lnTo>
                    <a:pt x="407" y="83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4" y="80"/>
                  </a:lnTo>
                  <a:lnTo>
                    <a:pt x="404" y="83"/>
                  </a:lnTo>
                  <a:lnTo>
                    <a:pt x="404" y="83"/>
                  </a:lnTo>
                  <a:lnTo>
                    <a:pt x="404" y="83"/>
                  </a:lnTo>
                  <a:lnTo>
                    <a:pt x="401" y="83"/>
                  </a:lnTo>
                  <a:lnTo>
                    <a:pt x="401" y="83"/>
                  </a:lnTo>
                  <a:lnTo>
                    <a:pt x="401" y="83"/>
                  </a:lnTo>
                  <a:lnTo>
                    <a:pt x="401" y="83"/>
                  </a:lnTo>
                  <a:lnTo>
                    <a:pt x="399" y="85"/>
                  </a:lnTo>
                  <a:lnTo>
                    <a:pt x="399" y="85"/>
                  </a:lnTo>
                  <a:lnTo>
                    <a:pt x="399" y="88"/>
                  </a:lnTo>
                  <a:lnTo>
                    <a:pt x="396" y="88"/>
                  </a:lnTo>
                  <a:lnTo>
                    <a:pt x="396" y="88"/>
                  </a:lnTo>
                  <a:lnTo>
                    <a:pt x="394" y="88"/>
                  </a:lnTo>
                  <a:lnTo>
                    <a:pt x="394" y="88"/>
                  </a:lnTo>
                  <a:lnTo>
                    <a:pt x="391" y="88"/>
                  </a:lnTo>
                  <a:lnTo>
                    <a:pt x="391" y="88"/>
                  </a:lnTo>
                  <a:lnTo>
                    <a:pt x="388" y="88"/>
                  </a:lnTo>
                  <a:lnTo>
                    <a:pt x="388" y="85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1" y="80"/>
                  </a:lnTo>
                  <a:lnTo>
                    <a:pt x="381" y="78"/>
                  </a:lnTo>
                  <a:lnTo>
                    <a:pt x="378" y="78"/>
                  </a:lnTo>
                  <a:lnTo>
                    <a:pt x="378" y="75"/>
                  </a:lnTo>
                  <a:lnTo>
                    <a:pt x="376" y="78"/>
                  </a:lnTo>
                  <a:lnTo>
                    <a:pt x="376" y="78"/>
                  </a:lnTo>
                  <a:lnTo>
                    <a:pt x="376" y="78"/>
                  </a:lnTo>
                  <a:lnTo>
                    <a:pt x="376" y="78"/>
                  </a:lnTo>
                  <a:lnTo>
                    <a:pt x="376" y="78"/>
                  </a:lnTo>
                  <a:lnTo>
                    <a:pt x="376" y="78"/>
                  </a:lnTo>
                  <a:lnTo>
                    <a:pt x="373" y="80"/>
                  </a:lnTo>
                  <a:lnTo>
                    <a:pt x="373" y="80"/>
                  </a:lnTo>
                  <a:lnTo>
                    <a:pt x="373" y="80"/>
                  </a:lnTo>
                  <a:lnTo>
                    <a:pt x="373" y="80"/>
                  </a:lnTo>
                  <a:lnTo>
                    <a:pt x="373" y="80"/>
                  </a:lnTo>
                  <a:lnTo>
                    <a:pt x="373" y="80"/>
                  </a:lnTo>
                  <a:lnTo>
                    <a:pt x="373" y="83"/>
                  </a:lnTo>
                  <a:lnTo>
                    <a:pt x="373" y="83"/>
                  </a:lnTo>
                  <a:lnTo>
                    <a:pt x="370" y="83"/>
                  </a:lnTo>
                  <a:lnTo>
                    <a:pt x="370" y="83"/>
                  </a:lnTo>
                  <a:lnTo>
                    <a:pt x="370" y="85"/>
                  </a:lnTo>
                  <a:lnTo>
                    <a:pt x="368" y="85"/>
                  </a:lnTo>
                  <a:lnTo>
                    <a:pt x="368" y="85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3" y="83"/>
                  </a:lnTo>
                  <a:lnTo>
                    <a:pt x="363" y="83"/>
                  </a:lnTo>
                  <a:lnTo>
                    <a:pt x="363" y="80"/>
                  </a:lnTo>
                  <a:lnTo>
                    <a:pt x="363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57" y="78"/>
                  </a:lnTo>
                  <a:lnTo>
                    <a:pt x="357" y="80"/>
                  </a:lnTo>
                  <a:lnTo>
                    <a:pt x="355" y="80"/>
                  </a:lnTo>
                  <a:lnTo>
                    <a:pt x="355" y="80"/>
                  </a:lnTo>
                  <a:lnTo>
                    <a:pt x="355" y="80"/>
                  </a:lnTo>
                  <a:lnTo>
                    <a:pt x="352" y="78"/>
                  </a:lnTo>
                  <a:lnTo>
                    <a:pt x="350" y="78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72"/>
                  </a:lnTo>
                  <a:lnTo>
                    <a:pt x="350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4" y="70"/>
                  </a:lnTo>
                  <a:lnTo>
                    <a:pt x="344" y="67"/>
                  </a:lnTo>
                  <a:lnTo>
                    <a:pt x="344" y="67"/>
                  </a:lnTo>
                  <a:lnTo>
                    <a:pt x="344" y="67"/>
                  </a:lnTo>
                  <a:lnTo>
                    <a:pt x="347" y="67"/>
                  </a:lnTo>
                  <a:lnTo>
                    <a:pt x="347" y="67"/>
                  </a:lnTo>
                  <a:lnTo>
                    <a:pt x="344" y="65"/>
                  </a:lnTo>
                  <a:lnTo>
                    <a:pt x="344" y="62"/>
                  </a:lnTo>
                  <a:lnTo>
                    <a:pt x="344" y="62"/>
                  </a:lnTo>
                  <a:lnTo>
                    <a:pt x="347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2" y="62"/>
                  </a:lnTo>
                  <a:lnTo>
                    <a:pt x="339" y="62"/>
                  </a:lnTo>
                  <a:lnTo>
                    <a:pt x="339" y="62"/>
                  </a:lnTo>
                  <a:lnTo>
                    <a:pt x="337" y="62"/>
                  </a:lnTo>
                  <a:lnTo>
                    <a:pt x="334" y="62"/>
                  </a:lnTo>
                  <a:lnTo>
                    <a:pt x="334" y="59"/>
                  </a:lnTo>
                  <a:lnTo>
                    <a:pt x="332" y="57"/>
                  </a:lnTo>
                  <a:lnTo>
                    <a:pt x="329" y="57"/>
                  </a:lnTo>
                  <a:lnTo>
                    <a:pt x="326" y="57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19" y="47"/>
                  </a:lnTo>
                  <a:lnTo>
                    <a:pt x="316" y="44"/>
                  </a:lnTo>
                  <a:lnTo>
                    <a:pt x="313" y="39"/>
                  </a:lnTo>
                  <a:lnTo>
                    <a:pt x="311" y="36"/>
                  </a:lnTo>
                  <a:lnTo>
                    <a:pt x="308" y="34"/>
                  </a:lnTo>
                  <a:lnTo>
                    <a:pt x="306" y="31"/>
                  </a:lnTo>
                  <a:lnTo>
                    <a:pt x="303" y="28"/>
                  </a:lnTo>
                  <a:lnTo>
                    <a:pt x="303" y="28"/>
                  </a:lnTo>
                  <a:lnTo>
                    <a:pt x="303" y="26"/>
                  </a:lnTo>
                  <a:lnTo>
                    <a:pt x="300" y="23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5" y="15"/>
                  </a:lnTo>
                  <a:lnTo>
                    <a:pt x="295" y="13"/>
                  </a:lnTo>
                  <a:lnTo>
                    <a:pt x="293" y="10"/>
                  </a:lnTo>
                  <a:lnTo>
                    <a:pt x="290" y="8"/>
                  </a:lnTo>
                  <a:lnTo>
                    <a:pt x="288" y="8"/>
                  </a:lnTo>
                  <a:lnTo>
                    <a:pt x="282" y="8"/>
                  </a:lnTo>
                  <a:lnTo>
                    <a:pt x="275" y="8"/>
                  </a:lnTo>
                  <a:lnTo>
                    <a:pt x="267" y="8"/>
                  </a:lnTo>
                  <a:lnTo>
                    <a:pt x="262" y="10"/>
                  </a:lnTo>
                  <a:lnTo>
                    <a:pt x="262" y="10"/>
                  </a:lnTo>
                  <a:lnTo>
                    <a:pt x="262" y="10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59" y="13"/>
                  </a:lnTo>
                  <a:lnTo>
                    <a:pt x="259" y="10"/>
                  </a:lnTo>
                  <a:lnTo>
                    <a:pt x="256" y="10"/>
                  </a:lnTo>
                  <a:lnTo>
                    <a:pt x="254" y="10"/>
                  </a:lnTo>
                  <a:lnTo>
                    <a:pt x="251" y="13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4" y="13"/>
                  </a:lnTo>
                  <a:lnTo>
                    <a:pt x="241" y="13"/>
                  </a:lnTo>
                  <a:lnTo>
                    <a:pt x="241" y="10"/>
                  </a:lnTo>
                  <a:lnTo>
                    <a:pt x="238" y="13"/>
                  </a:lnTo>
                  <a:lnTo>
                    <a:pt x="236" y="10"/>
                  </a:lnTo>
                  <a:lnTo>
                    <a:pt x="233" y="10"/>
                  </a:lnTo>
                  <a:lnTo>
                    <a:pt x="233" y="10"/>
                  </a:lnTo>
                  <a:lnTo>
                    <a:pt x="233" y="10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5"/>
                  </a:lnTo>
                  <a:lnTo>
                    <a:pt x="225" y="5"/>
                  </a:lnTo>
                  <a:lnTo>
                    <a:pt x="225" y="5"/>
                  </a:lnTo>
                  <a:lnTo>
                    <a:pt x="223" y="2"/>
                  </a:lnTo>
                  <a:lnTo>
                    <a:pt x="223" y="2"/>
                  </a:lnTo>
                  <a:lnTo>
                    <a:pt x="223" y="0"/>
                  </a:lnTo>
                  <a:lnTo>
                    <a:pt x="220" y="2"/>
                  </a:lnTo>
                  <a:lnTo>
                    <a:pt x="218" y="2"/>
                  </a:lnTo>
                  <a:lnTo>
                    <a:pt x="218" y="2"/>
                  </a:lnTo>
                  <a:lnTo>
                    <a:pt x="215" y="2"/>
                  </a:lnTo>
                  <a:lnTo>
                    <a:pt x="215" y="2"/>
                  </a:lnTo>
                  <a:lnTo>
                    <a:pt x="215" y="5"/>
                  </a:lnTo>
                  <a:lnTo>
                    <a:pt x="215" y="5"/>
                  </a:lnTo>
                  <a:lnTo>
                    <a:pt x="215" y="5"/>
                  </a:lnTo>
                  <a:lnTo>
                    <a:pt x="215" y="5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10" y="13"/>
                  </a:lnTo>
                  <a:lnTo>
                    <a:pt x="207" y="15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5" y="23"/>
                  </a:lnTo>
                  <a:lnTo>
                    <a:pt x="205" y="26"/>
                  </a:lnTo>
                  <a:lnTo>
                    <a:pt x="205" y="28"/>
                  </a:lnTo>
                  <a:lnTo>
                    <a:pt x="205" y="28"/>
                  </a:lnTo>
                  <a:lnTo>
                    <a:pt x="205" y="28"/>
                  </a:lnTo>
                  <a:lnTo>
                    <a:pt x="205" y="28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2" y="34"/>
                  </a:lnTo>
                  <a:lnTo>
                    <a:pt x="202" y="39"/>
                  </a:lnTo>
                  <a:lnTo>
                    <a:pt x="202" y="39"/>
                  </a:lnTo>
                  <a:lnTo>
                    <a:pt x="202" y="41"/>
                  </a:lnTo>
                  <a:lnTo>
                    <a:pt x="202" y="44"/>
                  </a:lnTo>
                  <a:lnTo>
                    <a:pt x="202" y="49"/>
                  </a:lnTo>
                  <a:lnTo>
                    <a:pt x="205" y="49"/>
                  </a:lnTo>
                  <a:lnTo>
                    <a:pt x="205" y="52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10" y="52"/>
                  </a:lnTo>
                  <a:lnTo>
                    <a:pt x="212" y="52"/>
                  </a:lnTo>
                  <a:lnTo>
                    <a:pt x="212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0" y="54"/>
                  </a:lnTo>
                  <a:lnTo>
                    <a:pt x="218" y="54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8" y="62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18" y="65"/>
                  </a:lnTo>
                  <a:lnTo>
                    <a:pt x="218" y="65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2"/>
                  </a:lnTo>
                  <a:lnTo>
                    <a:pt x="215" y="72"/>
                  </a:lnTo>
                  <a:lnTo>
                    <a:pt x="215" y="72"/>
                  </a:lnTo>
                  <a:lnTo>
                    <a:pt x="212" y="75"/>
                  </a:lnTo>
                  <a:lnTo>
                    <a:pt x="212" y="72"/>
                  </a:lnTo>
                  <a:lnTo>
                    <a:pt x="212" y="72"/>
                  </a:lnTo>
                  <a:lnTo>
                    <a:pt x="212" y="72"/>
                  </a:lnTo>
                  <a:lnTo>
                    <a:pt x="212" y="72"/>
                  </a:lnTo>
                  <a:lnTo>
                    <a:pt x="212" y="72"/>
                  </a:lnTo>
                  <a:lnTo>
                    <a:pt x="212" y="72"/>
                  </a:lnTo>
                  <a:lnTo>
                    <a:pt x="210" y="72"/>
                  </a:lnTo>
                  <a:lnTo>
                    <a:pt x="212" y="72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0" y="70"/>
                  </a:lnTo>
                  <a:lnTo>
                    <a:pt x="210" y="70"/>
                  </a:lnTo>
                  <a:lnTo>
                    <a:pt x="210" y="70"/>
                  </a:lnTo>
                  <a:lnTo>
                    <a:pt x="207" y="70"/>
                  </a:lnTo>
                  <a:lnTo>
                    <a:pt x="207" y="70"/>
                  </a:lnTo>
                  <a:lnTo>
                    <a:pt x="205" y="70"/>
                  </a:lnTo>
                  <a:lnTo>
                    <a:pt x="205" y="72"/>
                  </a:lnTo>
                  <a:lnTo>
                    <a:pt x="205" y="75"/>
                  </a:lnTo>
                  <a:lnTo>
                    <a:pt x="205" y="78"/>
                  </a:lnTo>
                  <a:lnTo>
                    <a:pt x="202" y="80"/>
                  </a:lnTo>
                  <a:lnTo>
                    <a:pt x="202" y="83"/>
                  </a:lnTo>
                  <a:lnTo>
                    <a:pt x="205" y="85"/>
                  </a:lnTo>
                  <a:lnTo>
                    <a:pt x="205" y="88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2" y="96"/>
                  </a:lnTo>
                  <a:lnTo>
                    <a:pt x="202" y="93"/>
                  </a:lnTo>
                  <a:lnTo>
                    <a:pt x="202" y="91"/>
                  </a:lnTo>
                  <a:lnTo>
                    <a:pt x="202" y="88"/>
                  </a:lnTo>
                  <a:lnTo>
                    <a:pt x="202" y="85"/>
                  </a:lnTo>
                  <a:lnTo>
                    <a:pt x="202" y="80"/>
                  </a:lnTo>
                  <a:lnTo>
                    <a:pt x="202" y="78"/>
                  </a:lnTo>
                  <a:lnTo>
                    <a:pt x="202" y="75"/>
                  </a:lnTo>
                  <a:lnTo>
                    <a:pt x="202" y="72"/>
                  </a:lnTo>
                  <a:lnTo>
                    <a:pt x="202" y="72"/>
                  </a:lnTo>
                  <a:lnTo>
                    <a:pt x="205" y="70"/>
                  </a:lnTo>
                  <a:lnTo>
                    <a:pt x="205" y="67"/>
                  </a:lnTo>
                  <a:lnTo>
                    <a:pt x="207" y="67"/>
                  </a:lnTo>
                  <a:lnTo>
                    <a:pt x="207" y="67"/>
                  </a:lnTo>
                  <a:lnTo>
                    <a:pt x="210" y="67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07" y="65"/>
                  </a:lnTo>
                  <a:lnTo>
                    <a:pt x="207" y="62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00" y="62"/>
                  </a:lnTo>
                  <a:lnTo>
                    <a:pt x="200" y="59"/>
                  </a:lnTo>
                  <a:lnTo>
                    <a:pt x="197" y="59"/>
                  </a:lnTo>
                  <a:lnTo>
                    <a:pt x="194" y="59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89" y="54"/>
                  </a:lnTo>
                  <a:lnTo>
                    <a:pt x="187" y="54"/>
                  </a:lnTo>
                  <a:lnTo>
                    <a:pt x="187" y="52"/>
                  </a:lnTo>
                  <a:lnTo>
                    <a:pt x="184" y="49"/>
                  </a:lnTo>
                  <a:lnTo>
                    <a:pt x="181" y="49"/>
                  </a:lnTo>
                  <a:lnTo>
                    <a:pt x="179" y="49"/>
                  </a:lnTo>
                  <a:lnTo>
                    <a:pt x="179" y="52"/>
                  </a:lnTo>
                  <a:lnTo>
                    <a:pt x="176" y="52"/>
                  </a:lnTo>
                  <a:lnTo>
                    <a:pt x="176" y="54"/>
                  </a:lnTo>
                  <a:lnTo>
                    <a:pt x="174" y="59"/>
                  </a:lnTo>
                  <a:lnTo>
                    <a:pt x="174" y="67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79" y="65"/>
                  </a:lnTo>
                  <a:lnTo>
                    <a:pt x="181" y="65"/>
                  </a:lnTo>
                  <a:lnTo>
                    <a:pt x="181" y="67"/>
                  </a:lnTo>
                  <a:lnTo>
                    <a:pt x="184" y="70"/>
                  </a:lnTo>
                  <a:lnTo>
                    <a:pt x="184" y="72"/>
                  </a:lnTo>
                  <a:lnTo>
                    <a:pt x="184" y="75"/>
                  </a:lnTo>
                  <a:lnTo>
                    <a:pt x="181" y="78"/>
                  </a:lnTo>
                  <a:lnTo>
                    <a:pt x="181" y="83"/>
                  </a:lnTo>
                  <a:lnTo>
                    <a:pt x="179" y="85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88"/>
                  </a:lnTo>
                  <a:lnTo>
                    <a:pt x="171" y="88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6" y="83"/>
                  </a:lnTo>
                  <a:lnTo>
                    <a:pt x="166" y="80"/>
                  </a:lnTo>
                  <a:lnTo>
                    <a:pt x="163" y="80"/>
                  </a:lnTo>
                  <a:lnTo>
                    <a:pt x="163" y="80"/>
                  </a:lnTo>
                  <a:lnTo>
                    <a:pt x="161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6" y="78"/>
                  </a:lnTo>
                  <a:lnTo>
                    <a:pt x="156" y="75"/>
                  </a:lnTo>
                  <a:lnTo>
                    <a:pt x="156" y="72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61" y="70"/>
                  </a:lnTo>
                  <a:lnTo>
                    <a:pt x="163" y="67"/>
                  </a:lnTo>
                  <a:lnTo>
                    <a:pt x="166" y="67"/>
                  </a:lnTo>
                  <a:lnTo>
                    <a:pt x="166" y="65"/>
                  </a:lnTo>
                  <a:lnTo>
                    <a:pt x="166" y="62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2"/>
                  </a:lnTo>
                  <a:lnTo>
                    <a:pt x="166" y="59"/>
                  </a:lnTo>
                  <a:lnTo>
                    <a:pt x="163" y="57"/>
                  </a:lnTo>
                  <a:lnTo>
                    <a:pt x="161" y="54"/>
                  </a:lnTo>
                  <a:lnTo>
                    <a:pt x="161" y="52"/>
                  </a:lnTo>
                  <a:lnTo>
                    <a:pt x="161" y="49"/>
                  </a:lnTo>
                  <a:lnTo>
                    <a:pt x="158" y="47"/>
                  </a:lnTo>
                  <a:lnTo>
                    <a:pt x="158" y="47"/>
                  </a:lnTo>
                  <a:lnTo>
                    <a:pt x="156" y="44"/>
                  </a:lnTo>
                  <a:lnTo>
                    <a:pt x="156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4"/>
                  </a:lnTo>
                  <a:lnTo>
                    <a:pt x="150" y="41"/>
                  </a:lnTo>
                  <a:lnTo>
                    <a:pt x="150" y="39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45" y="31"/>
                  </a:lnTo>
                  <a:lnTo>
                    <a:pt x="143" y="31"/>
                  </a:lnTo>
                  <a:lnTo>
                    <a:pt x="140" y="31"/>
                  </a:lnTo>
                  <a:lnTo>
                    <a:pt x="135" y="34"/>
                  </a:lnTo>
                  <a:lnTo>
                    <a:pt x="130" y="34"/>
                  </a:lnTo>
                  <a:lnTo>
                    <a:pt x="124" y="34"/>
                  </a:lnTo>
                  <a:lnTo>
                    <a:pt x="122" y="34"/>
                  </a:lnTo>
                  <a:lnTo>
                    <a:pt x="119" y="36"/>
                  </a:lnTo>
                  <a:lnTo>
                    <a:pt x="117" y="36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6" y="39"/>
                  </a:lnTo>
                  <a:lnTo>
                    <a:pt x="101" y="39"/>
                  </a:lnTo>
                  <a:lnTo>
                    <a:pt x="99" y="39"/>
                  </a:lnTo>
                  <a:lnTo>
                    <a:pt x="96" y="39"/>
                  </a:lnTo>
                  <a:lnTo>
                    <a:pt x="93" y="39"/>
                  </a:lnTo>
                  <a:lnTo>
                    <a:pt x="91" y="39"/>
                  </a:lnTo>
                  <a:lnTo>
                    <a:pt x="88" y="39"/>
                  </a:lnTo>
                  <a:lnTo>
                    <a:pt x="83" y="39"/>
                  </a:lnTo>
                  <a:lnTo>
                    <a:pt x="80" y="39"/>
                  </a:lnTo>
                  <a:lnTo>
                    <a:pt x="78" y="39"/>
                  </a:lnTo>
                  <a:lnTo>
                    <a:pt x="75" y="39"/>
                  </a:lnTo>
                  <a:lnTo>
                    <a:pt x="70" y="39"/>
                  </a:lnTo>
                  <a:lnTo>
                    <a:pt x="67" y="39"/>
                  </a:lnTo>
                  <a:lnTo>
                    <a:pt x="65" y="39"/>
                  </a:lnTo>
                  <a:lnTo>
                    <a:pt x="62" y="41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7" y="44"/>
                  </a:lnTo>
                  <a:lnTo>
                    <a:pt x="57" y="47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7" y="54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9" y="59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9" y="67"/>
                  </a:lnTo>
                  <a:lnTo>
                    <a:pt x="47" y="70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2" y="70"/>
                  </a:lnTo>
                  <a:lnTo>
                    <a:pt x="39" y="72"/>
                  </a:lnTo>
                  <a:lnTo>
                    <a:pt x="39" y="75"/>
                  </a:lnTo>
                  <a:lnTo>
                    <a:pt x="36" y="80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6" y="91"/>
                  </a:lnTo>
                  <a:lnTo>
                    <a:pt x="36" y="93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8"/>
                  </a:lnTo>
                  <a:lnTo>
                    <a:pt x="39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52" y="98"/>
                  </a:lnTo>
                  <a:lnTo>
                    <a:pt x="60" y="98"/>
                  </a:lnTo>
                  <a:lnTo>
                    <a:pt x="62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7" y="101"/>
                  </a:lnTo>
                  <a:lnTo>
                    <a:pt x="70" y="101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9"/>
                  </a:lnTo>
                  <a:lnTo>
                    <a:pt x="80" y="109"/>
                  </a:lnTo>
                  <a:lnTo>
                    <a:pt x="80" y="111"/>
                  </a:lnTo>
                  <a:lnTo>
                    <a:pt x="80" y="114"/>
                  </a:lnTo>
                  <a:lnTo>
                    <a:pt x="80" y="117"/>
                  </a:lnTo>
                  <a:lnTo>
                    <a:pt x="80" y="117"/>
                  </a:lnTo>
                  <a:lnTo>
                    <a:pt x="80" y="117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80" y="109"/>
                  </a:lnTo>
                  <a:lnTo>
                    <a:pt x="80" y="106"/>
                  </a:lnTo>
                  <a:lnTo>
                    <a:pt x="78" y="106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3" y="101"/>
                  </a:lnTo>
                  <a:lnTo>
                    <a:pt x="70" y="101"/>
                  </a:lnTo>
                  <a:lnTo>
                    <a:pt x="67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2" y="104"/>
                  </a:lnTo>
                  <a:lnTo>
                    <a:pt x="62" y="104"/>
                  </a:lnTo>
                  <a:lnTo>
                    <a:pt x="62" y="106"/>
                  </a:lnTo>
                  <a:lnTo>
                    <a:pt x="62" y="109"/>
                  </a:lnTo>
                  <a:lnTo>
                    <a:pt x="62" y="109"/>
                  </a:lnTo>
                  <a:lnTo>
                    <a:pt x="62" y="111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7" y="129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60" y="148"/>
                  </a:lnTo>
                  <a:lnTo>
                    <a:pt x="60" y="153"/>
                  </a:lnTo>
                  <a:lnTo>
                    <a:pt x="60" y="155"/>
                  </a:lnTo>
                  <a:lnTo>
                    <a:pt x="60" y="155"/>
                  </a:lnTo>
                  <a:lnTo>
                    <a:pt x="60" y="158"/>
                  </a:lnTo>
                  <a:lnTo>
                    <a:pt x="60" y="158"/>
                  </a:lnTo>
                  <a:lnTo>
                    <a:pt x="60" y="158"/>
                  </a:lnTo>
                  <a:lnTo>
                    <a:pt x="60" y="161"/>
                  </a:lnTo>
                  <a:lnTo>
                    <a:pt x="57" y="163"/>
                  </a:lnTo>
                  <a:lnTo>
                    <a:pt x="57" y="166"/>
                  </a:lnTo>
                  <a:lnTo>
                    <a:pt x="57" y="168"/>
                  </a:lnTo>
                  <a:lnTo>
                    <a:pt x="55" y="171"/>
                  </a:lnTo>
                  <a:lnTo>
                    <a:pt x="49" y="179"/>
                  </a:lnTo>
                  <a:lnTo>
                    <a:pt x="49" y="181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7"/>
                  </a:lnTo>
                  <a:lnTo>
                    <a:pt x="47" y="187"/>
                  </a:lnTo>
                  <a:lnTo>
                    <a:pt x="47" y="187"/>
                  </a:lnTo>
                  <a:lnTo>
                    <a:pt x="44" y="189"/>
                  </a:lnTo>
                  <a:lnTo>
                    <a:pt x="44" y="192"/>
                  </a:lnTo>
                  <a:lnTo>
                    <a:pt x="44" y="199"/>
                  </a:lnTo>
                  <a:lnTo>
                    <a:pt x="44" y="205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4" y="215"/>
                  </a:lnTo>
                  <a:lnTo>
                    <a:pt x="42" y="218"/>
                  </a:lnTo>
                  <a:lnTo>
                    <a:pt x="42" y="220"/>
                  </a:lnTo>
                  <a:lnTo>
                    <a:pt x="42" y="220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39" y="223"/>
                  </a:lnTo>
                  <a:lnTo>
                    <a:pt x="39" y="223"/>
                  </a:lnTo>
                  <a:lnTo>
                    <a:pt x="36" y="220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1" y="220"/>
                  </a:lnTo>
                  <a:lnTo>
                    <a:pt x="31" y="223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6" y="218"/>
                  </a:lnTo>
                  <a:lnTo>
                    <a:pt x="21" y="218"/>
                  </a:lnTo>
                  <a:lnTo>
                    <a:pt x="18" y="218"/>
                  </a:lnTo>
                  <a:lnTo>
                    <a:pt x="16" y="218"/>
                  </a:lnTo>
                  <a:lnTo>
                    <a:pt x="13" y="218"/>
                  </a:lnTo>
                  <a:lnTo>
                    <a:pt x="13" y="218"/>
                  </a:lnTo>
                  <a:lnTo>
                    <a:pt x="13" y="220"/>
                  </a:lnTo>
                  <a:lnTo>
                    <a:pt x="11" y="220"/>
                  </a:lnTo>
                  <a:lnTo>
                    <a:pt x="11" y="220"/>
                  </a:lnTo>
                  <a:lnTo>
                    <a:pt x="8" y="220"/>
                  </a:lnTo>
                  <a:lnTo>
                    <a:pt x="8" y="223"/>
                  </a:lnTo>
                  <a:lnTo>
                    <a:pt x="5" y="223"/>
                  </a:lnTo>
                  <a:lnTo>
                    <a:pt x="5" y="223"/>
                  </a:lnTo>
                  <a:lnTo>
                    <a:pt x="5" y="223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8"/>
                  </a:lnTo>
                  <a:lnTo>
                    <a:pt x="5" y="231"/>
                  </a:lnTo>
                  <a:lnTo>
                    <a:pt x="5" y="231"/>
                  </a:lnTo>
                  <a:lnTo>
                    <a:pt x="8" y="233"/>
                  </a:lnTo>
                  <a:lnTo>
                    <a:pt x="11" y="233"/>
                  </a:lnTo>
                  <a:lnTo>
                    <a:pt x="11" y="233"/>
                  </a:lnTo>
                  <a:lnTo>
                    <a:pt x="11" y="236"/>
                  </a:lnTo>
                  <a:lnTo>
                    <a:pt x="8" y="236"/>
                  </a:lnTo>
                  <a:lnTo>
                    <a:pt x="5" y="236"/>
                  </a:lnTo>
                  <a:lnTo>
                    <a:pt x="5" y="236"/>
                  </a:lnTo>
                  <a:lnTo>
                    <a:pt x="5" y="238"/>
                  </a:lnTo>
                  <a:lnTo>
                    <a:pt x="3" y="238"/>
                  </a:lnTo>
                  <a:lnTo>
                    <a:pt x="3" y="236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3" y="238"/>
                  </a:lnTo>
                  <a:lnTo>
                    <a:pt x="3" y="241"/>
                  </a:lnTo>
                  <a:lnTo>
                    <a:pt x="3" y="244"/>
                  </a:lnTo>
                  <a:lnTo>
                    <a:pt x="3" y="244"/>
                  </a:lnTo>
                  <a:lnTo>
                    <a:pt x="3" y="246"/>
                  </a:lnTo>
                  <a:lnTo>
                    <a:pt x="3" y="246"/>
                  </a:lnTo>
                  <a:lnTo>
                    <a:pt x="3" y="249"/>
                  </a:lnTo>
                  <a:lnTo>
                    <a:pt x="5" y="249"/>
                  </a:lnTo>
                  <a:lnTo>
                    <a:pt x="5" y="251"/>
                  </a:lnTo>
                  <a:lnTo>
                    <a:pt x="8" y="251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8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3" y="254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9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4" y="251"/>
                  </a:lnTo>
                  <a:lnTo>
                    <a:pt x="36" y="251"/>
                  </a:lnTo>
                  <a:lnTo>
                    <a:pt x="36" y="251"/>
                  </a:lnTo>
                  <a:lnTo>
                    <a:pt x="36" y="251"/>
                  </a:lnTo>
                  <a:lnTo>
                    <a:pt x="36" y="254"/>
                  </a:lnTo>
                  <a:lnTo>
                    <a:pt x="39" y="257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62"/>
                  </a:lnTo>
                  <a:lnTo>
                    <a:pt x="39" y="262"/>
                  </a:lnTo>
                  <a:lnTo>
                    <a:pt x="42" y="262"/>
                  </a:lnTo>
                  <a:lnTo>
                    <a:pt x="42" y="262"/>
                  </a:lnTo>
                  <a:lnTo>
                    <a:pt x="44" y="264"/>
                  </a:lnTo>
                  <a:lnTo>
                    <a:pt x="44" y="267"/>
                  </a:lnTo>
                  <a:lnTo>
                    <a:pt x="44" y="267"/>
                  </a:lnTo>
                  <a:lnTo>
                    <a:pt x="44" y="269"/>
                  </a:lnTo>
                  <a:lnTo>
                    <a:pt x="44" y="272"/>
                  </a:lnTo>
                  <a:lnTo>
                    <a:pt x="44" y="275"/>
                  </a:lnTo>
                  <a:lnTo>
                    <a:pt x="44" y="275"/>
                  </a:lnTo>
                  <a:lnTo>
                    <a:pt x="42" y="277"/>
                  </a:lnTo>
                  <a:lnTo>
                    <a:pt x="39" y="282"/>
                  </a:lnTo>
                  <a:lnTo>
                    <a:pt x="39" y="285"/>
                  </a:lnTo>
                  <a:lnTo>
                    <a:pt x="39" y="288"/>
                  </a:lnTo>
                  <a:lnTo>
                    <a:pt x="42" y="290"/>
                  </a:lnTo>
                  <a:lnTo>
                    <a:pt x="44" y="290"/>
                  </a:lnTo>
                  <a:lnTo>
                    <a:pt x="44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9" y="290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52" y="288"/>
                  </a:lnTo>
                  <a:lnTo>
                    <a:pt x="55" y="288"/>
                  </a:lnTo>
                  <a:lnTo>
                    <a:pt x="62" y="288"/>
                  </a:lnTo>
                  <a:lnTo>
                    <a:pt x="70" y="288"/>
                  </a:lnTo>
                  <a:lnTo>
                    <a:pt x="70" y="288"/>
                  </a:lnTo>
                  <a:lnTo>
                    <a:pt x="70" y="285"/>
                  </a:lnTo>
                  <a:lnTo>
                    <a:pt x="70" y="285"/>
                  </a:lnTo>
                  <a:lnTo>
                    <a:pt x="73" y="285"/>
                  </a:lnTo>
                  <a:lnTo>
                    <a:pt x="75" y="285"/>
                  </a:lnTo>
                  <a:lnTo>
                    <a:pt x="78" y="282"/>
                  </a:lnTo>
                  <a:lnTo>
                    <a:pt x="78" y="282"/>
                  </a:lnTo>
                  <a:lnTo>
                    <a:pt x="80" y="280"/>
                  </a:lnTo>
                  <a:lnTo>
                    <a:pt x="80" y="280"/>
                  </a:lnTo>
                  <a:lnTo>
                    <a:pt x="80" y="280"/>
                  </a:lnTo>
                  <a:lnTo>
                    <a:pt x="83" y="277"/>
                  </a:lnTo>
                  <a:lnTo>
                    <a:pt x="83" y="277"/>
                  </a:lnTo>
                  <a:lnTo>
                    <a:pt x="86" y="277"/>
                  </a:lnTo>
                  <a:lnTo>
                    <a:pt x="86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91" y="272"/>
                  </a:lnTo>
                  <a:lnTo>
                    <a:pt x="91" y="272"/>
                  </a:lnTo>
                  <a:lnTo>
                    <a:pt x="93" y="269"/>
                  </a:lnTo>
                  <a:lnTo>
                    <a:pt x="93" y="269"/>
                  </a:lnTo>
                  <a:lnTo>
                    <a:pt x="96" y="269"/>
                  </a:lnTo>
                  <a:lnTo>
                    <a:pt x="96" y="267"/>
                  </a:lnTo>
                  <a:lnTo>
                    <a:pt x="99" y="267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101" y="267"/>
                  </a:lnTo>
                  <a:lnTo>
                    <a:pt x="101" y="267"/>
                  </a:lnTo>
                  <a:lnTo>
                    <a:pt x="101" y="267"/>
                  </a:lnTo>
                  <a:lnTo>
                    <a:pt x="101" y="267"/>
                  </a:lnTo>
                  <a:lnTo>
                    <a:pt x="101" y="264"/>
                  </a:lnTo>
                  <a:lnTo>
                    <a:pt x="101" y="264"/>
                  </a:lnTo>
                  <a:lnTo>
                    <a:pt x="101" y="262"/>
                  </a:lnTo>
                  <a:lnTo>
                    <a:pt x="104" y="262"/>
                  </a:lnTo>
                  <a:lnTo>
                    <a:pt x="104" y="262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101" y="259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101" y="257"/>
                  </a:lnTo>
                  <a:lnTo>
                    <a:pt x="101" y="254"/>
                  </a:lnTo>
                  <a:lnTo>
                    <a:pt x="104" y="251"/>
                  </a:lnTo>
                  <a:lnTo>
                    <a:pt x="104" y="251"/>
                  </a:lnTo>
                  <a:lnTo>
                    <a:pt x="104" y="249"/>
                  </a:lnTo>
                  <a:lnTo>
                    <a:pt x="104" y="249"/>
                  </a:lnTo>
                  <a:lnTo>
                    <a:pt x="106" y="251"/>
                  </a:lnTo>
                  <a:lnTo>
                    <a:pt x="106" y="251"/>
                  </a:lnTo>
                  <a:lnTo>
                    <a:pt x="109" y="251"/>
                  </a:lnTo>
                  <a:lnTo>
                    <a:pt x="111" y="251"/>
                  </a:lnTo>
                  <a:lnTo>
                    <a:pt x="111" y="251"/>
                  </a:lnTo>
                  <a:lnTo>
                    <a:pt x="109" y="254"/>
                  </a:lnTo>
                  <a:lnTo>
                    <a:pt x="109" y="254"/>
                  </a:lnTo>
                  <a:lnTo>
                    <a:pt x="111" y="254"/>
                  </a:lnTo>
                  <a:lnTo>
                    <a:pt x="111" y="254"/>
                  </a:lnTo>
                  <a:lnTo>
                    <a:pt x="114" y="254"/>
                  </a:lnTo>
                  <a:lnTo>
                    <a:pt x="114" y="254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14" y="259"/>
                  </a:lnTo>
                  <a:lnTo>
                    <a:pt x="114" y="262"/>
                  </a:lnTo>
                  <a:lnTo>
                    <a:pt x="117" y="262"/>
                  </a:lnTo>
                  <a:lnTo>
                    <a:pt x="117" y="264"/>
                  </a:lnTo>
                  <a:lnTo>
                    <a:pt x="119" y="264"/>
                  </a:lnTo>
                  <a:lnTo>
                    <a:pt x="122" y="267"/>
                  </a:lnTo>
                  <a:lnTo>
                    <a:pt x="127" y="267"/>
                  </a:lnTo>
                  <a:lnTo>
                    <a:pt x="130" y="269"/>
                  </a:lnTo>
                  <a:lnTo>
                    <a:pt x="132" y="269"/>
                  </a:lnTo>
                  <a:lnTo>
                    <a:pt x="132" y="267"/>
                  </a:lnTo>
                  <a:lnTo>
                    <a:pt x="135" y="267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40" y="269"/>
                  </a:lnTo>
                  <a:lnTo>
                    <a:pt x="140" y="269"/>
                  </a:lnTo>
                  <a:lnTo>
                    <a:pt x="140" y="269"/>
                  </a:lnTo>
                  <a:lnTo>
                    <a:pt x="140" y="269"/>
                  </a:lnTo>
                  <a:lnTo>
                    <a:pt x="140" y="269"/>
                  </a:lnTo>
                  <a:lnTo>
                    <a:pt x="143" y="269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5" y="277"/>
                  </a:lnTo>
                  <a:lnTo>
                    <a:pt x="145" y="277"/>
                  </a:lnTo>
                  <a:lnTo>
                    <a:pt x="148" y="280"/>
                  </a:lnTo>
                  <a:lnTo>
                    <a:pt x="148" y="280"/>
                  </a:lnTo>
                  <a:lnTo>
                    <a:pt x="148" y="277"/>
                  </a:lnTo>
                  <a:lnTo>
                    <a:pt x="148" y="280"/>
                  </a:lnTo>
                  <a:lnTo>
                    <a:pt x="148" y="280"/>
                  </a:lnTo>
                  <a:lnTo>
                    <a:pt x="145" y="280"/>
                  </a:lnTo>
                  <a:lnTo>
                    <a:pt x="143" y="280"/>
                  </a:lnTo>
                  <a:lnTo>
                    <a:pt x="140" y="280"/>
                  </a:lnTo>
                  <a:lnTo>
                    <a:pt x="140" y="282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40" y="285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0" y="290"/>
                  </a:lnTo>
                  <a:lnTo>
                    <a:pt x="140" y="290"/>
                  </a:lnTo>
                  <a:lnTo>
                    <a:pt x="140" y="290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8"/>
                  </a:lnTo>
                  <a:lnTo>
                    <a:pt x="137" y="301"/>
                  </a:lnTo>
                  <a:lnTo>
                    <a:pt x="140" y="301"/>
                  </a:lnTo>
                  <a:lnTo>
                    <a:pt x="143" y="301"/>
                  </a:lnTo>
                  <a:lnTo>
                    <a:pt x="143" y="303"/>
                  </a:lnTo>
                  <a:lnTo>
                    <a:pt x="145" y="303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50" y="303"/>
                  </a:lnTo>
                  <a:lnTo>
                    <a:pt x="150" y="303"/>
                  </a:lnTo>
                  <a:lnTo>
                    <a:pt x="150" y="303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8"/>
                  </a:lnTo>
                  <a:lnTo>
                    <a:pt x="148" y="311"/>
                  </a:lnTo>
                  <a:lnTo>
                    <a:pt x="150" y="311"/>
                  </a:lnTo>
                  <a:lnTo>
                    <a:pt x="150" y="314"/>
                  </a:lnTo>
                  <a:lnTo>
                    <a:pt x="148" y="314"/>
                  </a:lnTo>
                  <a:lnTo>
                    <a:pt x="145" y="314"/>
                  </a:lnTo>
                  <a:lnTo>
                    <a:pt x="145" y="314"/>
                  </a:lnTo>
                  <a:lnTo>
                    <a:pt x="145" y="314"/>
                  </a:lnTo>
                  <a:lnTo>
                    <a:pt x="143" y="316"/>
                  </a:lnTo>
                  <a:lnTo>
                    <a:pt x="143" y="316"/>
                  </a:lnTo>
                  <a:lnTo>
                    <a:pt x="140" y="316"/>
                  </a:lnTo>
                  <a:lnTo>
                    <a:pt x="140" y="316"/>
                  </a:lnTo>
                  <a:lnTo>
                    <a:pt x="137" y="316"/>
                  </a:lnTo>
                  <a:lnTo>
                    <a:pt x="135" y="316"/>
                  </a:lnTo>
                  <a:lnTo>
                    <a:pt x="137" y="319"/>
                  </a:lnTo>
                  <a:lnTo>
                    <a:pt x="137" y="319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40" y="321"/>
                  </a:lnTo>
                  <a:lnTo>
                    <a:pt x="140" y="321"/>
                  </a:lnTo>
                  <a:lnTo>
                    <a:pt x="140" y="324"/>
                  </a:lnTo>
                  <a:lnTo>
                    <a:pt x="140" y="324"/>
                  </a:lnTo>
                  <a:lnTo>
                    <a:pt x="140" y="324"/>
                  </a:lnTo>
                  <a:lnTo>
                    <a:pt x="140" y="324"/>
                  </a:lnTo>
                  <a:lnTo>
                    <a:pt x="143" y="327"/>
                  </a:lnTo>
                  <a:lnTo>
                    <a:pt x="145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50" y="324"/>
                  </a:lnTo>
                  <a:lnTo>
                    <a:pt x="150" y="324"/>
                  </a:lnTo>
                  <a:lnTo>
                    <a:pt x="150" y="321"/>
                  </a:lnTo>
                  <a:lnTo>
                    <a:pt x="150" y="321"/>
                  </a:lnTo>
                  <a:lnTo>
                    <a:pt x="150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58" y="321"/>
                  </a:lnTo>
                  <a:lnTo>
                    <a:pt x="158" y="321"/>
                  </a:lnTo>
                  <a:lnTo>
                    <a:pt x="158" y="321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1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8" y="321"/>
                  </a:lnTo>
                  <a:lnTo>
                    <a:pt x="171" y="321"/>
                  </a:lnTo>
                  <a:lnTo>
                    <a:pt x="171" y="319"/>
                  </a:lnTo>
                  <a:lnTo>
                    <a:pt x="171" y="319"/>
                  </a:lnTo>
                  <a:lnTo>
                    <a:pt x="171" y="316"/>
                  </a:lnTo>
                  <a:lnTo>
                    <a:pt x="174" y="314"/>
                  </a:lnTo>
                  <a:lnTo>
                    <a:pt x="174" y="314"/>
                  </a:lnTo>
                  <a:lnTo>
                    <a:pt x="176" y="314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79" y="311"/>
                  </a:lnTo>
                  <a:lnTo>
                    <a:pt x="181" y="311"/>
                  </a:lnTo>
                  <a:lnTo>
                    <a:pt x="181" y="311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1"/>
                  </a:lnTo>
                  <a:lnTo>
                    <a:pt x="184" y="311"/>
                  </a:lnTo>
                  <a:lnTo>
                    <a:pt x="187" y="311"/>
                  </a:lnTo>
                  <a:lnTo>
                    <a:pt x="187" y="311"/>
                  </a:lnTo>
                  <a:lnTo>
                    <a:pt x="189" y="314"/>
                  </a:lnTo>
                  <a:lnTo>
                    <a:pt x="189" y="314"/>
                  </a:lnTo>
                  <a:lnTo>
                    <a:pt x="189" y="314"/>
                  </a:lnTo>
                  <a:lnTo>
                    <a:pt x="192" y="314"/>
                  </a:lnTo>
                  <a:lnTo>
                    <a:pt x="192" y="314"/>
                  </a:lnTo>
                  <a:lnTo>
                    <a:pt x="192" y="314"/>
                  </a:lnTo>
                  <a:lnTo>
                    <a:pt x="194" y="314"/>
                  </a:lnTo>
                  <a:lnTo>
                    <a:pt x="194" y="311"/>
                  </a:lnTo>
                  <a:lnTo>
                    <a:pt x="194" y="311"/>
                  </a:lnTo>
                  <a:lnTo>
                    <a:pt x="194" y="308"/>
                  </a:lnTo>
                  <a:lnTo>
                    <a:pt x="197" y="308"/>
                  </a:lnTo>
                  <a:lnTo>
                    <a:pt x="197" y="306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3"/>
                  </a:lnTo>
                  <a:lnTo>
                    <a:pt x="205" y="301"/>
                  </a:lnTo>
                  <a:lnTo>
                    <a:pt x="205" y="301"/>
                  </a:lnTo>
                  <a:lnTo>
                    <a:pt x="205" y="301"/>
                  </a:lnTo>
                  <a:lnTo>
                    <a:pt x="205" y="301"/>
                  </a:lnTo>
                  <a:lnTo>
                    <a:pt x="205" y="301"/>
                  </a:lnTo>
                  <a:lnTo>
                    <a:pt x="205" y="301"/>
                  </a:lnTo>
                  <a:lnTo>
                    <a:pt x="205" y="298"/>
                  </a:lnTo>
                  <a:lnTo>
                    <a:pt x="202" y="298"/>
                  </a:lnTo>
                  <a:lnTo>
                    <a:pt x="200" y="298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200" y="293"/>
                  </a:lnTo>
                  <a:lnTo>
                    <a:pt x="200" y="293"/>
                  </a:lnTo>
                  <a:lnTo>
                    <a:pt x="200" y="293"/>
                  </a:lnTo>
                  <a:lnTo>
                    <a:pt x="200" y="293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5"/>
                  </a:lnTo>
                  <a:lnTo>
                    <a:pt x="200" y="282"/>
                  </a:lnTo>
                  <a:lnTo>
                    <a:pt x="200" y="282"/>
                  </a:lnTo>
                  <a:lnTo>
                    <a:pt x="200" y="280"/>
                  </a:lnTo>
                  <a:lnTo>
                    <a:pt x="200" y="280"/>
                  </a:lnTo>
                  <a:lnTo>
                    <a:pt x="200" y="280"/>
                  </a:lnTo>
                  <a:lnTo>
                    <a:pt x="200" y="277"/>
                  </a:lnTo>
                  <a:lnTo>
                    <a:pt x="200" y="277"/>
                  </a:lnTo>
                  <a:lnTo>
                    <a:pt x="200" y="275"/>
                  </a:lnTo>
                  <a:lnTo>
                    <a:pt x="200" y="272"/>
                  </a:lnTo>
                  <a:lnTo>
                    <a:pt x="197" y="272"/>
                  </a:lnTo>
                  <a:lnTo>
                    <a:pt x="197" y="272"/>
                  </a:lnTo>
                  <a:lnTo>
                    <a:pt x="197" y="269"/>
                  </a:lnTo>
                  <a:lnTo>
                    <a:pt x="197" y="269"/>
                  </a:lnTo>
                  <a:lnTo>
                    <a:pt x="197" y="269"/>
                  </a:lnTo>
                  <a:lnTo>
                    <a:pt x="197" y="269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89" y="264"/>
                  </a:lnTo>
                  <a:lnTo>
                    <a:pt x="187" y="264"/>
                  </a:lnTo>
                  <a:lnTo>
                    <a:pt x="184" y="264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59"/>
                  </a:lnTo>
                  <a:lnTo>
                    <a:pt x="184" y="257"/>
                  </a:lnTo>
                  <a:lnTo>
                    <a:pt x="181" y="257"/>
                  </a:lnTo>
                  <a:lnTo>
                    <a:pt x="181" y="257"/>
                  </a:lnTo>
                  <a:lnTo>
                    <a:pt x="181" y="257"/>
                  </a:lnTo>
                  <a:lnTo>
                    <a:pt x="181" y="257"/>
                  </a:lnTo>
                  <a:lnTo>
                    <a:pt x="184" y="254"/>
                  </a:lnTo>
                  <a:lnTo>
                    <a:pt x="181" y="254"/>
                  </a:lnTo>
                  <a:lnTo>
                    <a:pt x="181" y="254"/>
                  </a:lnTo>
                  <a:lnTo>
                    <a:pt x="181" y="254"/>
                  </a:lnTo>
                  <a:lnTo>
                    <a:pt x="181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7" y="254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9" y="257"/>
                  </a:lnTo>
                  <a:lnTo>
                    <a:pt x="192" y="257"/>
                  </a:lnTo>
                  <a:lnTo>
                    <a:pt x="192" y="254"/>
                  </a:lnTo>
                  <a:lnTo>
                    <a:pt x="194" y="254"/>
                  </a:lnTo>
                  <a:lnTo>
                    <a:pt x="194" y="254"/>
                  </a:lnTo>
                  <a:lnTo>
                    <a:pt x="194" y="257"/>
                  </a:lnTo>
                  <a:lnTo>
                    <a:pt x="194" y="254"/>
                  </a:lnTo>
                  <a:lnTo>
                    <a:pt x="197" y="254"/>
                  </a:lnTo>
                  <a:lnTo>
                    <a:pt x="197" y="251"/>
                  </a:lnTo>
                  <a:lnTo>
                    <a:pt x="200" y="251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0" y="246"/>
                  </a:lnTo>
                  <a:lnTo>
                    <a:pt x="200" y="246"/>
                  </a:lnTo>
                  <a:lnTo>
                    <a:pt x="200" y="246"/>
                  </a:lnTo>
                  <a:lnTo>
                    <a:pt x="202" y="246"/>
                  </a:lnTo>
                  <a:lnTo>
                    <a:pt x="202" y="246"/>
                  </a:lnTo>
                  <a:lnTo>
                    <a:pt x="202" y="246"/>
                  </a:lnTo>
                  <a:lnTo>
                    <a:pt x="205" y="244"/>
                  </a:lnTo>
                  <a:lnTo>
                    <a:pt x="205" y="244"/>
                  </a:lnTo>
                  <a:lnTo>
                    <a:pt x="205" y="244"/>
                  </a:lnTo>
                  <a:lnTo>
                    <a:pt x="205" y="244"/>
                  </a:lnTo>
                  <a:lnTo>
                    <a:pt x="207" y="244"/>
                  </a:lnTo>
                  <a:lnTo>
                    <a:pt x="207" y="246"/>
                  </a:lnTo>
                  <a:lnTo>
                    <a:pt x="210" y="246"/>
                  </a:lnTo>
                  <a:lnTo>
                    <a:pt x="212" y="246"/>
                  </a:lnTo>
                  <a:lnTo>
                    <a:pt x="215" y="244"/>
                  </a:lnTo>
                  <a:lnTo>
                    <a:pt x="218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20" y="241"/>
                  </a:lnTo>
                  <a:lnTo>
                    <a:pt x="223" y="241"/>
                  </a:lnTo>
                  <a:lnTo>
                    <a:pt x="223" y="241"/>
                  </a:lnTo>
                  <a:lnTo>
                    <a:pt x="223" y="241"/>
                  </a:lnTo>
                  <a:lnTo>
                    <a:pt x="225" y="241"/>
                  </a:lnTo>
                  <a:lnTo>
                    <a:pt x="225" y="241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6"/>
                  </a:lnTo>
                  <a:lnTo>
                    <a:pt x="225" y="246"/>
                  </a:lnTo>
                  <a:lnTo>
                    <a:pt x="225" y="246"/>
                  </a:lnTo>
                  <a:lnTo>
                    <a:pt x="225" y="246"/>
                  </a:lnTo>
                  <a:lnTo>
                    <a:pt x="225" y="246"/>
                  </a:lnTo>
                  <a:lnTo>
                    <a:pt x="225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51"/>
                  </a:lnTo>
                  <a:lnTo>
                    <a:pt x="228" y="251"/>
                  </a:lnTo>
                  <a:lnTo>
                    <a:pt x="228" y="254"/>
                  </a:lnTo>
                  <a:lnTo>
                    <a:pt x="225" y="257"/>
                  </a:lnTo>
                  <a:lnTo>
                    <a:pt x="225" y="257"/>
                  </a:lnTo>
                  <a:lnTo>
                    <a:pt x="228" y="257"/>
                  </a:lnTo>
                  <a:lnTo>
                    <a:pt x="228" y="257"/>
                  </a:lnTo>
                  <a:lnTo>
                    <a:pt x="228" y="257"/>
                  </a:lnTo>
                  <a:lnTo>
                    <a:pt x="228" y="259"/>
                  </a:lnTo>
                  <a:lnTo>
                    <a:pt x="228" y="259"/>
                  </a:lnTo>
                  <a:lnTo>
                    <a:pt x="228" y="259"/>
                  </a:lnTo>
                  <a:lnTo>
                    <a:pt x="228" y="259"/>
                  </a:lnTo>
                  <a:lnTo>
                    <a:pt x="228" y="262"/>
                  </a:lnTo>
                  <a:lnTo>
                    <a:pt x="228" y="262"/>
                  </a:lnTo>
                  <a:lnTo>
                    <a:pt x="228" y="264"/>
                  </a:lnTo>
                  <a:lnTo>
                    <a:pt x="228" y="264"/>
                  </a:lnTo>
                  <a:lnTo>
                    <a:pt x="228" y="264"/>
                  </a:lnTo>
                  <a:lnTo>
                    <a:pt x="231" y="262"/>
                  </a:lnTo>
                  <a:lnTo>
                    <a:pt x="231" y="264"/>
                  </a:lnTo>
                  <a:lnTo>
                    <a:pt x="233" y="264"/>
                  </a:lnTo>
                  <a:lnTo>
                    <a:pt x="233" y="264"/>
                  </a:lnTo>
                  <a:lnTo>
                    <a:pt x="236" y="262"/>
                  </a:lnTo>
                  <a:lnTo>
                    <a:pt x="236" y="264"/>
                  </a:lnTo>
                  <a:lnTo>
                    <a:pt x="238" y="264"/>
                  </a:lnTo>
                  <a:lnTo>
                    <a:pt x="241" y="264"/>
                  </a:lnTo>
                  <a:lnTo>
                    <a:pt x="244" y="264"/>
                  </a:lnTo>
                  <a:lnTo>
                    <a:pt x="244" y="264"/>
                  </a:lnTo>
                  <a:lnTo>
                    <a:pt x="244" y="264"/>
                  </a:lnTo>
                  <a:lnTo>
                    <a:pt x="244" y="264"/>
                  </a:lnTo>
                  <a:lnTo>
                    <a:pt x="246" y="264"/>
                  </a:lnTo>
                  <a:lnTo>
                    <a:pt x="246" y="264"/>
                  </a:lnTo>
                  <a:lnTo>
                    <a:pt x="246" y="262"/>
                  </a:lnTo>
                  <a:lnTo>
                    <a:pt x="249" y="262"/>
                  </a:lnTo>
                  <a:lnTo>
                    <a:pt x="249" y="262"/>
                  </a:lnTo>
                  <a:lnTo>
                    <a:pt x="249" y="262"/>
                  </a:lnTo>
                  <a:lnTo>
                    <a:pt x="251" y="262"/>
                  </a:lnTo>
                  <a:lnTo>
                    <a:pt x="251" y="262"/>
                  </a:lnTo>
                  <a:lnTo>
                    <a:pt x="254" y="262"/>
                  </a:lnTo>
                  <a:lnTo>
                    <a:pt x="254" y="259"/>
                  </a:lnTo>
                  <a:lnTo>
                    <a:pt x="254" y="259"/>
                  </a:lnTo>
                  <a:lnTo>
                    <a:pt x="254" y="259"/>
                  </a:lnTo>
                  <a:lnTo>
                    <a:pt x="256" y="259"/>
                  </a:lnTo>
                  <a:lnTo>
                    <a:pt x="256" y="259"/>
                  </a:lnTo>
                  <a:lnTo>
                    <a:pt x="259" y="257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6" y="257"/>
                  </a:lnTo>
                  <a:lnTo>
                    <a:pt x="256" y="254"/>
                  </a:lnTo>
                  <a:lnTo>
                    <a:pt x="259" y="254"/>
                  </a:lnTo>
                  <a:lnTo>
                    <a:pt x="259" y="254"/>
                  </a:lnTo>
                  <a:lnTo>
                    <a:pt x="262" y="251"/>
                  </a:lnTo>
                  <a:lnTo>
                    <a:pt x="262" y="249"/>
                  </a:lnTo>
                  <a:lnTo>
                    <a:pt x="264" y="249"/>
                  </a:lnTo>
                  <a:lnTo>
                    <a:pt x="264" y="249"/>
                  </a:lnTo>
                  <a:lnTo>
                    <a:pt x="264" y="246"/>
                  </a:lnTo>
                  <a:lnTo>
                    <a:pt x="267" y="246"/>
                  </a:lnTo>
                  <a:lnTo>
                    <a:pt x="267" y="246"/>
                  </a:lnTo>
                  <a:lnTo>
                    <a:pt x="269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5" y="249"/>
                  </a:lnTo>
                  <a:lnTo>
                    <a:pt x="275" y="249"/>
                  </a:lnTo>
                  <a:lnTo>
                    <a:pt x="275" y="249"/>
                  </a:lnTo>
                  <a:lnTo>
                    <a:pt x="275" y="249"/>
                  </a:lnTo>
                  <a:lnTo>
                    <a:pt x="272" y="251"/>
                  </a:lnTo>
                  <a:lnTo>
                    <a:pt x="272" y="254"/>
                  </a:lnTo>
                  <a:lnTo>
                    <a:pt x="272" y="257"/>
                  </a:lnTo>
                  <a:lnTo>
                    <a:pt x="272" y="257"/>
                  </a:lnTo>
                  <a:lnTo>
                    <a:pt x="272" y="257"/>
                  </a:lnTo>
                  <a:lnTo>
                    <a:pt x="272" y="257"/>
                  </a:lnTo>
                  <a:lnTo>
                    <a:pt x="272" y="259"/>
                  </a:lnTo>
                  <a:lnTo>
                    <a:pt x="272" y="259"/>
                  </a:lnTo>
                  <a:lnTo>
                    <a:pt x="272" y="259"/>
                  </a:lnTo>
                  <a:lnTo>
                    <a:pt x="272" y="259"/>
                  </a:lnTo>
                  <a:lnTo>
                    <a:pt x="272" y="259"/>
                  </a:lnTo>
                  <a:lnTo>
                    <a:pt x="272" y="259"/>
                  </a:lnTo>
                  <a:lnTo>
                    <a:pt x="275" y="259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2" y="264"/>
                  </a:lnTo>
                  <a:lnTo>
                    <a:pt x="272" y="264"/>
                  </a:lnTo>
                  <a:lnTo>
                    <a:pt x="272" y="264"/>
                  </a:lnTo>
                  <a:lnTo>
                    <a:pt x="272" y="264"/>
                  </a:lnTo>
                  <a:lnTo>
                    <a:pt x="272" y="262"/>
                  </a:lnTo>
                  <a:lnTo>
                    <a:pt x="272" y="264"/>
                  </a:lnTo>
                  <a:lnTo>
                    <a:pt x="272" y="264"/>
                  </a:lnTo>
                  <a:lnTo>
                    <a:pt x="272" y="264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9"/>
                  </a:lnTo>
                  <a:lnTo>
                    <a:pt x="269" y="269"/>
                  </a:lnTo>
                  <a:lnTo>
                    <a:pt x="267" y="272"/>
                  </a:lnTo>
                  <a:lnTo>
                    <a:pt x="267" y="272"/>
                  </a:lnTo>
                  <a:lnTo>
                    <a:pt x="267" y="272"/>
                  </a:lnTo>
                  <a:lnTo>
                    <a:pt x="264" y="272"/>
                  </a:lnTo>
                  <a:lnTo>
                    <a:pt x="264" y="272"/>
                  </a:lnTo>
                  <a:lnTo>
                    <a:pt x="262" y="272"/>
                  </a:lnTo>
                  <a:lnTo>
                    <a:pt x="262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2" y="275"/>
                  </a:lnTo>
                  <a:lnTo>
                    <a:pt x="262" y="275"/>
                  </a:lnTo>
                  <a:lnTo>
                    <a:pt x="259" y="275"/>
                  </a:lnTo>
                  <a:lnTo>
                    <a:pt x="259" y="277"/>
                  </a:lnTo>
                  <a:lnTo>
                    <a:pt x="259" y="277"/>
                  </a:lnTo>
                  <a:lnTo>
                    <a:pt x="259" y="280"/>
                  </a:lnTo>
                  <a:lnTo>
                    <a:pt x="259" y="280"/>
                  </a:lnTo>
                  <a:lnTo>
                    <a:pt x="256" y="282"/>
                  </a:lnTo>
                  <a:lnTo>
                    <a:pt x="256" y="282"/>
                  </a:lnTo>
                  <a:lnTo>
                    <a:pt x="256" y="282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9" y="288"/>
                  </a:lnTo>
                  <a:lnTo>
                    <a:pt x="259" y="288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4" y="288"/>
                  </a:lnTo>
                  <a:lnTo>
                    <a:pt x="264" y="290"/>
                  </a:lnTo>
                  <a:lnTo>
                    <a:pt x="264" y="290"/>
                  </a:lnTo>
                  <a:lnTo>
                    <a:pt x="267" y="290"/>
                  </a:lnTo>
                  <a:lnTo>
                    <a:pt x="267" y="290"/>
                  </a:lnTo>
                  <a:lnTo>
                    <a:pt x="267" y="293"/>
                  </a:lnTo>
                  <a:lnTo>
                    <a:pt x="267" y="293"/>
                  </a:lnTo>
                  <a:lnTo>
                    <a:pt x="267" y="293"/>
                  </a:lnTo>
                  <a:lnTo>
                    <a:pt x="267" y="293"/>
                  </a:lnTo>
                  <a:lnTo>
                    <a:pt x="264" y="293"/>
                  </a:lnTo>
                  <a:lnTo>
                    <a:pt x="264" y="293"/>
                  </a:lnTo>
                  <a:lnTo>
                    <a:pt x="264" y="293"/>
                  </a:lnTo>
                  <a:lnTo>
                    <a:pt x="264" y="293"/>
                  </a:lnTo>
                  <a:lnTo>
                    <a:pt x="264" y="293"/>
                  </a:lnTo>
                  <a:lnTo>
                    <a:pt x="264" y="295"/>
                  </a:lnTo>
                  <a:lnTo>
                    <a:pt x="264" y="295"/>
                  </a:lnTo>
                  <a:lnTo>
                    <a:pt x="264" y="295"/>
                  </a:lnTo>
                  <a:lnTo>
                    <a:pt x="264" y="295"/>
                  </a:lnTo>
                  <a:lnTo>
                    <a:pt x="264" y="298"/>
                  </a:lnTo>
                  <a:lnTo>
                    <a:pt x="264" y="298"/>
                  </a:lnTo>
                  <a:lnTo>
                    <a:pt x="264" y="301"/>
                  </a:lnTo>
                  <a:lnTo>
                    <a:pt x="264" y="301"/>
                  </a:lnTo>
                  <a:lnTo>
                    <a:pt x="264" y="301"/>
                  </a:lnTo>
                  <a:lnTo>
                    <a:pt x="264" y="301"/>
                  </a:lnTo>
                  <a:lnTo>
                    <a:pt x="262" y="301"/>
                  </a:lnTo>
                  <a:lnTo>
                    <a:pt x="262" y="301"/>
                  </a:lnTo>
                  <a:lnTo>
                    <a:pt x="262" y="301"/>
                  </a:lnTo>
                  <a:lnTo>
                    <a:pt x="262" y="301"/>
                  </a:lnTo>
                  <a:lnTo>
                    <a:pt x="262" y="301"/>
                  </a:lnTo>
                  <a:lnTo>
                    <a:pt x="262" y="301"/>
                  </a:lnTo>
                  <a:lnTo>
                    <a:pt x="262" y="298"/>
                  </a:lnTo>
                  <a:lnTo>
                    <a:pt x="259" y="298"/>
                  </a:lnTo>
                  <a:lnTo>
                    <a:pt x="259" y="298"/>
                  </a:lnTo>
                  <a:lnTo>
                    <a:pt x="259" y="298"/>
                  </a:lnTo>
                  <a:lnTo>
                    <a:pt x="259" y="298"/>
                  </a:lnTo>
                  <a:lnTo>
                    <a:pt x="259" y="298"/>
                  </a:lnTo>
                  <a:lnTo>
                    <a:pt x="259" y="301"/>
                  </a:lnTo>
                  <a:lnTo>
                    <a:pt x="259" y="301"/>
                  </a:lnTo>
                  <a:lnTo>
                    <a:pt x="262" y="301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2" y="306"/>
                  </a:lnTo>
                  <a:lnTo>
                    <a:pt x="262" y="306"/>
                  </a:lnTo>
                  <a:lnTo>
                    <a:pt x="262" y="306"/>
                  </a:lnTo>
                  <a:lnTo>
                    <a:pt x="262" y="308"/>
                  </a:lnTo>
                  <a:lnTo>
                    <a:pt x="262" y="308"/>
                  </a:lnTo>
                  <a:lnTo>
                    <a:pt x="262" y="308"/>
                  </a:lnTo>
                  <a:lnTo>
                    <a:pt x="264" y="308"/>
                  </a:lnTo>
                  <a:lnTo>
                    <a:pt x="264" y="308"/>
                  </a:lnTo>
                  <a:lnTo>
                    <a:pt x="267" y="308"/>
                  </a:lnTo>
                  <a:lnTo>
                    <a:pt x="267" y="308"/>
                  </a:lnTo>
                  <a:lnTo>
                    <a:pt x="267" y="308"/>
                  </a:lnTo>
                  <a:lnTo>
                    <a:pt x="267" y="308"/>
                  </a:lnTo>
                  <a:lnTo>
                    <a:pt x="269" y="308"/>
                  </a:lnTo>
                  <a:lnTo>
                    <a:pt x="269" y="308"/>
                  </a:lnTo>
                  <a:lnTo>
                    <a:pt x="272" y="311"/>
                  </a:lnTo>
                  <a:lnTo>
                    <a:pt x="272" y="311"/>
                  </a:lnTo>
                  <a:lnTo>
                    <a:pt x="272" y="308"/>
                  </a:lnTo>
                  <a:lnTo>
                    <a:pt x="275" y="308"/>
                  </a:lnTo>
                  <a:lnTo>
                    <a:pt x="275" y="308"/>
                  </a:lnTo>
                  <a:lnTo>
                    <a:pt x="275" y="308"/>
                  </a:lnTo>
                  <a:lnTo>
                    <a:pt x="275" y="308"/>
                  </a:lnTo>
                  <a:lnTo>
                    <a:pt x="275" y="311"/>
                  </a:lnTo>
                  <a:lnTo>
                    <a:pt x="275" y="311"/>
                  </a:lnTo>
                  <a:lnTo>
                    <a:pt x="275" y="311"/>
                  </a:lnTo>
                  <a:lnTo>
                    <a:pt x="277" y="311"/>
                  </a:lnTo>
                  <a:lnTo>
                    <a:pt x="277" y="311"/>
                  </a:lnTo>
                  <a:lnTo>
                    <a:pt x="277" y="311"/>
                  </a:lnTo>
                  <a:lnTo>
                    <a:pt x="277" y="314"/>
                  </a:lnTo>
                  <a:lnTo>
                    <a:pt x="275" y="314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7" y="316"/>
                  </a:lnTo>
                  <a:lnTo>
                    <a:pt x="277" y="316"/>
                  </a:lnTo>
                  <a:lnTo>
                    <a:pt x="277" y="316"/>
                  </a:lnTo>
                  <a:lnTo>
                    <a:pt x="277" y="316"/>
                  </a:lnTo>
                  <a:lnTo>
                    <a:pt x="280" y="319"/>
                  </a:lnTo>
                  <a:lnTo>
                    <a:pt x="280" y="319"/>
                  </a:lnTo>
                  <a:lnTo>
                    <a:pt x="280" y="319"/>
                  </a:lnTo>
                  <a:lnTo>
                    <a:pt x="280" y="319"/>
                  </a:lnTo>
                  <a:lnTo>
                    <a:pt x="280" y="321"/>
                  </a:lnTo>
                  <a:lnTo>
                    <a:pt x="282" y="321"/>
                  </a:lnTo>
                  <a:lnTo>
                    <a:pt x="280" y="321"/>
                  </a:lnTo>
                  <a:lnTo>
                    <a:pt x="280" y="324"/>
                  </a:lnTo>
                  <a:lnTo>
                    <a:pt x="280" y="324"/>
                  </a:lnTo>
                  <a:lnTo>
                    <a:pt x="280" y="327"/>
                  </a:lnTo>
                  <a:lnTo>
                    <a:pt x="280" y="327"/>
                  </a:lnTo>
                  <a:lnTo>
                    <a:pt x="280" y="327"/>
                  </a:lnTo>
                  <a:lnTo>
                    <a:pt x="282" y="329"/>
                  </a:lnTo>
                  <a:lnTo>
                    <a:pt x="280" y="332"/>
                  </a:lnTo>
                  <a:lnTo>
                    <a:pt x="280" y="332"/>
                  </a:lnTo>
                  <a:lnTo>
                    <a:pt x="280" y="332"/>
                  </a:lnTo>
                  <a:lnTo>
                    <a:pt x="280" y="332"/>
                  </a:lnTo>
                  <a:lnTo>
                    <a:pt x="280" y="332"/>
                  </a:lnTo>
                  <a:lnTo>
                    <a:pt x="282" y="332"/>
                  </a:lnTo>
                  <a:lnTo>
                    <a:pt x="280" y="334"/>
                  </a:lnTo>
                  <a:lnTo>
                    <a:pt x="280" y="334"/>
                  </a:lnTo>
                  <a:lnTo>
                    <a:pt x="280" y="334"/>
                  </a:lnTo>
                  <a:lnTo>
                    <a:pt x="280" y="337"/>
                  </a:lnTo>
                  <a:lnTo>
                    <a:pt x="280" y="339"/>
                  </a:lnTo>
                  <a:lnTo>
                    <a:pt x="282" y="339"/>
                  </a:lnTo>
                  <a:lnTo>
                    <a:pt x="285" y="339"/>
                  </a:lnTo>
                  <a:lnTo>
                    <a:pt x="285" y="337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90" y="337"/>
                  </a:lnTo>
                  <a:lnTo>
                    <a:pt x="290" y="337"/>
                  </a:lnTo>
                  <a:lnTo>
                    <a:pt x="290" y="337"/>
                  </a:lnTo>
                  <a:lnTo>
                    <a:pt x="290" y="337"/>
                  </a:lnTo>
                  <a:lnTo>
                    <a:pt x="290" y="339"/>
                  </a:lnTo>
                  <a:lnTo>
                    <a:pt x="290" y="339"/>
                  </a:lnTo>
                  <a:lnTo>
                    <a:pt x="290" y="339"/>
                  </a:lnTo>
                  <a:lnTo>
                    <a:pt x="290" y="339"/>
                  </a:lnTo>
                  <a:lnTo>
                    <a:pt x="290" y="339"/>
                  </a:lnTo>
                  <a:lnTo>
                    <a:pt x="293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90" y="345"/>
                  </a:lnTo>
                  <a:lnTo>
                    <a:pt x="290" y="345"/>
                  </a:lnTo>
                  <a:lnTo>
                    <a:pt x="290" y="345"/>
                  </a:lnTo>
                  <a:lnTo>
                    <a:pt x="290" y="345"/>
                  </a:lnTo>
                  <a:lnTo>
                    <a:pt x="290" y="345"/>
                  </a:lnTo>
                  <a:lnTo>
                    <a:pt x="293" y="345"/>
                  </a:lnTo>
                  <a:lnTo>
                    <a:pt x="293" y="347"/>
                  </a:lnTo>
                  <a:lnTo>
                    <a:pt x="295" y="347"/>
                  </a:lnTo>
                  <a:lnTo>
                    <a:pt x="295" y="347"/>
                  </a:lnTo>
                  <a:lnTo>
                    <a:pt x="295" y="347"/>
                  </a:lnTo>
                  <a:lnTo>
                    <a:pt x="298" y="350"/>
                  </a:lnTo>
                  <a:lnTo>
                    <a:pt x="298" y="352"/>
                  </a:lnTo>
                  <a:lnTo>
                    <a:pt x="298" y="352"/>
                  </a:lnTo>
                  <a:lnTo>
                    <a:pt x="298" y="355"/>
                  </a:lnTo>
                  <a:lnTo>
                    <a:pt x="298" y="358"/>
                  </a:lnTo>
                  <a:lnTo>
                    <a:pt x="295" y="358"/>
                  </a:lnTo>
                  <a:lnTo>
                    <a:pt x="295" y="358"/>
                  </a:lnTo>
                  <a:lnTo>
                    <a:pt x="295" y="358"/>
                  </a:lnTo>
                  <a:lnTo>
                    <a:pt x="298" y="358"/>
                  </a:lnTo>
                  <a:lnTo>
                    <a:pt x="300" y="358"/>
                  </a:lnTo>
                  <a:lnTo>
                    <a:pt x="300" y="358"/>
                  </a:lnTo>
                  <a:lnTo>
                    <a:pt x="303" y="358"/>
                  </a:lnTo>
                  <a:lnTo>
                    <a:pt x="306" y="358"/>
                  </a:lnTo>
                  <a:lnTo>
                    <a:pt x="306" y="358"/>
                  </a:lnTo>
                  <a:lnTo>
                    <a:pt x="308" y="358"/>
                  </a:lnTo>
                  <a:lnTo>
                    <a:pt x="311" y="358"/>
                  </a:lnTo>
                  <a:lnTo>
                    <a:pt x="311" y="358"/>
                  </a:lnTo>
                  <a:lnTo>
                    <a:pt x="311" y="358"/>
                  </a:lnTo>
                  <a:lnTo>
                    <a:pt x="311" y="358"/>
                  </a:lnTo>
                  <a:lnTo>
                    <a:pt x="308" y="360"/>
                  </a:lnTo>
                  <a:lnTo>
                    <a:pt x="308" y="363"/>
                  </a:lnTo>
                  <a:lnTo>
                    <a:pt x="308" y="363"/>
                  </a:lnTo>
                  <a:lnTo>
                    <a:pt x="308" y="363"/>
                  </a:lnTo>
                  <a:lnTo>
                    <a:pt x="308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5"/>
                  </a:lnTo>
                  <a:lnTo>
                    <a:pt x="308" y="368"/>
                  </a:lnTo>
                  <a:lnTo>
                    <a:pt x="308" y="371"/>
                  </a:lnTo>
                  <a:lnTo>
                    <a:pt x="308" y="371"/>
                  </a:lnTo>
                  <a:lnTo>
                    <a:pt x="311" y="371"/>
                  </a:lnTo>
                  <a:lnTo>
                    <a:pt x="308" y="371"/>
                  </a:lnTo>
                  <a:lnTo>
                    <a:pt x="306" y="373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0" y="378"/>
                  </a:lnTo>
                  <a:lnTo>
                    <a:pt x="300" y="378"/>
                  </a:lnTo>
                  <a:lnTo>
                    <a:pt x="300" y="378"/>
                  </a:lnTo>
                  <a:lnTo>
                    <a:pt x="300" y="378"/>
                  </a:lnTo>
                  <a:lnTo>
                    <a:pt x="303" y="378"/>
                  </a:lnTo>
                  <a:lnTo>
                    <a:pt x="303" y="378"/>
                  </a:lnTo>
                  <a:lnTo>
                    <a:pt x="303" y="381"/>
                  </a:lnTo>
                  <a:lnTo>
                    <a:pt x="303" y="381"/>
                  </a:lnTo>
                  <a:lnTo>
                    <a:pt x="303" y="381"/>
                  </a:lnTo>
                  <a:lnTo>
                    <a:pt x="303" y="381"/>
                  </a:lnTo>
                  <a:lnTo>
                    <a:pt x="303" y="384"/>
                  </a:lnTo>
                  <a:lnTo>
                    <a:pt x="303" y="384"/>
                  </a:lnTo>
                  <a:lnTo>
                    <a:pt x="303" y="384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9"/>
                  </a:lnTo>
                  <a:lnTo>
                    <a:pt x="303" y="389"/>
                  </a:lnTo>
                  <a:lnTo>
                    <a:pt x="303" y="389"/>
                  </a:lnTo>
                  <a:lnTo>
                    <a:pt x="303" y="389"/>
                  </a:lnTo>
                  <a:lnTo>
                    <a:pt x="303" y="391"/>
                  </a:lnTo>
                  <a:lnTo>
                    <a:pt x="303" y="391"/>
                  </a:lnTo>
                  <a:lnTo>
                    <a:pt x="303" y="391"/>
                  </a:lnTo>
                  <a:lnTo>
                    <a:pt x="300" y="391"/>
                  </a:lnTo>
                  <a:lnTo>
                    <a:pt x="300" y="394"/>
                  </a:lnTo>
                  <a:lnTo>
                    <a:pt x="300" y="394"/>
                  </a:lnTo>
                  <a:lnTo>
                    <a:pt x="300" y="394"/>
                  </a:lnTo>
                  <a:lnTo>
                    <a:pt x="303" y="394"/>
                  </a:lnTo>
                  <a:lnTo>
                    <a:pt x="306" y="394"/>
                  </a:lnTo>
                  <a:lnTo>
                    <a:pt x="306" y="394"/>
                  </a:lnTo>
                  <a:lnTo>
                    <a:pt x="308" y="394"/>
                  </a:lnTo>
                  <a:lnTo>
                    <a:pt x="311" y="394"/>
                  </a:lnTo>
                  <a:lnTo>
                    <a:pt x="311" y="394"/>
                  </a:lnTo>
                  <a:lnTo>
                    <a:pt x="313" y="394"/>
                  </a:lnTo>
                  <a:lnTo>
                    <a:pt x="313" y="391"/>
                  </a:lnTo>
                  <a:lnTo>
                    <a:pt x="316" y="394"/>
                  </a:lnTo>
                  <a:lnTo>
                    <a:pt x="316" y="394"/>
                  </a:lnTo>
                  <a:lnTo>
                    <a:pt x="316" y="397"/>
                  </a:lnTo>
                  <a:lnTo>
                    <a:pt x="316" y="397"/>
                  </a:lnTo>
                  <a:lnTo>
                    <a:pt x="316" y="399"/>
                  </a:lnTo>
                  <a:lnTo>
                    <a:pt x="319" y="397"/>
                  </a:lnTo>
                  <a:lnTo>
                    <a:pt x="319" y="397"/>
                  </a:lnTo>
                  <a:lnTo>
                    <a:pt x="321" y="397"/>
                  </a:lnTo>
                  <a:lnTo>
                    <a:pt x="321" y="397"/>
                  </a:lnTo>
                  <a:lnTo>
                    <a:pt x="321" y="397"/>
                  </a:lnTo>
                  <a:lnTo>
                    <a:pt x="321" y="397"/>
                  </a:lnTo>
                  <a:lnTo>
                    <a:pt x="321" y="397"/>
                  </a:lnTo>
                  <a:lnTo>
                    <a:pt x="321" y="397"/>
                  </a:lnTo>
                  <a:lnTo>
                    <a:pt x="324" y="399"/>
                  </a:lnTo>
                  <a:lnTo>
                    <a:pt x="326" y="399"/>
                  </a:lnTo>
                  <a:lnTo>
                    <a:pt x="326" y="399"/>
                  </a:lnTo>
                  <a:lnTo>
                    <a:pt x="329" y="397"/>
                  </a:lnTo>
                  <a:lnTo>
                    <a:pt x="329" y="399"/>
                  </a:lnTo>
                  <a:lnTo>
                    <a:pt x="332" y="399"/>
                  </a:lnTo>
                  <a:lnTo>
                    <a:pt x="332" y="402"/>
                  </a:lnTo>
                  <a:lnTo>
                    <a:pt x="334" y="404"/>
                  </a:lnTo>
                  <a:lnTo>
                    <a:pt x="334" y="404"/>
                  </a:lnTo>
                  <a:lnTo>
                    <a:pt x="334" y="404"/>
                  </a:lnTo>
                  <a:lnTo>
                    <a:pt x="334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4" y="407"/>
                  </a:lnTo>
                  <a:lnTo>
                    <a:pt x="334" y="407"/>
                  </a:lnTo>
                  <a:lnTo>
                    <a:pt x="334" y="407"/>
                  </a:lnTo>
                  <a:lnTo>
                    <a:pt x="332" y="407"/>
                  </a:lnTo>
                  <a:lnTo>
                    <a:pt x="332" y="407"/>
                  </a:lnTo>
                  <a:lnTo>
                    <a:pt x="332" y="404"/>
                  </a:lnTo>
                  <a:lnTo>
                    <a:pt x="329" y="404"/>
                  </a:lnTo>
                  <a:lnTo>
                    <a:pt x="329" y="407"/>
                  </a:lnTo>
                  <a:lnTo>
                    <a:pt x="329" y="407"/>
                  </a:lnTo>
                  <a:lnTo>
                    <a:pt x="329" y="409"/>
                  </a:lnTo>
                  <a:lnTo>
                    <a:pt x="332" y="409"/>
                  </a:lnTo>
                  <a:lnTo>
                    <a:pt x="332" y="412"/>
                  </a:lnTo>
                  <a:lnTo>
                    <a:pt x="332" y="412"/>
                  </a:lnTo>
                  <a:lnTo>
                    <a:pt x="329" y="412"/>
                  </a:lnTo>
                  <a:lnTo>
                    <a:pt x="329" y="409"/>
                  </a:lnTo>
                  <a:lnTo>
                    <a:pt x="329" y="409"/>
                  </a:lnTo>
                  <a:lnTo>
                    <a:pt x="326" y="409"/>
                  </a:lnTo>
                  <a:lnTo>
                    <a:pt x="326" y="412"/>
                  </a:lnTo>
                  <a:lnTo>
                    <a:pt x="329" y="412"/>
                  </a:lnTo>
                  <a:lnTo>
                    <a:pt x="329" y="412"/>
                  </a:lnTo>
                  <a:lnTo>
                    <a:pt x="329" y="412"/>
                  </a:lnTo>
                  <a:lnTo>
                    <a:pt x="329" y="415"/>
                  </a:lnTo>
                  <a:lnTo>
                    <a:pt x="326" y="415"/>
                  </a:lnTo>
                  <a:lnTo>
                    <a:pt x="326" y="417"/>
                  </a:lnTo>
                  <a:lnTo>
                    <a:pt x="326" y="417"/>
                  </a:lnTo>
                  <a:lnTo>
                    <a:pt x="326" y="417"/>
                  </a:lnTo>
                  <a:lnTo>
                    <a:pt x="326" y="420"/>
                  </a:lnTo>
                  <a:lnTo>
                    <a:pt x="326" y="420"/>
                  </a:lnTo>
                  <a:lnTo>
                    <a:pt x="329" y="422"/>
                  </a:lnTo>
                  <a:lnTo>
                    <a:pt x="329" y="425"/>
                  </a:lnTo>
                  <a:lnTo>
                    <a:pt x="332" y="425"/>
                  </a:lnTo>
                  <a:lnTo>
                    <a:pt x="332" y="425"/>
                  </a:lnTo>
                  <a:lnTo>
                    <a:pt x="332" y="428"/>
                  </a:lnTo>
                  <a:lnTo>
                    <a:pt x="329" y="428"/>
                  </a:lnTo>
                  <a:lnTo>
                    <a:pt x="329" y="428"/>
                  </a:lnTo>
                  <a:lnTo>
                    <a:pt x="329" y="430"/>
                  </a:lnTo>
                  <a:lnTo>
                    <a:pt x="329" y="433"/>
                  </a:lnTo>
                  <a:lnTo>
                    <a:pt x="332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8"/>
                  </a:lnTo>
                  <a:lnTo>
                    <a:pt x="326" y="438"/>
                  </a:lnTo>
                  <a:lnTo>
                    <a:pt x="326" y="438"/>
                  </a:lnTo>
                  <a:lnTo>
                    <a:pt x="326" y="438"/>
                  </a:lnTo>
                  <a:lnTo>
                    <a:pt x="326" y="438"/>
                  </a:lnTo>
                  <a:lnTo>
                    <a:pt x="326" y="438"/>
                  </a:lnTo>
                  <a:lnTo>
                    <a:pt x="326" y="438"/>
                  </a:lnTo>
                  <a:lnTo>
                    <a:pt x="324" y="438"/>
                  </a:lnTo>
                  <a:lnTo>
                    <a:pt x="324" y="438"/>
                  </a:lnTo>
                  <a:lnTo>
                    <a:pt x="324" y="441"/>
                  </a:lnTo>
                  <a:lnTo>
                    <a:pt x="321" y="441"/>
                  </a:lnTo>
                  <a:lnTo>
                    <a:pt x="321" y="443"/>
                  </a:lnTo>
                  <a:lnTo>
                    <a:pt x="321" y="443"/>
                  </a:lnTo>
                  <a:lnTo>
                    <a:pt x="324" y="443"/>
                  </a:lnTo>
                  <a:lnTo>
                    <a:pt x="324" y="443"/>
                  </a:lnTo>
                  <a:lnTo>
                    <a:pt x="321" y="443"/>
                  </a:lnTo>
                  <a:lnTo>
                    <a:pt x="321" y="446"/>
                  </a:lnTo>
                  <a:lnTo>
                    <a:pt x="321" y="446"/>
                  </a:lnTo>
                  <a:lnTo>
                    <a:pt x="321" y="446"/>
                  </a:lnTo>
                  <a:lnTo>
                    <a:pt x="321" y="446"/>
                  </a:lnTo>
                  <a:lnTo>
                    <a:pt x="321" y="448"/>
                  </a:lnTo>
                  <a:lnTo>
                    <a:pt x="321" y="448"/>
                  </a:lnTo>
                  <a:lnTo>
                    <a:pt x="324" y="448"/>
                  </a:lnTo>
                  <a:lnTo>
                    <a:pt x="324" y="448"/>
                  </a:lnTo>
                  <a:lnTo>
                    <a:pt x="324" y="448"/>
                  </a:lnTo>
                  <a:lnTo>
                    <a:pt x="326" y="451"/>
                  </a:lnTo>
                  <a:lnTo>
                    <a:pt x="326" y="451"/>
                  </a:lnTo>
                  <a:lnTo>
                    <a:pt x="329" y="451"/>
                  </a:lnTo>
                  <a:lnTo>
                    <a:pt x="329" y="451"/>
                  </a:lnTo>
                  <a:lnTo>
                    <a:pt x="329" y="451"/>
                  </a:lnTo>
                  <a:lnTo>
                    <a:pt x="329" y="454"/>
                  </a:lnTo>
                  <a:lnTo>
                    <a:pt x="329" y="454"/>
                  </a:lnTo>
                  <a:lnTo>
                    <a:pt x="332" y="454"/>
                  </a:lnTo>
                  <a:lnTo>
                    <a:pt x="332" y="454"/>
                  </a:lnTo>
                  <a:lnTo>
                    <a:pt x="332" y="454"/>
                  </a:lnTo>
                  <a:lnTo>
                    <a:pt x="332" y="454"/>
                  </a:lnTo>
                  <a:lnTo>
                    <a:pt x="332" y="454"/>
                  </a:lnTo>
                  <a:lnTo>
                    <a:pt x="334" y="454"/>
                  </a:lnTo>
                  <a:lnTo>
                    <a:pt x="334" y="454"/>
                  </a:lnTo>
                  <a:lnTo>
                    <a:pt x="334" y="451"/>
                  </a:lnTo>
                  <a:lnTo>
                    <a:pt x="334" y="451"/>
                  </a:lnTo>
                  <a:lnTo>
                    <a:pt x="334" y="454"/>
                  </a:lnTo>
                  <a:lnTo>
                    <a:pt x="337" y="454"/>
                  </a:lnTo>
                  <a:lnTo>
                    <a:pt x="337" y="454"/>
                  </a:lnTo>
                  <a:lnTo>
                    <a:pt x="337" y="454"/>
                  </a:lnTo>
                  <a:lnTo>
                    <a:pt x="339" y="454"/>
                  </a:lnTo>
                  <a:lnTo>
                    <a:pt x="339" y="456"/>
                  </a:lnTo>
                  <a:lnTo>
                    <a:pt x="342" y="456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4"/>
                  </a:lnTo>
                  <a:lnTo>
                    <a:pt x="344" y="451"/>
                  </a:lnTo>
                  <a:lnTo>
                    <a:pt x="344" y="451"/>
                  </a:lnTo>
                  <a:lnTo>
                    <a:pt x="344" y="451"/>
                  </a:lnTo>
                  <a:lnTo>
                    <a:pt x="344" y="451"/>
                  </a:lnTo>
                  <a:lnTo>
                    <a:pt x="344" y="451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48"/>
                  </a:lnTo>
                  <a:lnTo>
                    <a:pt x="344" y="451"/>
                  </a:lnTo>
                  <a:lnTo>
                    <a:pt x="342" y="451"/>
                  </a:lnTo>
                  <a:lnTo>
                    <a:pt x="342" y="451"/>
                  </a:lnTo>
                  <a:lnTo>
                    <a:pt x="342" y="451"/>
                  </a:lnTo>
                  <a:lnTo>
                    <a:pt x="339" y="448"/>
                  </a:lnTo>
                  <a:lnTo>
                    <a:pt x="339" y="446"/>
                  </a:lnTo>
                  <a:lnTo>
                    <a:pt x="339" y="446"/>
                  </a:lnTo>
                  <a:lnTo>
                    <a:pt x="337" y="446"/>
                  </a:lnTo>
                  <a:lnTo>
                    <a:pt x="339" y="446"/>
                  </a:lnTo>
                  <a:lnTo>
                    <a:pt x="339" y="443"/>
                  </a:lnTo>
                  <a:lnTo>
                    <a:pt x="342" y="443"/>
                  </a:lnTo>
                  <a:lnTo>
                    <a:pt x="342" y="443"/>
                  </a:lnTo>
                  <a:lnTo>
                    <a:pt x="342" y="443"/>
                  </a:lnTo>
                  <a:lnTo>
                    <a:pt x="342" y="443"/>
                  </a:lnTo>
                  <a:lnTo>
                    <a:pt x="342" y="443"/>
                  </a:lnTo>
                  <a:lnTo>
                    <a:pt x="344" y="443"/>
                  </a:lnTo>
                  <a:lnTo>
                    <a:pt x="344" y="441"/>
                  </a:lnTo>
                  <a:lnTo>
                    <a:pt x="344" y="441"/>
                  </a:lnTo>
                  <a:lnTo>
                    <a:pt x="344" y="441"/>
                  </a:lnTo>
                  <a:lnTo>
                    <a:pt x="344" y="441"/>
                  </a:lnTo>
                  <a:lnTo>
                    <a:pt x="347" y="441"/>
                  </a:lnTo>
                  <a:lnTo>
                    <a:pt x="347" y="441"/>
                  </a:lnTo>
                  <a:lnTo>
                    <a:pt x="350" y="441"/>
                  </a:lnTo>
                  <a:lnTo>
                    <a:pt x="350" y="441"/>
                  </a:lnTo>
                  <a:lnTo>
                    <a:pt x="350" y="441"/>
                  </a:lnTo>
                  <a:lnTo>
                    <a:pt x="350" y="438"/>
                  </a:lnTo>
                  <a:lnTo>
                    <a:pt x="347" y="438"/>
                  </a:lnTo>
                  <a:lnTo>
                    <a:pt x="347" y="438"/>
                  </a:lnTo>
                  <a:lnTo>
                    <a:pt x="350" y="435"/>
                  </a:lnTo>
                  <a:lnTo>
                    <a:pt x="350" y="435"/>
                  </a:lnTo>
                  <a:lnTo>
                    <a:pt x="352" y="435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5" y="441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5" y="441"/>
                  </a:lnTo>
                  <a:lnTo>
                    <a:pt x="355" y="438"/>
                  </a:lnTo>
                  <a:lnTo>
                    <a:pt x="355" y="438"/>
                  </a:lnTo>
                  <a:lnTo>
                    <a:pt x="355" y="438"/>
                  </a:lnTo>
                  <a:lnTo>
                    <a:pt x="355" y="438"/>
                  </a:lnTo>
                  <a:lnTo>
                    <a:pt x="355" y="435"/>
                  </a:lnTo>
                  <a:lnTo>
                    <a:pt x="355" y="435"/>
                  </a:lnTo>
                  <a:lnTo>
                    <a:pt x="355" y="435"/>
                  </a:lnTo>
                  <a:lnTo>
                    <a:pt x="355" y="435"/>
                  </a:lnTo>
                  <a:lnTo>
                    <a:pt x="355" y="435"/>
                  </a:lnTo>
                  <a:lnTo>
                    <a:pt x="355" y="435"/>
                  </a:lnTo>
                  <a:lnTo>
                    <a:pt x="357" y="435"/>
                  </a:lnTo>
                  <a:lnTo>
                    <a:pt x="357" y="438"/>
                  </a:lnTo>
                  <a:lnTo>
                    <a:pt x="357" y="435"/>
                  </a:lnTo>
                  <a:lnTo>
                    <a:pt x="357" y="435"/>
                  </a:lnTo>
                  <a:lnTo>
                    <a:pt x="357" y="435"/>
                  </a:lnTo>
                  <a:lnTo>
                    <a:pt x="360" y="435"/>
                  </a:lnTo>
                  <a:lnTo>
                    <a:pt x="360" y="435"/>
                  </a:lnTo>
                  <a:lnTo>
                    <a:pt x="360" y="435"/>
                  </a:lnTo>
                  <a:lnTo>
                    <a:pt x="360" y="435"/>
                  </a:lnTo>
                  <a:lnTo>
                    <a:pt x="360" y="435"/>
                  </a:lnTo>
                  <a:lnTo>
                    <a:pt x="363" y="435"/>
                  </a:lnTo>
                  <a:lnTo>
                    <a:pt x="363" y="435"/>
                  </a:lnTo>
                  <a:lnTo>
                    <a:pt x="363" y="435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41"/>
                  </a:lnTo>
                  <a:lnTo>
                    <a:pt x="363" y="441"/>
                  </a:lnTo>
                  <a:lnTo>
                    <a:pt x="363" y="441"/>
                  </a:lnTo>
                  <a:lnTo>
                    <a:pt x="363" y="441"/>
                  </a:lnTo>
                  <a:lnTo>
                    <a:pt x="365" y="441"/>
                  </a:lnTo>
                  <a:lnTo>
                    <a:pt x="368" y="441"/>
                  </a:lnTo>
                  <a:lnTo>
                    <a:pt x="370" y="438"/>
                  </a:lnTo>
                  <a:lnTo>
                    <a:pt x="370" y="438"/>
                  </a:lnTo>
                  <a:lnTo>
                    <a:pt x="370" y="435"/>
                  </a:lnTo>
                  <a:lnTo>
                    <a:pt x="373" y="435"/>
                  </a:lnTo>
                  <a:lnTo>
                    <a:pt x="373" y="433"/>
                  </a:lnTo>
                  <a:lnTo>
                    <a:pt x="376" y="433"/>
                  </a:lnTo>
                  <a:lnTo>
                    <a:pt x="376" y="433"/>
                  </a:lnTo>
                  <a:lnTo>
                    <a:pt x="376" y="433"/>
                  </a:lnTo>
                  <a:lnTo>
                    <a:pt x="376" y="430"/>
                  </a:lnTo>
                  <a:lnTo>
                    <a:pt x="376" y="430"/>
                  </a:lnTo>
                  <a:lnTo>
                    <a:pt x="378" y="430"/>
                  </a:lnTo>
                  <a:lnTo>
                    <a:pt x="378" y="430"/>
                  </a:lnTo>
                  <a:lnTo>
                    <a:pt x="378" y="433"/>
                  </a:lnTo>
                  <a:lnTo>
                    <a:pt x="378" y="433"/>
                  </a:lnTo>
                  <a:lnTo>
                    <a:pt x="378" y="433"/>
                  </a:lnTo>
                  <a:lnTo>
                    <a:pt x="378" y="435"/>
                  </a:lnTo>
                  <a:lnTo>
                    <a:pt x="378" y="435"/>
                  </a:lnTo>
                  <a:lnTo>
                    <a:pt x="381" y="433"/>
                  </a:lnTo>
                  <a:lnTo>
                    <a:pt x="381" y="433"/>
                  </a:lnTo>
                  <a:lnTo>
                    <a:pt x="381" y="433"/>
                  </a:lnTo>
                  <a:lnTo>
                    <a:pt x="383" y="433"/>
                  </a:lnTo>
                  <a:lnTo>
                    <a:pt x="383" y="433"/>
                  </a:lnTo>
                  <a:lnTo>
                    <a:pt x="386" y="433"/>
                  </a:lnTo>
                  <a:lnTo>
                    <a:pt x="386" y="433"/>
                  </a:lnTo>
                  <a:lnTo>
                    <a:pt x="388" y="433"/>
                  </a:lnTo>
                  <a:lnTo>
                    <a:pt x="388" y="430"/>
                  </a:lnTo>
                  <a:lnTo>
                    <a:pt x="388" y="430"/>
                  </a:lnTo>
                  <a:lnTo>
                    <a:pt x="388" y="430"/>
                  </a:lnTo>
                  <a:lnTo>
                    <a:pt x="388" y="430"/>
                  </a:lnTo>
                  <a:lnTo>
                    <a:pt x="388" y="430"/>
                  </a:lnTo>
                  <a:lnTo>
                    <a:pt x="391" y="428"/>
                  </a:lnTo>
                  <a:lnTo>
                    <a:pt x="391" y="428"/>
                  </a:lnTo>
                  <a:lnTo>
                    <a:pt x="391" y="425"/>
                  </a:lnTo>
                  <a:lnTo>
                    <a:pt x="391" y="425"/>
                  </a:lnTo>
                  <a:lnTo>
                    <a:pt x="391" y="425"/>
                  </a:lnTo>
                  <a:lnTo>
                    <a:pt x="391" y="422"/>
                  </a:lnTo>
                  <a:lnTo>
                    <a:pt x="394" y="422"/>
                  </a:lnTo>
                  <a:lnTo>
                    <a:pt x="394" y="422"/>
                  </a:lnTo>
                  <a:lnTo>
                    <a:pt x="394" y="422"/>
                  </a:lnTo>
                  <a:lnTo>
                    <a:pt x="394" y="425"/>
                  </a:lnTo>
                  <a:lnTo>
                    <a:pt x="394" y="425"/>
                  </a:lnTo>
                  <a:lnTo>
                    <a:pt x="396" y="425"/>
                  </a:lnTo>
                  <a:lnTo>
                    <a:pt x="396" y="425"/>
                  </a:lnTo>
                  <a:lnTo>
                    <a:pt x="396" y="425"/>
                  </a:lnTo>
                  <a:lnTo>
                    <a:pt x="399" y="422"/>
                  </a:lnTo>
                  <a:lnTo>
                    <a:pt x="399" y="422"/>
                  </a:lnTo>
                  <a:lnTo>
                    <a:pt x="399" y="422"/>
                  </a:lnTo>
                  <a:lnTo>
                    <a:pt x="401" y="422"/>
                  </a:lnTo>
                  <a:lnTo>
                    <a:pt x="401" y="422"/>
                  </a:lnTo>
                  <a:lnTo>
                    <a:pt x="401" y="422"/>
                  </a:lnTo>
                  <a:lnTo>
                    <a:pt x="401" y="420"/>
                  </a:lnTo>
                  <a:lnTo>
                    <a:pt x="404" y="422"/>
                  </a:lnTo>
                  <a:lnTo>
                    <a:pt x="404" y="422"/>
                  </a:lnTo>
                  <a:lnTo>
                    <a:pt x="404" y="422"/>
                  </a:lnTo>
                  <a:lnTo>
                    <a:pt x="404" y="420"/>
                  </a:lnTo>
                  <a:lnTo>
                    <a:pt x="404" y="420"/>
                  </a:lnTo>
                  <a:lnTo>
                    <a:pt x="407" y="417"/>
                  </a:lnTo>
                  <a:lnTo>
                    <a:pt x="407" y="417"/>
                  </a:lnTo>
                  <a:lnTo>
                    <a:pt x="409" y="417"/>
                  </a:lnTo>
                  <a:lnTo>
                    <a:pt x="409" y="417"/>
                  </a:lnTo>
                  <a:lnTo>
                    <a:pt x="412" y="415"/>
                  </a:lnTo>
                  <a:lnTo>
                    <a:pt x="412" y="412"/>
                  </a:lnTo>
                  <a:lnTo>
                    <a:pt x="412" y="409"/>
                  </a:lnTo>
                  <a:lnTo>
                    <a:pt x="412" y="409"/>
                  </a:lnTo>
                  <a:lnTo>
                    <a:pt x="412" y="409"/>
                  </a:lnTo>
                  <a:lnTo>
                    <a:pt x="412" y="409"/>
                  </a:lnTo>
                  <a:lnTo>
                    <a:pt x="414" y="407"/>
                  </a:lnTo>
                  <a:lnTo>
                    <a:pt x="414" y="407"/>
                  </a:lnTo>
                  <a:lnTo>
                    <a:pt x="412" y="404"/>
                  </a:lnTo>
                  <a:lnTo>
                    <a:pt x="414" y="404"/>
                  </a:lnTo>
                  <a:lnTo>
                    <a:pt x="417" y="404"/>
                  </a:lnTo>
                  <a:lnTo>
                    <a:pt x="417" y="404"/>
                  </a:lnTo>
                  <a:lnTo>
                    <a:pt x="417" y="404"/>
                  </a:lnTo>
                  <a:lnTo>
                    <a:pt x="420" y="404"/>
                  </a:lnTo>
                  <a:lnTo>
                    <a:pt x="420" y="404"/>
                  </a:lnTo>
                  <a:lnTo>
                    <a:pt x="422" y="404"/>
                  </a:lnTo>
                  <a:lnTo>
                    <a:pt x="425" y="407"/>
                  </a:lnTo>
                  <a:lnTo>
                    <a:pt x="425" y="407"/>
                  </a:lnTo>
                  <a:lnTo>
                    <a:pt x="427" y="409"/>
                  </a:lnTo>
                  <a:lnTo>
                    <a:pt x="430" y="409"/>
                  </a:lnTo>
                  <a:lnTo>
                    <a:pt x="430" y="409"/>
                  </a:lnTo>
                  <a:lnTo>
                    <a:pt x="432" y="409"/>
                  </a:lnTo>
                  <a:lnTo>
                    <a:pt x="435" y="409"/>
                  </a:lnTo>
                  <a:lnTo>
                    <a:pt x="438" y="409"/>
                  </a:lnTo>
                  <a:lnTo>
                    <a:pt x="438" y="407"/>
                  </a:lnTo>
                  <a:lnTo>
                    <a:pt x="438" y="407"/>
                  </a:lnTo>
                  <a:lnTo>
                    <a:pt x="440" y="407"/>
                  </a:lnTo>
                  <a:lnTo>
                    <a:pt x="440" y="407"/>
                  </a:lnTo>
                  <a:lnTo>
                    <a:pt x="443" y="409"/>
                  </a:lnTo>
                  <a:lnTo>
                    <a:pt x="443" y="409"/>
                  </a:lnTo>
                  <a:lnTo>
                    <a:pt x="443" y="409"/>
                  </a:lnTo>
                  <a:lnTo>
                    <a:pt x="445" y="409"/>
                  </a:lnTo>
                  <a:lnTo>
                    <a:pt x="445" y="409"/>
                  </a:lnTo>
                  <a:lnTo>
                    <a:pt x="445" y="409"/>
                  </a:lnTo>
                  <a:lnTo>
                    <a:pt x="445" y="407"/>
                  </a:lnTo>
                  <a:lnTo>
                    <a:pt x="445" y="407"/>
                  </a:lnTo>
                  <a:lnTo>
                    <a:pt x="445" y="407"/>
                  </a:lnTo>
                  <a:lnTo>
                    <a:pt x="445" y="407"/>
                  </a:lnTo>
                  <a:lnTo>
                    <a:pt x="443" y="407"/>
                  </a:lnTo>
                  <a:lnTo>
                    <a:pt x="443" y="404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2"/>
                  </a:lnTo>
                  <a:lnTo>
                    <a:pt x="443" y="402"/>
                  </a:lnTo>
                  <a:lnTo>
                    <a:pt x="443" y="402"/>
                  </a:lnTo>
                  <a:lnTo>
                    <a:pt x="443" y="399"/>
                  </a:lnTo>
                  <a:lnTo>
                    <a:pt x="443" y="399"/>
                  </a:lnTo>
                  <a:lnTo>
                    <a:pt x="445" y="399"/>
                  </a:lnTo>
                  <a:lnTo>
                    <a:pt x="445" y="397"/>
                  </a:lnTo>
                  <a:lnTo>
                    <a:pt x="448" y="397"/>
                  </a:lnTo>
                  <a:lnTo>
                    <a:pt x="448" y="397"/>
                  </a:lnTo>
                  <a:lnTo>
                    <a:pt x="448" y="397"/>
                  </a:lnTo>
                  <a:lnTo>
                    <a:pt x="448" y="394"/>
                  </a:lnTo>
                  <a:lnTo>
                    <a:pt x="448" y="394"/>
                  </a:lnTo>
                  <a:lnTo>
                    <a:pt x="448" y="394"/>
                  </a:lnTo>
                  <a:lnTo>
                    <a:pt x="448" y="391"/>
                  </a:lnTo>
                  <a:lnTo>
                    <a:pt x="445" y="389"/>
                  </a:lnTo>
                  <a:lnTo>
                    <a:pt x="445" y="389"/>
                  </a:lnTo>
                  <a:lnTo>
                    <a:pt x="445" y="386"/>
                  </a:lnTo>
                  <a:lnTo>
                    <a:pt x="445" y="384"/>
                  </a:lnTo>
                  <a:lnTo>
                    <a:pt x="445" y="384"/>
                  </a:lnTo>
                  <a:lnTo>
                    <a:pt x="445" y="381"/>
                  </a:lnTo>
                  <a:lnTo>
                    <a:pt x="443" y="381"/>
                  </a:lnTo>
                  <a:lnTo>
                    <a:pt x="443" y="381"/>
                  </a:lnTo>
                  <a:lnTo>
                    <a:pt x="443" y="381"/>
                  </a:lnTo>
                  <a:lnTo>
                    <a:pt x="443" y="378"/>
                  </a:lnTo>
                  <a:lnTo>
                    <a:pt x="443" y="376"/>
                  </a:lnTo>
                  <a:lnTo>
                    <a:pt x="440" y="376"/>
                  </a:lnTo>
                  <a:lnTo>
                    <a:pt x="440" y="373"/>
                  </a:lnTo>
                  <a:lnTo>
                    <a:pt x="440" y="373"/>
                  </a:lnTo>
                  <a:lnTo>
                    <a:pt x="438" y="373"/>
                  </a:lnTo>
                  <a:lnTo>
                    <a:pt x="438" y="373"/>
                  </a:lnTo>
                  <a:lnTo>
                    <a:pt x="438" y="371"/>
                  </a:lnTo>
                  <a:lnTo>
                    <a:pt x="438" y="371"/>
                  </a:lnTo>
                  <a:lnTo>
                    <a:pt x="435" y="371"/>
                  </a:lnTo>
                  <a:lnTo>
                    <a:pt x="438" y="371"/>
                  </a:lnTo>
                  <a:lnTo>
                    <a:pt x="438" y="368"/>
                  </a:lnTo>
                  <a:lnTo>
                    <a:pt x="438" y="368"/>
                  </a:lnTo>
                  <a:lnTo>
                    <a:pt x="435" y="365"/>
                  </a:lnTo>
                  <a:lnTo>
                    <a:pt x="435" y="365"/>
                  </a:lnTo>
                  <a:lnTo>
                    <a:pt x="435" y="365"/>
                  </a:lnTo>
                  <a:lnTo>
                    <a:pt x="438" y="363"/>
                  </a:lnTo>
                  <a:lnTo>
                    <a:pt x="438" y="363"/>
                  </a:lnTo>
                  <a:lnTo>
                    <a:pt x="438" y="360"/>
                  </a:lnTo>
                  <a:lnTo>
                    <a:pt x="438" y="360"/>
                  </a:lnTo>
                  <a:lnTo>
                    <a:pt x="438" y="360"/>
                  </a:lnTo>
                  <a:lnTo>
                    <a:pt x="438" y="360"/>
                  </a:lnTo>
                  <a:lnTo>
                    <a:pt x="438" y="358"/>
                  </a:lnTo>
                  <a:lnTo>
                    <a:pt x="438" y="358"/>
                  </a:lnTo>
                  <a:lnTo>
                    <a:pt x="438" y="358"/>
                  </a:lnTo>
                  <a:lnTo>
                    <a:pt x="438" y="358"/>
                  </a:lnTo>
                  <a:lnTo>
                    <a:pt x="438" y="358"/>
                  </a:lnTo>
                  <a:lnTo>
                    <a:pt x="440" y="358"/>
                  </a:lnTo>
                  <a:lnTo>
                    <a:pt x="440" y="358"/>
                  </a:lnTo>
                  <a:lnTo>
                    <a:pt x="440" y="355"/>
                  </a:lnTo>
                  <a:lnTo>
                    <a:pt x="443" y="352"/>
                  </a:lnTo>
                  <a:lnTo>
                    <a:pt x="443" y="352"/>
                  </a:lnTo>
                  <a:lnTo>
                    <a:pt x="443" y="350"/>
                  </a:lnTo>
                  <a:lnTo>
                    <a:pt x="443" y="350"/>
                  </a:lnTo>
                  <a:lnTo>
                    <a:pt x="443" y="347"/>
                  </a:lnTo>
                  <a:lnTo>
                    <a:pt x="440" y="347"/>
                  </a:lnTo>
                  <a:lnTo>
                    <a:pt x="440" y="345"/>
                  </a:lnTo>
                  <a:lnTo>
                    <a:pt x="440" y="345"/>
                  </a:lnTo>
                  <a:lnTo>
                    <a:pt x="440" y="345"/>
                  </a:lnTo>
                  <a:lnTo>
                    <a:pt x="440" y="345"/>
                  </a:lnTo>
                  <a:lnTo>
                    <a:pt x="440" y="345"/>
                  </a:lnTo>
                  <a:lnTo>
                    <a:pt x="440" y="342"/>
                  </a:lnTo>
                  <a:lnTo>
                    <a:pt x="440" y="342"/>
                  </a:lnTo>
                  <a:lnTo>
                    <a:pt x="443" y="342"/>
                  </a:lnTo>
                  <a:lnTo>
                    <a:pt x="443" y="339"/>
                  </a:lnTo>
                  <a:lnTo>
                    <a:pt x="445" y="339"/>
                  </a:lnTo>
                  <a:lnTo>
                    <a:pt x="443" y="339"/>
                  </a:lnTo>
                  <a:lnTo>
                    <a:pt x="443" y="339"/>
                  </a:lnTo>
                  <a:lnTo>
                    <a:pt x="440" y="339"/>
                  </a:lnTo>
                  <a:lnTo>
                    <a:pt x="440" y="339"/>
                  </a:lnTo>
                  <a:lnTo>
                    <a:pt x="440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5" y="334"/>
                  </a:lnTo>
                  <a:lnTo>
                    <a:pt x="435" y="332"/>
                  </a:lnTo>
                  <a:lnTo>
                    <a:pt x="435" y="332"/>
                  </a:lnTo>
                  <a:lnTo>
                    <a:pt x="435" y="332"/>
                  </a:lnTo>
                  <a:lnTo>
                    <a:pt x="435" y="332"/>
                  </a:lnTo>
                  <a:lnTo>
                    <a:pt x="438" y="332"/>
                  </a:lnTo>
                  <a:lnTo>
                    <a:pt x="438" y="332"/>
                  </a:lnTo>
                  <a:lnTo>
                    <a:pt x="440" y="329"/>
                  </a:lnTo>
                  <a:lnTo>
                    <a:pt x="440" y="332"/>
                  </a:lnTo>
                  <a:lnTo>
                    <a:pt x="440" y="332"/>
                  </a:lnTo>
                  <a:lnTo>
                    <a:pt x="443" y="332"/>
                  </a:lnTo>
                  <a:lnTo>
                    <a:pt x="443" y="329"/>
                  </a:lnTo>
                  <a:lnTo>
                    <a:pt x="443" y="329"/>
                  </a:lnTo>
                  <a:lnTo>
                    <a:pt x="445" y="329"/>
                  </a:lnTo>
                  <a:lnTo>
                    <a:pt x="445" y="329"/>
                  </a:lnTo>
                  <a:lnTo>
                    <a:pt x="445" y="327"/>
                  </a:lnTo>
                  <a:lnTo>
                    <a:pt x="445" y="327"/>
                  </a:lnTo>
                  <a:lnTo>
                    <a:pt x="443" y="327"/>
                  </a:lnTo>
                  <a:lnTo>
                    <a:pt x="448" y="324"/>
                  </a:lnTo>
                  <a:lnTo>
                    <a:pt x="453" y="324"/>
                  </a:lnTo>
                  <a:lnTo>
                    <a:pt x="456" y="324"/>
                  </a:lnTo>
                  <a:lnTo>
                    <a:pt x="461" y="324"/>
                  </a:lnTo>
                  <a:lnTo>
                    <a:pt x="464" y="324"/>
                  </a:lnTo>
                  <a:lnTo>
                    <a:pt x="464" y="324"/>
                  </a:lnTo>
                  <a:lnTo>
                    <a:pt x="466" y="324"/>
                  </a:lnTo>
                  <a:lnTo>
                    <a:pt x="469" y="324"/>
                  </a:lnTo>
                  <a:lnTo>
                    <a:pt x="469" y="324"/>
                  </a:lnTo>
                  <a:lnTo>
                    <a:pt x="471" y="324"/>
                  </a:lnTo>
                  <a:lnTo>
                    <a:pt x="476" y="321"/>
                  </a:lnTo>
                  <a:lnTo>
                    <a:pt x="476" y="324"/>
                  </a:lnTo>
                  <a:lnTo>
                    <a:pt x="479" y="324"/>
                  </a:lnTo>
                  <a:lnTo>
                    <a:pt x="479" y="321"/>
                  </a:lnTo>
                  <a:lnTo>
                    <a:pt x="479" y="321"/>
                  </a:lnTo>
                  <a:lnTo>
                    <a:pt x="479" y="319"/>
                  </a:lnTo>
                  <a:lnTo>
                    <a:pt x="479" y="319"/>
                  </a:lnTo>
                  <a:lnTo>
                    <a:pt x="479" y="319"/>
                  </a:lnTo>
                  <a:lnTo>
                    <a:pt x="479" y="316"/>
                  </a:lnTo>
                  <a:lnTo>
                    <a:pt x="479" y="316"/>
                  </a:lnTo>
                  <a:lnTo>
                    <a:pt x="476" y="316"/>
                  </a:lnTo>
                  <a:lnTo>
                    <a:pt x="476" y="316"/>
                  </a:lnTo>
                  <a:lnTo>
                    <a:pt x="476" y="316"/>
                  </a:lnTo>
                  <a:lnTo>
                    <a:pt x="479" y="314"/>
                  </a:lnTo>
                  <a:lnTo>
                    <a:pt x="484" y="311"/>
                  </a:lnTo>
                  <a:lnTo>
                    <a:pt x="487" y="311"/>
                  </a:lnTo>
                  <a:lnTo>
                    <a:pt x="487" y="311"/>
                  </a:lnTo>
                  <a:lnTo>
                    <a:pt x="487" y="311"/>
                  </a:lnTo>
                  <a:lnTo>
                    <a:pt x="487" y="308"/>
                  </a:lnTo>
                  <a:lnTo>
                    <a:pt x="487" y="308"/>
                  </a:lnTo>
                  <a:lnTo>
                    <a:pt x="489" y="306"/>
                  </a:lnTo>
                  <a:lnTo>
                    <a:pt x="489" y="306"/>
                  </a:lnTo>
                  <a:lnTo>
                    <a:pt x="489" y="306"/>
                  </a:lnTo>
                  <a:lnTo>
                    <a:pt x="489" y="303"/>
                  </a:lnTo>
                  <a:lnTo>
                    <a:pt x="489" y="303"/>
                  </a:lnTo>
                  <a:lnTo>
                    <a:pt x="489" y="303"/>
                  </a:lnTo>
                  <a:lnTo>
                    <a:pt x="487" y="303"/>
                  </a:lnTo>
                  <a:lnTo>
                    <a:pt x="487" y="301"/>
                  </a:lnTo>
                  <a:lnTo>
                    <a:pt x="484" y="301"/>
                  </a:lnTo>
                  <a:lnTo>
                    <a:pt x="484" y="298"/>
                  </a:lnTo>
                  <a:lnTo>
                    <a:pt x="484" y="298"/>
                  </a:lnTo>
                  <a:lnTo>
                    <a:pt x="484" y="298"/>
                  </a:lnTo>
                  <a:lnTo>
                    <a:pt x="484" y="298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89" y="295"/>
                  </a:lnTo>
                  <a:lnTo>
                    <a:pt x="492" y="295"/>
                  </a:lnTo>
                  <a:lnTo>
                    <a:pt x="492" y="293"/>
                  </a:lnTo>
                  <a:lnTo>
                    <a:pt x="492" y="290"/>
                  </a:lnTo>
                  <a:lnTo>
                    <a:pt x="492" y="290"/>
                  </a:lnTo>
                  <a:lnTo>
                    <a:pt x="489" y="290"/>
                  </a:lnTo>
                  <a:lnTo>
                    <a:pt x="489" y="288"/>
                  </a:lnTo>
                  <a:lnTo>
                    <a:pt x="489" y="288"/>
                  </a:lnTo>
                  <a:lnTo>
                    <a:pt x="489" y="285"/>
                  </a:lnTo>
                  <a:lnTo>
                    <a:pt x="489" y="285"/>
                  </a:lnTo>
                  <a:lnTo>
                    <a:pt x="487" y="285"/>
                  </a:lnTo>
                  <a:lnTo>
                    <a:pt x="487" y="285"/>
                  </a:lnTo>
                  <a:lnTo>
                    <a:pt x="487" y="285"/>
                  </a:lnTo>
                  <a:lnTo>
                    <a:pt x="487" y="285"/>
                  </a:lnTo>
                  <a:lnTo>
                    <a:pt x="484" y="285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484" y="280"/>
                  </a:lnTo>
                  <a:lnTo>
                    <a:pt x="487" y="280"/>
                  </a:lnTo>
                  <a:lnTo>
                    <a:pt x="487" y="280"/>
                  </a:lnTo>
                  <a:lnTo>
                    <a:pt x="487" y="280"/>
                  </a:lnTo>
                  <a:lnTo>
                    <a:pt x="487" y="280"/>
                  </a:lnTo>
                  <a:lnTo>
                    <a:pt x="487" y="280"/>
                  </a:lnTo>
                  <a:lnTo>
                    <a:pt x="487" y="277"/>
                  </a:lnTo>
                  <a:lnTo>
                    <a:pt x="484" y="277"/>
                  </a:lnTo>
                  <a:lnTo>
                    <a:pt x="482" y="275"/>
                  </a:lnTo>
                  <a:lnTo>
                    <a:pt x="482" y="275"/>
                  </a:lnTo>
                  <a:lnTo>
                    <a:pt x="484" y="275"/>
                  </a:lnTo>
                  <a:lnTo>
                    <a:pt x="484" y="275"/>
                  </a:lnTo>
                  <a:lnTo>
                    <a:pt x="482" y="275"/>
                  </a:lnTo>
                  <a:lnTo>
                    <a:pt x="482" y="275"/>
                  </a:lnTo>
                  <a:lnTo>
                    <a:pt x="482" y="272"/>
                  </a:lnTo>
                  <a:lnTo>
                    <a:pt x="482" y="272"/>
                  </a:lnTo>
                  <a:lnTo>
                    <a:pt x="484" y="272"/>
                  </a:lnTo>
                  <a:lnTo>
                    <a:pt x="487" y="272"/>
                  </a:lnTo>
                  <a:lnTo>
                    <a:pt x="489" y="272"/>
                  </a:lnTo>
                  <a:lnTo>
                    <a:pt x="489" y="272"/>
                  </a:lnTo>
                  <a:lnTo>
                    <a:pt x="489" y="269"/>
                  </a:lnTo>
                  <a:lnTo>
                    <a:pt x="492" y="269"/>
                  </a:lnTo>
                  <a:lnTo>
                    <a:pt x="492" y="269"/>
                  </a:lnTo>
                  <a:lnTo>
                    <a:pt x="492" y="269"/>
                  </a:lnTo>
                  <a:lnTo>
                    <a:pt x="492" y="269"/>
                  </a:lnTo>
                  <a:lnTo>
                    <a:pt x="492" y="269"/>
                  </a:lnTo>
                  <a:lnTo>
                    <a:pt x="492" y="267"/>
                  </a:lnTo>
                  <a:lnTo>
                    <a:pt x="492" y="267"/>
                  </a:lnTo>
                  <a:lnTo>
                    <a:pt x="492" y="267"/>
                  </a:lnTo>
                  <a:lnTo>
                    <a:pt x="489" y="267"/>
                  </a:lnTo>
                  <a:lnTo>
                    <a:pt x="489" y="267"/>
                  </a:lnTo>
                  <a:lnTo>
                    <a:pt x="489" y="267"/>
                  </a:lnTo>
                  <a:lnTo>
                    <a:pt x="489" y="267"/>
                  </a:lnTo>
                  <a:lnTo>
                    <a:pt x="487" y="264"/>
                  </a:lnTo>
                  <a:lnTo>
                    <a:pt x="487" y="264"/>
                  </a:lnTo>
                  <a:lnTo>
                    <a:pt x="487" y="264"/>
                  </a:lnTo>
                  <a:lnTo>
                    <a:pt x="484" y="264"/>
                  </a:lnTo>
                  <a:lnTo>
                    <a:pt x="484" y="264"/>
                  </a:lnTo>
                  <a:lnTo>
                    <a:pt x="484" y="264"/>
                  </a:lnTo>
                  <a:lnTo>
                    <a:pt x="484" y="262"/>
                  </a:lnTo>
                  <a:lnTo>
                    <a:pt x="484" y="262"/>
                  </a:lnTo>
                  <a:lnTo>
                    <a:pt x="482" y="262"/>
                  </a:lnTo>
                  <a:lnTo>
                    <a:pt x="479" y="257"/>
                  </a:lnTo>
                  <a:lnTo>
                    <a:pt x="476" y="257"/>
                  </a:lnTo>
                  <a:lnTo>
                    <a:pt x="476" y="254"/>
                  </a:lnTo>
                  <a:lnTo>
                    <a:pt x="476" y="251"/>
                  </a:lnTo>
                  <a:lnTo>
                    <a:pt x="476" y="249"/>
                  </a:lnTo>
                  <a:lnTo>
                    <a:pt x="476" y="249"/>
                  </a:lnTo>
                  <a:lnTo>
                    <a:pt x="476" y="249"/>
                  </a:lnTo>
                  <a:lnTo>
                    <a:pt x="476" y="246"/>
                  </a:lnTo>
                  <a:lnTo>
                    <a:pt x="479" y="246"/>
                  </a:lnTo>
                  <a:lnTo>
                    <a:pt x="479" y="246"/>
                  </a:lnTo>
                  <a:lnTo>
                    <a:pt x="482" y="246"/>
                  </a:lnTo>
                  <a:lnTo>
                    <a:pt x="482" y="246"/>
                  </a:lnTo>
                  <a:lnTo>
                    <a:pt x="484" y="246"/>
                  </a:lnTo>
                  <a:lnTo>
                    <a:pt x="482" y="244"/>
                  </a:lnTo>
                  <a:lnTo>
                    <a:pt x="479" y="241"/>
                  </a:lnTo>
                  <a:lnTo>
                    <a:pt x="476" y="236"/>
                  </a:lnTo>
                  <a:lnTo>
                    <a:pt x="476" y="233"/>
                  </a:lnTo>
                  <a:lnTo>
                    <a:pt x="476" y="233"/>
                  </a:lnTo>
                  <a:lnTo>
                    <a:pt x="476" y="233"/>
                  </a:lnTo>
                  <a:lnTo>
                    <a:pt x="476" y="231"/>
                  </a:lnTo>
                  <a:lnTo>
                    <a:pt x="476" y="231"/>
                  </a:lnTo>
                  <a:lnTo>
                    <a:pt x="476" y="231"/>
                  </a:lnTo>
                  <a:lnTo>
                    <a:pt x="476" y="231"/>
                  </a:lnTo>
                  <a:lnTo>
                    <a:pt x="476" y="231"/>
                  </a:lnTo>
                  <a:lnTo>
                    <a:pt x="476" y="228"/>
                  </a:lnTo>
                  <a:lnTo>
                    <a:pt x="479" y="228"/>
                  </a:lnTo>
                  <a:lnTo>
                    <a:pt x="482" y="225"/>
                  </a:lnTo>
                  <a:lnTo>
                    <a:pt x="482" y="225"/>
                  </a:lnTo>
                  <a:lnTo>
                    <a:pt x="479" y="223"/>
                  </a:lnTo>
                  <a:lnTo>
                    <a:pt x="479" y="223"/>
                  </a:lnTo>
                  <a:lnTo>
                    <a:pt x="479" y="223"/>
                  </a:lnTo>
                  <a:lnTo>
                    <a:pt x="476" y="223"/>
                  </a:lnTo>
                  <a:lnTo>
                    <a:pt x="476" y="225"/>
                  </a:lnTo>
                  <a:lnTo>
                    <a:pt x="474" y="225"/>
                  </a:lnTo>
                  <a:lnTo>
                    <a:pt x="474" y="225"/>
                  </a:lnTo>
                  <a:lnTo>
                    <a:pt x="474" y="225"/>
                  </a:lnTo>
                  <a:lnTo>
                    <a:pt x="474" y="223"/>
                  </a:lnTo>
                  <a:lnTo>
                    <a:pt x="471" y="223"/>
                  </a:lnTo>
                  <a:lnTo>
                    <a:pt x="471" y="220"/>
                  </a:lnTo>
                  <a:lnTo>
                    <a:pt x="471" y="220"/>
                  </a:lnTo>
                  <a:lnTo>
                    <a:pt x="469" y="218"/>
                  </a:lnTo>
                  <a:lnTo>
                    <a:pt x="469" y="218"/>
                  </a:lnTo>
                  <a:lnTo>
                    <a:pt x="469" y="215"/>
                  </a:lnTo>
                  <a:lnTo>
                    <a:pt x="466" y="215"/>
                  </a:lnTo>
                  <a:lnTo>
                    <a:pt x="466" y="212"/>
                  </a:lnTo>
                  <a:lnTo>
                    <a:pt x="464" y="210"/>
                  </a:lnTo>
                  <a:lnTo>
                    <a:pt x="464" y="210"/>
                  </a:lnTo>
                  <a:lnTo>
                    <a:pt x="464" y="210"/>
                  </a:lnTo>
                  <a:lnTo>
                    <a:pt x="464" y="207"/>
                  </a:lnTo>
                  <a:lnTo>
                    <a:pt x="464" y="207"/>
                  </a:lnTo>
                  <a:lnTo>
                    <a:pt x="461" y="207"/>
                  </a:lnTo>
                  <a:lnTo>
                    <a:pt x="461" y="207"/>
                  </a:lnTo>
                  <a:lnTo>
                    <a:pt x="461" y="207"/>
                  </a:lnTo>
                  <a:lnTo>
                    <a:pt x="458" y="207"/>
                  </a:lnTo>
                  <a:lnTo>
                    <a:pt x="458" y="205"/>
                  </a:lnTo>
                  <a:lnTo>
                    <a:pt x="458" y="205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8" y="202"/>
                  </a:lnTo>
                  <a:lnTo>
                    <a:pt x="458" y="199"/>
                  </a:lnTo>
                  <a:lnTo>
                    <a:pt x="456" y="199"/>
                  </a:lnTo>
                  <a:lnTo>
                    <a:pt x="456" y="197"/>
                  </a:lnTo>
                  <a:lnTo>
                    <a:pt x="456" y="197"/>
                  </a:lnTo>
                  <a:lnTo>
                    <a:pt x="456" y="194"/>
                  </a:lnTo>
                  <a:lnTo>
                    <a:pt x="456" y="192"/>
                  </a:lnTo>
                  <a:lnTo>
                    <a:pt x="456" y="192"/>
                  </a:lnTo>
                  <a:lnTo>
                    <a:pt x="456" y="189"/>
                  </a:lnTo>
                  <a:lnTo>
                    <a:pt x="456" y="189"/>
                  </a:lnTo>
                  <a:lnTo>
                    <a:pt x="456" y="189"/>
                  </a:lnTo>
                  <a:lnTo>
                    <a:pt x="456" y="187"/>
                  </a:lnTo>
                  <a:lnTo>
                    <a:pt x="456" y="187"/>
                  </a:lnTo>
                  <a:lnTo>
                    <a:pt x="456" y="187"/>
                  </a:lnTo>
                  <a:lnTo>
                    <a:pt x="456" y="187"/>
                  </a:lnTo>
                  <a:lnTo>
                    <a:pt x="458" y="187"/>
                  </a:lnTo>
                  <a:lnTo>
                    <a:pt x="456" y="187"/>
                  </a:lnTo>
                  <a:lnTo>
                    <a:pt x="456" y="187"/>
                  </a:lnTo>
                  <a:lnTo>
                    <a:pt x="456" y="184"/>
                  </a:lnTo>
                  <a:lnTo>
                    <a:pt x="458" y="184"/>
                  </a:lnTo>
                  <a:lnTo>
                    <a:pt x="461" y="184"/>
                  </a:lnTo>
                  <a:lnTo>
                    <a:pt x="461" y="184"/>
                  </a:lnTo>
                  <a:lnTo>
                    <a:pt x="464" y="184"/>
                  </a:lnTo>
                  <a:lnTo>
                    <a:pt x="464" y="184"/>
                  </a:lnTo>
                  <a:lnTo>
                    <a:pt x="466" y="184"/>
                  </a:lnTo>
                  <a:lnTo>
                    <a:pt x="466" y="184"/>
                  </a:lnTo>
                  <a:lnTo>
                    <a:pt x="466" y="184"/>
                  </a:lnTo>
                  <a:lnTo>
                    <a:pt x="469" y="184"/>
                  </a:lnTo>
                  <a:lnTo>
                    <a:pt x="469" y="184"/>
                  </a:lnTo>
                  <a:lnTo>
                    <a:pt x="469" y="184"/>
                  </a:lnTo>
                  <a:lnTo>
                    <a:pt x="471" y="184"/>
                  </a:lnTo>
                  <a:lnTo>
                    <a:pt x="471" y="181"/>
                  </a:lnTo>
                  <a:lnTo>
                    <a:pt x="471" y="181"/>
                  </a:lnTo>
                  <a:lnTo>
                    <a:pt x="474" y="184"/>
                  </a:lnTo>
                  <a:lnTo>
                    <a:pt x="474" y="184"/>
                  </a:lnTo>
                  <a:lnTo>
                    <a:pt x="476" y="184"/>
                  </a:lnTo>
                  <a:lnTo>
                    <a:pt x="476" y="184"/>
                  </a:lnTo>
                  <a:lnTo>
                    <a:pt x="479" y="181"/>
                  </a:lnTo>
                  <a:lnTo>
                    <a:pt x="479" y="181"/>
                  </a:lnTo>
                  <a:lnTo>
                    <a:pt x="479" y="179"/>
                  </a:lnTo>
                  <a:lnTo>
                    <a:pt x="479" y="179"/>
                  </a:lnTo>
                  <a:lnTo>
                    <a:pt x="479" y="179"/>
                  </a:lnTo>
                  <a:lnTo>
                    <a:pt x="482" y="179"/>
                  </a:lnTo>
                  <a:lnTo>
                    <a:pt x="482" y="179"/>
                  </a:lnTo>
                  <a:lnTo>
                    <a:pt x="482" y="179"/>
                  </a:lnTo>
                  <a:lnTo>
                    <a:pt x="482" y="176"/>
                  </a:lnTo>
                  <a:lnTo>
                    <a:pt x="482" y="174"/>
                  </a:lnTo>
                  <a:lnTo>
                    <a:pt x="482" y="174"/>
                  </a:lnTo>
                  <a:lnTo>
                    <a:pt x="484" y="174"/>
                  </a:lnTo>
                  <a:lnTo>
                    <a:pt x="489" y="174"/>
                  </a:lnTo>
                  <a:lnTo>
                    <a:pt x="492" y="174"/>
                  </a:lnTo>
                  <a:lnTo>
                    <a:pt x="495" y="174"/>
                  </a:lnTo>
                  <a:lnTo>
                    <a:pt x="495" y="174"/>
                  </a:lnTo>
                  <a:lnTo>
                    <a:pt x="495" y="176"/>
                  </a:lnTo>
                  <a:lnTo>
                    <a:pt x="495" y="176"/>
                  </a:lnTo>
                  <a:lnTo>
                    <a:pt x="495" y="176"/>
                  </a:lnTo>
                  <a:lnTo>
                    <a:pt x="497" y="176"/>
                  </a:lnTo>
                  <a:lnTo>
                    <a:pt x="500" y="176"/>
                  </a:lnTo>
                  <a:lnTo>
                    <a:pt x="500" y="174"/>
                  </a:lnTo>
                  <a:lnTo>
                    <a:pt x="508" y="174"/>
                  </a:lnTo>
                  <a:lnTo>
                    <a:pt x="508" y="176"/>
                  </a:lnTo>
                  <a:lnTo>
                    <a:pt x="510" y="179"/>
                  </a:lnTo>
                  <a:lnTo>
                    <a:pt x="510" y="179"/>
                  </a:lnTo>
                  <a:lnTo>
                    <a:pt x="513" y="179"/>
                  </a:lnTo>
                  <a:lnTo>
                    <a:pt x="513" y="179"/>
                  </a:lnTo>
                  <a:lnTo>
                    <a:pt x="513" y="176"/>
                  </a:lnTo>
                  <a:lnTo>
                    <a:pt x="515" y="176"/>
                  </a:lnTo>
                  <a:lnTo>
                    <a:pt x="515" y="176"/>
                  </a:lnTo>
                  <a:lnTo>
                    <a:pt x="515" y="179"/>
                  </a:lnTo>
                  <a:lnTo>
                    <a:pt x="515" y="179"/>
                  </a:lnTo>
                  <a:lnTo>
                    <a:pt x="518" y="179"/>
                  </a:lnTo>
                  <a:lnTo>
                    <a:pt x="518" y="179"/>
                  </a:lnTo>
                  <a:lnTo>
                    <a:pt x="520" y="176"/>
                  </a:lnTo>
                  <a:lnTo>
                    <a:pt x="523" y="176"/>
                  </a:lnTo>
                  <a:lnTo>
                    <a:pt x="526" y="176"/>
                  </a:lnTo>
                  <a:lnTo>
                    <a:pt x="526" y="174"/>
                  </a:lnTo>
                  <a:lnTo>
                    <a:pt x="526" y="174"/>
                  </a:lnTo>
                  <a:lnTo>
                    <a:pt x="528" y="174"/>
                  </a:lnTo>
                  <a:lnTo>
                    <a:pt x="531" y="171"/>
                  </a:lnTo>
                  <a:lnTo>
                    <a:pt x="533" y="171"/>
                  </a:lnTo>
                  <a:lnTo>
                    <a:pt x="533" y="168"/>
                  </a:lnTo>
                  <a:lnTo>
                    <a:pt x="536" y="168"/>
                  </a:lnTo>
                  <a:lnTo>
                    <a:pt x="539" y="168"/>
                  </a:lnTo>
                  <a:lnTo>
                    <a:pt x="539" y="166"/>
                  </a:lnTo>
                  <a:lnTo>
                    <a:pt x="539" y="166"/>
                  </a:lnTo>
                  <a:lnTo>
                    <a:pt x="539" y="163"/>
                  </a:lnTo>
                  <a:lnTo>
                    <a:pt x="539" y="161"/>
                  </a:lnTo>
                  <a:lnTo>
                    <a:pt x="541" y="155"/>
                  </a:lnTo>
                  <a:lnTo>
                    <a:pt x="541" y="155"/>
                  </a:lnTo>
                  <a:lnTo>
                    <a:pt x="541" y="155"/>
                  </a:lnTo>
                  <a:lnTo>
                    <a:pt x="541" y="155"/>
                  </a:lnTo>
                  <a:lnTo>
                    <a:pt x="544" y="158"/>
                  </a:lnTo>
                  <a:lnTo>
                    <a:pt x="546" y="158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6" y="153"/>
                  </a:lnTo>
                  <a:lnTo>
                    <a:pt x="549" y="153"/>
                  </a:lnTo>
                  <a:lnTo>
                    <a:pt x="549" y="150"/>
                  </a:lnTo>
                  <a:lnTo>
                    <a:pt x="549" y="15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2" name="Freeform 92"/>
            <p:cNvSpPr>
              <a:spLocks/>
            </p:cNvSpPr>
            <p:nvPr/>
          </p:nvSpPr>
          <p:spPr bwMode="auto">
            <a:xfrm>
              <a:off x="842" y="2592"/>
              <a:ext cx="18" cy="10"/>
            </a:xfrm>
            <a:custGeom>
              <a:avLst/>
              <a:gdLst>
                <a:gd name="T0" fmla="*/ 10 w 18"/>
                <a:gd name="T1" fmla="*/ 10 h 10"/>
                <a:gd name="T2" fmla="*/ 10 w 18"/>
                <a:gd name="T3" fmla="*/ 10 h 10"/>
                <a:gd name="T4" fmla="*/ 10 w 18"/>
                <a:gd name="T5" fmla="*/ 10 h 10"/>
                <a:gd name="T6" fmla="*/ 10 w 18"/>
                <a:gd name="T7" fmla="*/ 10 h 10"/>
                <a:gd name="T8" fmla="*/ 10 w 18"/>
                <a:gd name="T9" fmla="*/ 10 h 10"/>
                <a:gd name="T10" fmla="*/ 10 w 18"/>
                <a:gd name="T11" fmla="*/ 10 h 10"/>
                <a:gd name="T12" fmla="*/ 10 w 18"/>
                <a:gd name="T13" fmla="*/ 10 h 10"/>
                <a:gd name="T14" fmla="*/ 10 w 18"/>
                <a:gd name="T15" fmla="*/ 8 h 10"/>
                <a:gd name="T16" fmla="*/ 7 w 18"/>
                <a:gd name="T17" fmla="*/ 8 h 10"/>
                <a:gd name="T18" fmla="*/ 7 w 18"/>
                <a:gd name="T19" fmla="*/ 5 h 10"/>
                <a:gd name="T20" fmla="*/ 7 w 18"/>
                <a:gd name="T21" fmla="*/ 5 h 10"/>
                <a:gd name="T22" fmla="*/ 10 w 18"/>
                <a:gd name="T23" fmla="*/ 5 h 10"/>
                <a:gd name="T24" fmla="*/ 15 w 18"/>
                <a:gd name="T25" fmla="*/ 3 h 10"/>
                <a:gd name="T26" fmla="*/ 18 w 18"/>
                <a:gd name="T27" fmla="*/ 3 h 10"/>
                <a:gd name="T28" fmla="*/ 15 w 18"/>
                <a:gd name="T29" fmla="*/ 0 h 10"/>
                <a:gd name="T30" fmla="*/ 13 w 18"/>
                <a:gd name="T31" fmla="*/ 0 h 10"/>
                <a:gd name="T32" fmla="*/ 10 w 18"/>
                <a:gd name="T33" fmla="*/ 0 h 10"/>
                <a:gd name="T34" fmla="*/ 7 w 18"/>
                <a:gd name="T35" fmla="*/ 0 h 10"/>
                <a:gd name="T36" fmla="*/ 5 w 18"/>
                <a:gd name="T37" fmla="*/ 3 h 10"/>
                <a:gd name="T38" fmla="*/ 5 w 18"/>
                <a:gd name="T39" fmla="*/ 3 h 10"/>
                <a:gd name="T40" fmla="*/ 2 w 18"/>
                <a:gd name="T41" fmla="*/ 3 h 10"/>
                <a:gd name="T42" fmla="*/ 0 w 18"/>
                <a:gd name="T43" fmla="*/ 3 h 10"/>
                <a:gd name="T44" fmla="*/ 0 w 18"/>
                <a:gd name="T45" fmla="*/ 5 h 10"/>
                <a:gd name="T46" fmla="*/ 2 w 18"/>
                <a:gd name="T47" fmla="*/ 8 h 10"/>
                <a:gd name="T48" fmla="*/ 5 w 18"/>
                <a:gd name="T49" fmla="*/ 10 h 10"/>
                <a:gd name="T50" fmla="*/ 7 w 18"/>
                <a:gd name="T51" fmla="*/ 10 h 10"/>
                <a:gd name="T52" fmla="*/ 7 w 18"/>
                <a:gd name="T53" fmla="*/ 10 h 10"/>
                <a:gd name="T54" fmla="*/ 7 w 18"/>
                <a:gd name="T55" fmla="*/ 8 h 10"/>
                <a:gd name="T56" fmla="*/ 7 w 18"/>
                <a:gd name="T57" fmla="*/ 8 h 10"/>
                <a:gd name="T58" fmla="*/ 7 w 18"/>
                <a:gd name="T59" fmla="*/ 8 h 10"/>
                <a:gd name="T60" fmla="*/ 10 w 18"/>
                <a:gd name="T61" fmla="*/ 10 h 10"/>
                <a:gd name="T62" fmla="*/ 10 w 18"/>
                <a:gd name="T63" fmla="*/ 10 h 10"/>
                <a:gd name="T64" fmla="*/ 10 w 18"/>
                <a:gd name="T65" fmla="*/ 10 h 10"/>
                <a:gd name="T66" fmla="*/ 10 w 18"/>
                <a:gd name="T6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" h="1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7" y="8"/>
                  </a:lnTo>
                  <a:lnTo>
                    <a:pt x="7" y="5"/>
                  </a:lnTo>
                  <a:lnTo>
                    <a:pt x="7" y="5"/>
                  </a:lnTo>
                  <a:lnTo>
                    <a:pt x="10" y="5"/>
                  </a:lnTo>
                  <a:lnTo>
                    <a:pt x="15" y="3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3" name="Freeform 93"/>
            <p:cNvSpPr>
              <a:spLocks/>
            </p:cNvSpPr>
            <p:nvPr/>
          </p:nvSpPr>
          <p:spPr bwMode="auto">
            <a:xfrm>
              <a:off x="896" y="2574"/>
              <a:ext cx="23" cy="5"/>
            </a:xfrm>
            <a:custGeom>
              <a:avLst/>
              <a:gdLst>
                <a:gd name="T0" fmla="*/ 3 w 23"/>
                <a:gd name="T1" fmla="*/ 3 h 5"/>
                <a:gd name="T2" fmla="*/ 5 w 23"/>
                <a:gd name="T3" fmla="*/ 3 h 5"/>
                <a:gd name="T4" fmla="*/ 5 w 23"/>
                <a:gd name="T5" fmla="*/ 3 h 5"/>
                <a:gd name="T6" fmla="*/ 8 w 23"/>
                <a:gd name="T7" fmla="*/ 3 h 5"/>
                <a:gd name="T8" fmla="*/ 8 w 23"/>
                <a:gd name="T9" fmla="*/ 3 h 5"/>
                <a:gd name="T10" fmla="*/ 15 w 23"/>
                <a:gd name="T11" fmla="*/ 3 h 5"/>
                <a:gd name="T12" fmla="*/ 15 w 23"/>
                <a:gd name="T13" fmla="*/ 3 h 5"/>
                <a:gd name="T14" fmla="*/ 15 w 23"/>
                <a:gd name="T15" fmla="*/ 3 h 5"/>
                <a:gd name="T16" fmla="*/ 15 w 23"/>
                <a:gd name="T17" fmla="*/ 3 h 5"/>
                <a:gd name="T18" fmla="*/ 18 w 23"/>
                <a:gd name="T19" fmla="*/ 3 h 5"/>
                <a:gd name="T20" fmla="*/ 18 w 23"/>
                <a:gd name="T21" fmla="*/ 3 h 5"/>
                <a:gd name="T22" fmla="*/ 21 w 23"/>
                <a:gd name="T23" fmla="*/ 3 h 5"/>
                <a:gd name="T24" fmla="*/ 23 w 23"/>
                <a:gd name="T25" fmla="*/ 0 h 5"/>
                <a:gd name="T26" fmla="*/ 23 w 23"/>
                <a:gd name="T27" fmla="*/ 0 h 5"/>
                <a:gd name="T28" fmla="*/ 21 w 23"/>
                <a:gd name="T29" fmla="*/ 0 h 5"/>
                <a:gd name="T30" fmla="*/ 18 w 23"/>
                <a:gd name="T31" fmla="*/ 0 h 5"/>
                <a:gd name="T32" fmla="*/ 13 w 23"/>
                <a:gd name="T33" fmla="*/ 0 h 5"/>
                <a:gd name="T34" fmla="*/ 10 w 23"/>
                <a:gd name="T35" fmla="*/ 0 h 5"/>
                <a:gd name="T36" fmla="*/ 10 w 23"/>
                <a:gd name="T37" fmla="*/ 0 h 5"/>
                <a:gd name="T38" fmla="*/ 8 w 23"/>
                <a:gd name="T39" fmla="*/ 0 h 5"/>
                <a:gd name="T40" fmla="*/ 5 w 23"/>
                <a:gd name="T41" fmla="*/ 0 h 5"/>
                <a:gd name="T42" fmla="*/ 3 w 23"/>
                <a:gd name="T43" fmla="*/ 0 h 5"/>
                <a:gd name="T44" fmla="*/ 0 w 23"/>
                <a:gd name="T45" fmla="*/ 3 h 5"/>
                <a:gd name="T46" fmla="*/ 0 w 23"/>
                <a:gd name="T47" fmla="*/ 3 h 5"/>
                <a:gd name="T48" fmla="*/ 3 w 23"/>
                <a:gd name="T49" fmla="*/ 5 h 5"/>
                <a:gd name="T50" fmla="*/ 3 w 23"/>
                <a:gd name="T51" fmla="*/ 5 h 5"/>
                <a:gd name="T52" fmla="*/ 3 w 23"/>
                <a:gd name="T53" fmla="*/ 3 h 5"/>
                <a:gd name="T54" fmla="*/ 3 w 23"/>
                <a:gd name="T5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" h="5">
                  <a:moveTo>
                    <a:pt x="3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4" name="Freeform 94"/>
            <p:cNvSpPr>
              <a:spLocks/>
            </p:cNvSpPr>
            <p:nvPr/>
          </p:nvSpPr>
          <p:spPr bwMode="auto">
            <a:xfrm>
              <a:off x="932" y="2566"/>
              <a:ext cx="18" cy="8"/>
            </a:xfrm>
            <a:custGeom>
              <a:avLst/>
              <a:gdLst>
                <a:gd name="T0" fmla="*/ 3 w 18"/>
                <a:gd name="T1" fmla="*/ 8 h 8"/>
                <a:gd name="T2" fmla="*/ 3 w 18"/>
                <a:gd name="T3" fmla="*/ 8 h 8"/>
                <a:gd name="T4" fmla="*/ 3 w 18"/>
                <a:gd name="T5" fmla="*/ 8 h 8"/>
                <a:gd name="T6" fmla="*/ 5 w 18"/>
                <a:gd name="T7" fmla="*/ 8 h 8"/>
                <a:gd name="T8" fmla="*/ 5 w 18"/>
                <a:gd name="T9" fmla="*/ 8 h 8"/>
                <a:gd name="T10" fmla="*/ 5 w 18"/>
                <a:gd name="T11" fmla="*/ 8 h 8"/>
                <a:gd name="T12" fmla="*/ 5 w 18"/>
                <a:gd name="T13" fmla="*/ 5 h 8"/>
                <a:gd name="T14" fmla="*/ 5 w 18"/>
                <a:gd name="T15" fmla="*/ 5 h 8"/>
                <a:gd name="T16" fmla="*/ 8 w 18"/>
                <a:gd name="T17" fmla="*/ 5 h 8"/>
                <a:gd name="T18" fmla="*/ 11 w 18"/>
                <a:gd name="T19" fmla="*/ 5 h 8"/>
                <a:gd name="T20" fmla="*/ 11 w 18"/>
                <a:gd name="T21" fmla="*/ 3 h 8"/>
                <a:gd name="T22" fmla="*/ 13 w 18"/>
                <a:gd name="T23" fmla="*/ 3 h 8"/>
                <a:gd name="T24" fmla="*/ 16 w 18"/>
                <a:gd name="T25" fmla="*/ 3 h 8"/>
                <a:gd name="T26" fmla="*/ 16 w 18"/>
                <a:gd name="T27" fmla="*/ 3 h 8"/>
                <a:gd name="T28" fmla="*/ 18 w 18"/>
                <a:gd name="T29" fmla="*/ 3 h 8"/>
                <a:gd name="T30" fmla="*/ 18 w 18"/>
                <a:gd name="T31" fmla="*/ 3 h 8"/>
                <a:gd name="T32" fmla="*/ 18 w 18"/>
                <a:gd name="T33" fmla="*/ 3 h 8"/>
                <a:gd name="T34" fmla="*/ 16 w 18"/>
                <a:gd name="T35" fmla="*/ 3 h 8"/>
                <a:gd name="T36" fmla="*/ 16 w 18"/>
                <a:gd name="T37" fmla="*/ 3 h 8"/>
                <a:gd name="T38" fmla="*/ 13 w 18"/>
                <a:gd name="T39" fmla="*/ 3 h 8"/>
                <a:gd name="T40" fmla="*/ 11 w 18"/>
                <a:gd name="T41" fmla="*/ 0 h 8"/>
                <a:gd name="T42" fmla="*/ 8 w 18"/>
                <a:gd name="T43" fmla="*/ 0 h 8"/>
                <a:gd name="T44" fmla="*/ 5 w 18"/>
                <a:gd name="T45" fmla="*/ 0 h 8"/>
                <a:gd name="T46" fmla="*/ 3 w 18"/>
                <a:gd name="T47" fmla="*/ 3 h 8"/>
                <a:gd name="T48" fmla="*/ 0 w 18"/>
                <a:gd name="T49" fmla="*/ 5 h 8"/>
                <a:gd name="T50" fmla="*/ 0 w 18"/>
                <a:gd name="T51" fmla="*/ 8 h 8"/>
                <a:gd name="T52" fmla="*/ 0 w 18"/>
                <a:gd name="T53" fmla="*/ 8 h 8"/>
                <a:gd name="T54" fmla="*/ 0 w 18"/>
                <a:gd name="T55" fmla="*/ 8 h 8"/>
                <a:gd name="T56" fmla="*/ 0 w 18"/>
                <a:gd name="T57" fmla="*/ 8 h 8"/>
                <a:gd name="T58" fmla="*/ 3 w 18"/>
                <a:gd name="T59" fmla="*/ 8 h 8"/>
                <a:gd name="T60" fmla="*/ 3 w 18"/>
                <a:gd name="T61" fmla="*/ 8 h 8"/>
                <a:gd name="T62" fmla="*/ 3 w 18"/>
                <a:gd name="T6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8">
                  <a:moveTo>
                    <a:pt x="3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5" name="Freeform 95"/>
            <p:cNvSpPr>
              <a:spLocks/>
            </p:cNvSpPr>
            <p:nvPr/>
          </p:nvSpPr>
          <p:spPr bwMode="auto">
            <a:xfrm>
              <a:off x="955" y="2564"/>
              <a:ext cx="16" cy="5"/>
            </a:xfrm>
            <a:custGeom>
              <a:avLst/>
              <a:gdLst>
                <a:gd name="T0" fmla="*/ 3 w 16"/>
                <a:gd name="T1" fmla="*/ 2 h 5"/>
                <a:gd name="T2" fmla="*/ 3 w 16"/>
                <a:gd name="T3" fmla="*/ 2 h 5"/>
                <a:gd name="T4" fmla="*/ 6 w 16"/>
                <a:gd name="T5" fmla="*/ 2 h 5"/>
                <a:gd name="T6" fmla="*/ 8 w 16"/>
                <a:gd name="T7" fmla="*/ 2 h 5"/>
                <a:gd name="T8" fmla="*/ 13 w 16"/>
                <a:gd name="T9" fmla="*/ 2 h 5"/>
                <a:gd name="T10" fmla="*/ 13 w 16"/>
                <a:gd name="T11" fmla="*/ 2 h 5"/>
                <a:gd name="T12" fmla="*/ 13 w 16"/>
                <a:gd name="T13" fmla="*/ 2 h 5"/>
                <a:gd name="T14" fmla="*/ 16 w 16"/>
                <a:gd name="T15" fmla="*/ 2 h 5"/>
                <a:gd name="T16" fmla="*/ 16 w 16"/>
                <a:gd name="T17" fmla="*/ 2 h 5"/>
                <a:gd name="T18" fmla="*/ 16 w 16"/>
                <a:gd name="T19" fmla="*/ 0 h 5"/>
                <a:gd name="T20" fmla="*/ 13 w 16"/>
                <a:gd name="T21" fmla="*/ 0 h 5"/>
                <a:gd name="T22" fmla="*/ 11 w 16"/>
                <a:gd name="T23" fmla="*/ 0 h 5"/>
                <a:gd name="T24" fmla="*/ 8 w 16"/>
                <a:gd name="T25" fmla="*/ 0 h 5"/>
                <a:gd name="T26" fmla="*/ 6 w 16"/>
                <a:gd name="T27" fmla="*/ 0 h 5"/>
                <a:gd name="T28" fmla="*/ 3 w 16"/>
                <a:gd name="T29" fmla="*/ 0 h 5"/>
                <a:gd name="T30" fmla="*/ 0 w 16"/>
                <a:gd name="T31" fmla="*/ 2 h 5"/>
                <a:gd name="T32" fmla="*/ 0 w 16"/>
                <a:gd name="T33" fmla="*/ 2 h 5"/>
                <a:gd name="T34" fmla="*/ 0 w 16"/>
                <a:gd name="T35" fmla="*/ 5 h 5"/>
                <a:gd name="T36" fmla="*/ 0 w 16"/>
                <a:gd name="T37" fmla="*/ 5 h 5"/>
                <a:gd name="T38" fmla="*/ 3 w 16"/>
                <a:gd name="T39" fmla="*/ 5 h 5"/>
                <a:gd name="T40" fmla="*/ 3 w 16"/>
                <a:gd name="T41" fmla="*/ 2 h 5"/>
                <a:gd name="T42" fmla="*/ 3 w 16"/>
                <a:gd name="T4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5">
                  <a:moveTo>
                    <a:pt x="3" y="2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6" name="Freeform 96"/>
            <p:cNvSpPr>
              <a:spLocks/>
            </p:cNvSpPr>
            <p:nvPr/>
          </p:nvSpPr>
          <p:spPr bwMode="auto">
            <a:xfrm>
              <a:off x="867" y="2579"/>
              <a:ext cx="24" cy="5"/>
            </a:xfrm>
            <a:custGeom>
              <a:avLst/>
              <a:gdLst>
                <a:gd name="T0" fmla="*/ 11 w 24"/>
                <a:gd name="T1" fmla="*/ 5 h 5"/>
                <a:gd name="T2" fmla="*/ 11 w 24"/>
                <a:gd name="T3" fmla="*/ 5 h 5"/>
                <a:gd name="T4" fmla="*/ 11 w 24"/>
                <a:gd name="T5" fmla="*/ 3 h 5"/>
                <a:gd name="T6" fmla="*/ 13 w 24"/>
                <a:gd name="T7" fmla="*/ 3 h 5"/>
                <a:gd name="T8" fmla="*/ 13 w 24"/>
                <a:gd name="T9" fmla="*/ 3 h 5"/>
                <a:gd name="T10" fmla="*/ 16 w 24"/>
                <a:gd name="T11" fmla="*/ 3 h 5"/>
                <a:gd name="T12" fmla="*/ 19 w 24"/>
                <a:gd name="T13" fmla="*/ 3 h 5"/>
                <a:gd name="T14" fmla="*/ 21 w 24"/>
                <a:gd name="T15" fmla="*/ 3 h 5"/>
                <a:gd name="T16" fmla="*/ 24 w 24"/>
                <a:gd name="T17" fmla="*/ 3 h 5"/>
                <a:gd name="T18" fmla="*/ 24 w 24"/>
                <a:gd name="T19" fmla="*/ 3 h 5"/>
                <a:gd name="T20" fmla="*/ 24 w 24"/>
                <a:gd name="T21" fmla="*/ 3 h 5"/>
                <a:gd name="T22" fmla="*/ 21 w 24"/>
                <a:gd name="T23" fmla="*/ 0 h 5"/>
                <a:gd name="T24" fmla="*/ 16 w 24"/>
                <a:gd name="T25" fmla="*/ 0 h 5"/>
                <a:gd name="T26" fmla="*/ 13 w 24"/>
                <a:gd name="T27" fmla="*/ 3 h 5"/>
                <a:gd name="T28" fmla="*/ 8 w 24"/>
                <a:gd name="T29" fmla="*/ 3 h 5"/>
                <a:gd name="T30" fmla="*/ 3 w 24"/>
                <a:gd name="T31" fmla="*/ 3 h 5"/>
                <a:gd name="T32" fmla="*/ 0 w 24"/>
                <a:gd name="T33" fmla="*/ 3 h 5"/>
                <a:gd name="T34" fmla="*/ 0 w 24"/>
                <a:gd name="T35" fmla="*/ 3 h 5"/>
                <a:gd name="T36" fmla="*/ 0 w 24"/>
                <a:gd name="T37" fmla="*/ 3 h 5"/>
                <a:gd name="T38" fmla="*/ 0 w 24"/>
                <a:gd name="T39" fmla="*/ 5 h 5"/>
                <a:gd name="T40" fmla="*/ 0 w 24"/>
                <a:gd name="T41" fmla="*/ 5 h 5"/>
                <a:gd name="T42" fmla="*/ 3 w 24"/>
                <a:gd name="T43" fmla="*/ 5 h 5"/>
                <a:gd name="T44" fmla="*/ 6 w 24"/>
                <a:gd name="T45" fmla="*/ 5 h 5"/>
                <a:gd name="T46" fmla="*/ 8 w 24"/>
                <a:gd name="T47" fmla="*/ 5 h 5"/>
                <a:gd name="T48" fmla="*/ 11 w 24"/>
                <a:gd name="T49" fmla="*/ 5 h 5"/>
                <a:gd name="T50" fmla="*/ 11 w 24"/>
                <a:gd name="T51" fmla="*/ 5 h 5"/>
                <a:gd name="T52" fmla="*/ 11 w 24"/>
                <a:gd name="T5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5">
                  <a:moveTo>
                    <a:pt x="11" y="5"/>
                  </a:moveTo>
                  <a:lnTo>
                    <a:pt x="11" y="5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0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8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7" name="Freeform 97"/>
            <p:cNvSpPr>
              <a:spLocks/>
            </p:cNvSpPr>
            <p:nvPr/>
          </p:nvSpPr>
          <p:spPr bwMode="auto">
            <a:xfrm>
              <a:off x="974" y="2561"/>
              <a:ext cx="15" cy="5"/>
            </a:xfrm>
            <a:custGeom>
              <a:avLst/>
              <a:gdLst>
                <a:gd name="T0" fmla="*/ 2 w 15"/>
                <a:gd name="T1" fmla="*/ 3 h 5"/>
                <a:gd name="T2" fmla="*/ 2 w 15"/>
                <a:gd name="T3" fmla="*/ 3 h 5"/>
                <a:gd name="T4" fmla="*/ 2 w 15"/>
                <a:gd name="T5" fmla="*/ 3 h 5"/>
                <a:gd name="T6" fmla="*/ 5 w 15"/>
                <a:gd name="T7" fmla="*/ 3 h 5"/>
                <a:gd name="T8" fmla="*/ 7 w 15"/>
                <a:gd name="T9" fmla="*/ 3 h 5"/>
                <a:gd name="T10" fmla="*/ 7 w 15"/>
                <a:gd name="T11" fmla="*/ 3 h 5"/>
                <a:gd name="T12" fmla="*/ 10 w 15"/>
                <a:gd name="T13" fmla="*/ 3 h 5"/>
                <a:gd name="T14" fmla="*/ 13 w 15"/>
                <a:gd name="T15" fmla="*/ 3 h 5"/>
                <a:gd name="T16" fmla="*/ 13 w 15"/>
                <a:gd name="T17" fmla="*/ 5 h 5"/>
                <a:gd name="T18" fmla="*/ 15 w 15"/>
                <a:gd name="T19" fmla="*/ 5 h 5"/>
                <a:gd name="T20" fmla="*/ 13 w 15"/>
                <a:gd name="T21" fmla="*/ 3 h 5"/>
                <a:gd name="T22" fmla="*/ 13 w 15"/>
                <a:gd name="T23" fmla="*/ 3 h 5"/>
                <a:gd name="T24" fmla="*/ 7 w 15"/>
                <a:gd name="T25" fmla="*/ 0 h 5"/>
                <a:gd name="T26" fmla="*/ 2 w 15"/>
                <a:gd name="T27" fmla="*/ 0 h 5"/>
                <a:gd name="T28" fmla="*/ 2 w 15"/>
                <a:gd name="T29" fmla="*/ 0 h 5"/>
                <a:gd name="T30" fmla="*/ 0 w 15"/>
                <a:gd name="T31" fmla="*/ 3 h 5"/>
                <a:gd name="T32" fmla="*/ 0 w 15"/>
                <a:gd name="T33" fmla="*/ 3 h 5"/>
                <a:gd name="T34" fmla="*/ 2 w 15"/>
                <a:gd name="T35" fmla="*/ 3 h 5"/>
                <a:gd name="T36" fmla="*/ 2 w 15"/>
                <a:gd name="T37" fmla="*/ 5 h 5"/>
                <a:gd name="T38" fmla="*/ 2 w 15"/>
                <a:gd name="T39" fmla="*/ 3 h 5"/>
                <a:gd name="T40" fmla="*/ 2 w 15"/>
                <a:gd name="T4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7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8" name="Freeform 98"/>
            <p:cNvSpPr>
              <a:spLocks/>
            </p:cNvSpPr>
            <p:nvPr/>
          </p:nvSpPr>
          <p:spPr bwMode="auto">
            <a:xfrm>
              <a:off x="919" y="2571"/>
              <a:ext cx="11" cy="6"/>
            </a:xfrm>
            <a:custGeom>
              <a:avLst/>
              <a:gdLst>
                <a:gd name="T0" fmla="*/ 3 w 11"/>
                <a:gd name="T1" fmla="*/ 3 h 6"/>
                <a:gd name="T2" fmla="*/ 3 w 11"/>
                <a:gd name="T3" fmla="*/ 3 h 6"/>
                <a:gd name="T4" fmla="*/ 5 w 11"/>
                <a:gd name="T5" fmla="*/ 3 h 6"/>
                <a:gd name="T6" fmla="*/ 5 w 11"/>
                <a:gd name="T7" fmla="*/ 3 h 6"/>
                <a:gd name="T8" fmla="*/ 5 w 11"/>
                <a:gd name="T9" fmla="*/ 3 h 6"/>
                <a:gd name="T10" fmla="*/ 8 w 11"/>
                <a:gd name="T11" fmla="*/ 3 h 6"/>
                <a:gd name="T12" fmla="*/ 8 w 11"/>
                <a:gd name="T13" fmla="*/ 3 h 6"/>
                <a:gd name="T14" fmla="*/ 11 w 11"/>
                <a:gd name="T15" fmla="*/ 6 h 6"/>
                <a:gd name="T16" fmla="*/ 11 w 11"/>
                <a:gd name="T17" fmla="*/ 3 h 6"/>
                <a:gd name="T18" fmla="*/ 8 w 11"/>
                <a:gd name="T19" fmla="*/ 3 h 6"/>
                <a:gd name="T20" fmla="*/ 8 w 11"/>
                <a:gd name="T21" fmla="*/ 0 h 6"/>
                <a:gd name="T22" fmla="*/ 5 w 11"/>
                <a:gd name="T23" fmla="*/ 0 h 6"/>
                <a:gd name="T24" fmla="*/ 3 w 11"/>
                <a:gd name="T25" fmla="*/ 0 h 6"/>
                <a:gd name="T26" fmla="*/ 0 w 11"/>
                <a:gd name="T27" fmla="*/ 3 h 6"/>
                <a:gd name="T28" fmla="*/ 0 w 11"/>
                <a:gd name="T29" fmla="*/ 3 h 6"/>
                <a:gd name="T30" fmla="*/ 3 w 11"/>
                <a:gd name="T31" fmla="*/ 3 h 6"/>
                <a:gd name="T32" fmla="*/ 3 w 11"/>
                <a:gd name="T33" fmla="*/ 3 h 6"/>
                <a:gd name="T34" fmla="*/ 3 w 11"/>
                <a:gd name="T35" fmla="*/ 3 h 6"/>
                <a:gd name="T36" fmla="*/ 3 w 11"/>
                <a:gd name="T3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6">
                  <a:moveTo>
                    <a:pt x="3" y="3"/>
                  </a:moveTo>
                  <a:lnTo>
                    <a:pt x="3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59" name="Freeform 99"/>
            <p:cNvSpPr>
              <a:spLocks/>
            </p:cNvSpPr>
            <p:nvPr/>
          </p:nvSpPr>
          <p:spPr bwMode="auto">
            <a:xfrm>
              <a:off x="865" y="2587"/>
              <a:ext cx="5" cy="5"/>
            </a:xfrm>
            <a:custGeom>
              <a:avLst/>
              <a:gdLst>
                <a:gd name="T0" fmla="*/ 5 w 5"/>
                <a:gd name="T1" fmla="*/ 5 h 5"/>
                <a:gd name="T2" fmla="*/ 2 w 5"/>
                <a:gd name="T3" fmla="*/ 5 h 5"/>
                <a:gd name="T4" fmla="*/ 2 w 5"/>
                <a:gd name="T5" fmla="*/ 3 h 5"/>
                <a:gd name="T6" fmla="*/ 2 w 5"/>
                <a:gd name="T7" fmla="*/ 3 h 5"/>
                <a:gd name="T8" fmla="*/ 2 w 5"/>
                <a:gd name="T9" fmla="*/ 3 h 5"/>
                <a:gd name="T10" fmla="*/ 2 w 5"/>
                <a:gd name="T11" fmla="*/ 3 h 5"/>
                <a:gd name="T12" fmla="*/ 5 w 5"/>
                <a:gd name="T13" fmla="*/ 3 h 5"/>
                <a:gd name="T14" fmla="*/ 5 w 5"/>
                <a:gd name="T15" fmla="*/ 3 h 5"/>
                <a:gd name="T16" fmla="*/ 5 w 5"/>
                <a:gd name="T17" fmla="*/ 3 h 5"/>
                <a:gd name="T18" fmla="*/ 5 w 5"/>
                <a:gd name="T19" fmla="*/ 0 h 5"/>
                <a:gd name="T20" fmla="*/ 5 w 5"/>
                <a:gd name="T21" fmla="*/ 0 h 5"/>
                <a:gd name="T22" fmla="*/ 5 w 5"/>
                <a:gd name="T23" fmla="*/ 0 h 5"/>
                <a:gd name="T24" fmla="*/ 5 w 5"/>
                <a:gd name="T25" fmla="*/ 0 h 5"/>
                <a:gd name="T26" fmla="*/ 5 w 5"/>
                <a:gd name="T27" fmla="*/ 0 h 5"/>
                <a:gd name="T28" fmla="*/ 5 w 5"/>
                <a:gd name="T29" fmla="*/ 0 h 5"/>
                <a:gd name="T30" fmla="*/ 2 w 5"/>
                <a:gd name="T31" fmla="*/ 0 h 5"/>
                <a:gd name="T32" fmla="*/ 2 w 5"/>
                <a:gd name="T33" fmla="*/ 0 h 5"/>
                <a:gd name="T34" fmla="*/ 0 w 5"/>
                <a:gd name="T35" fmla="*/ 0 h 5"/>
                <a:gd name="T36" fmla="*/ 0 w 5"/>
                <a:gd name="T37" fmla="*/ 3 h 5"/>
                <a:gd name="T38" fmla="*/ 0 w 5"/>
                <a:gd name="T39" fmla="*/ 3 h 5"/>
                <a:gd name="T40" fmla="*/ 2 w 5"/>
                <a:gd name="T41" fmla="*/ 5 h 5"/>
                <a:gd name="T42" fmla="*/ 2 w 5"/>
                <a:gd name="T43" fmla="*/ 5 h 5"/>
                <a:gd name="T44" fmla="*/ 5 w 5"/>
                <a:gd name="T45" fmla="*/ 5 h 5"/>
                <a:gd name="T46" fmla="*/ 5 w 5"/>
                <a:gd name="T4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0" name="Freeform 100"/>
            <p:cNvSpPr>
              <a:spLocks/>
            </p:cNvSpPr>
            <p:nvPr/>
          </p:nvSpPr>
          <p:spPr bwMode="auto">
            <a:xfrm>
              <a:off x="992" y="2566"/>
              <a:ext cx="2" cy="5"/>
            </a:xfrm>
            <a:custGeom>
              <a:avLst/>
              <a:gdLst>
                <a:gd name="T0" fmla="*/ 0 w 2"/>
                <a:gd name="T1" fmla="*/ 3 h 5"/>
                <a:gd name="T2" fmla="*/ 0 w 2"/>
                <a:gd name="T3" fmla="*/ 3 h 5"/>
                <a:gd name="T4" fmla="*/ 0 w 2"/>
                <a:gd name="T5" fmla="*/ 5 h 5"/>
                <a:gd name="T6" fmla="*/ 2 w 2"/>
                <a:gd name="T7" fmla="*/ 5 h 5"/>
                <a:gd name="T8" fmla="*/ 2 w 2"/>
                <a:gd name="T9" fmla="*/ 5 h 5"/>
                <a:gd name="T10" fmla="*/ 2 w 2"/>
                <a:gd name="T11" fmla="*/ 3 h 5"/>
                <a:gd name="T12" fmla="*/ 2 w 2"/>
                <a:gd name="T13" fmla="*/ 3 h 5"/>
                <a:gd name="T14" fmla="*/ 0 w 2"/>
                <a:gd name="T15" fmla="*/ 0 h 5"/>
                <a:gd name="T16" fmla="*/ 0 w 2"/>
                <a:gd name="T17" fmla="*/ 0 h 5"/>
                <a:gd name="T18" fmla="*/ 0 w 2"/>
                <a:gd name="T19" fmla="*/ 3 h 5"/>
                <a:gd name="T20" fmla="*/ 0 w 2"/>
                <a:gd name="T2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5">
                  <a:moveTo>
                    <a:pt x="0" y="3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1" name="Oval 101"/>
            <p:cNvSpPr>
              <a:spLocks noChangeArrowheads="1"/>
            </p:cNvSpPr>
            <p:nvPr/>
          </p:nvSpPr>
          <p:spPr bwMode="auto">
            <a:xfrm>
              <a:off x="992" y="2564"/>
              <a:ext cx="1" cy="2"/>
            </a:xfrm>
            <a:prstGeom prst="ellipse">
              <a:avLst/>
            </a:prstGeom>
            <a:noFill/>
            <a:ln w="4763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2" name="Freeform 102"/>
            <p:cNvSpPr>
              <a:spLocks/>
            </p:cNvSpPr>
            <p:nvPr/>
          </p:nvSpPr>
          <p:spPr bwMode="auto">
            <a:xfrm>
              <a:off x="865" y="2595"/>
              <a:ext cx="0" cy="2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2 h 2"/>
                <a:gd name="T5" fmla="*/ 2 h 2"/>
                <a:gd name="T6" fmla="*/ 0 h 2"/>
                <a:gd name="T7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3" name="Freeform 103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3 w 57"/>
                <a:gd name="T1" fmla="*/ 0 h 36"/>
                <a:gd name="T2" fmla="*/ 8 w 57"/>
                <a:gd name="T3" fmla="*/ 3 h 36"/>
                <a:gd name="T4" fmla="*/ 13 w 57"/>
                <a:gd name="T5" fmla="*/ 3 h 36"/>
                <a:gd name="T6" fmla="*/ 10 w 57"/>
                <a:gd name="T7" fmla="*/ 3 h 36"/>
                <a:gd name="T8" fmla="*/ 10 w 57"/>
                <a:gd name="T9" fmla="*/ 5 h 36"/>
                <a:gd name="T10" fmla="*/ 10 w 57"/>
                <a:gd name="T11" fmla="*/ 5 h 36"/>
                <a:gd name="T12" fmla="*/ 13 w 57"/>
                <a:gd name="T13" fmla="*/ 5 h 36"/>
                <a:gd name="T14" fmla="*/ 16 w 57"/>
                <a:gd name="T15" fmla="*/ 5 h 36"/>
                <a:gd name="T16" fmla="*/ 18 w 57"/>
                <a:gd name="T17" fmla="*/ 5 h 36"/>
                <a:gd name="T18" fmla="*/ 18 w 57"/>
                <a:gd name="T19" fmla="*/ 5 h 36"/>
                <a:gd name="T20" fmla="*/ 21 w 57"/>
                <a:gd name="T21" fmla="*/ 8 h 36"/>
                <a:gd name="T22" fmla="*/ 23 w 57"/>
                <a:gd name="T23" fmla="*/ 8 h 36"/>
                <a:gd name="T24" fmla="*/ 23 w 57"/>
                <a:gd name="T25" fmla="*/ 8 h 36"/>
                <a:gd name="T26" fmla="*/ 26 w 57"/>
                <a:gd name="T27" fmla="*/ 8 h 36"/>
                <a:gd name="T28" fmla="*/ 29 w 57"/>
                <a:gd name="T29" fmla="*/ 8 h 36"/>
                <a:gd name="T30" fmla="*/ 29 w 57"/>
                <a:gd name="T31" fmla="*/ 10 h 36"/>
                <a:gd name="T32" fmla="*/ 31 w 57"/>
                <a:gd name="T33" fmla="*/ 10 h 36"/>
                <a:gd name="T34" fmla="*/ 34 w 57"/>
                <a:gd name="T35" fmla="*/ 10 h 36"/>
                <a:gd name="T36" fmla="*/ 39 w 57"/>
                <a:gd name="T37" fmla="*/ 10 h 36"/>
                <a:gd name="T38" fmla="*/ 39 w 57"/>
                <a:gd name="T39" fmla="*/ 10 h 36"/>
                <a:gd name="T40" fmla="*/ 39 w 57"/>
                <a:gd name="T41" fmla="*/ 10 h 36"/>
                <a:gd name="T42" fmla="*/ 42 w 57"/>
                <a:gd name="T43" fmla="*/ 16 h 36"/>
                <a:gd name="T44" fmla="*/ 47 w 57"/>
                <a:gd name="T45" fmla="*/ 16 h 36"/>
                <a:gd name="T46" fmla="*/ 52 w 57"/>
                <a:gd name="T47" fmla="*/ 13 h 36"/>
                <a:gd name="T48" fmla="*/ 57 w 57"/>
                <a:gd name="T49" fmla="*/ 16 h 36"/>
                <a:gd name="T50" fmla="*/ 52 w 57"/>
                <a:gd name="T51" fmla="*/ 18 h 36"/>
                <a:gd name="T52" fmla="*/ 52 w 57"/>
                <a:gd name="T53" fmla="*/ 21 h 36"/>
                <a:gd name="T54" fmla="*/ 54 w 57"/>
                <a:gd name="T55" fmla="*/ 21 h 36"/>
                <a:gd name="T56" fmla="*/ 54 w 57"/>
                <a:gd name="T57" fmla="*/ 23 h 36"/>
                <a:gd name="T58" fmla="*/ 54 w 57"/>
                <a:gd name="T59" fmla="*/ 23 h 36"/>
                <a:gd name="T60" fmla="*/ 54 w 57"/>
                <a:gd name="T61" fmla="*/ 29 h 36"/>
                <a:gd name="T62" fmla="*/ 54 w 57"/>
                <a:gd name="T63" fmla="*/ 29 h 36"/>
                <a:gd name="T64" fmla="*/ 54 w 57"/>
                <a:gd name="T65" fmla="*/ 31 h 36"/>
                <a:gd name="T66" fmla="*/ 52 w 57"/>
                <a:gd name="T67" fmla="*/ 34 h 36"/>
                <a:gd name="T68" fmla="*/ 49 w 57"/>
                <a:gd name="T69" fmla="*/ 36 h 36"/>
                <a:gd name="T70" fmla="*/ 44 w 57"/>
                <a:gd name="T71" fmla="*/ 36 h 36"/>
                <a:gd name="T72" fmla="*/ 42 w 57"/>
                <a:gd name="T73" fmla="*/ 31 h 36"/>
                <a:gd name="T74" fmla="*/ 42 w 57"/>
                <a:gd name="T75" fmla="*/ 34 h 36"/>
                <a:gd name="T76" fmla="*/ 42 w 57"/>
                <a:gd name="T77" fmla="*/ 36 h 36"/>
                <a:gd name="T78" fmla="*/ 42 w 57"/>
                <a:gd name="T79" fmla="*/ 36 h 36"/>
                <a:gd name="T80" fmla="*/ 42 w 57"/>
                <a:gd name="T81" fmla="*/ 34 h 36"/>
                <a:gd name="T82" fmla="*/ 36 w 57"/>
                <a:gd name="T83" fmla="*/ 34 h 36"/>
                <a:gd name="T84" fmla="*/ 31 w 57"/>
                <a:gd name="T85" fmla="*/ 31 h 36"/>
                <a:gd name="T86" fmla="*/ 31 w 57"/>
                <a:gd name="T87" fmla="*/ 31 h 36"/>
                <a:gd name="T88" fmla="*/ 29 w 57"/>
                <a:gd name="T89" fmla="*/ 34 h 36"/>
                <a:gd name="T90" fmla="*/ 26 w 57"/>
                <a:gd name="T91" fmla="*/ 31 h 36"/>
                <a:gd name="T92" fmla="*/ 26 w 57"/>
                <a:gd name="T93" fmla="*/ 26 h 36"/>
                <a:gd name="T94" fmla="*/ 21 w 57"/>
                <a:gd name="T95" fmla="*/ 23 h 36"/>
                <a:gd name="T96" fmla="*/ 21 w 57"/>
                <a:gd name="T97" fmla="*/ 21 h 36"/>
                <a:gd name="T98" fmla="*/ 18 w 57"/>
                <a:gd name="T99" fmla="*/ 18 h 36"/>
                <a:gd name="T100" fmla="*/ 16 w 57"/>
                <a:gd name="T101" fmla="*/ 13 h 36"/>
                <a:gd name="T102" fmla="*/ 16 w 57"/>
                <a:gd name="T103" fmla="*/ 10 h 36"/>
                <a:gd name="T104" fmla="*/ 10 w 57"/>
                <a:gd name="T105" fmla="*/ 8 h 36"/>
                <a:gd name="T106" fmla="*/ 3 w 57"/>
                <a:gd name="T10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3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7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7" y="21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7" y="36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9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9" y="31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4" name="Freeform 104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3 w 57"/>
                <a:gd name="T1" fmla="*/ 0 h 36"/>
                <a:gd name="T2" fmla="*/ 8 w 57"/>
                <a:gd name="T3" fmla="*/ 3 h 36"/>
                <a:gd name="T4" fmla="*/ 13 w 57"/>
                <a:gd name="T5" fmla="*/ 3 h 36"/>
                <a:gd name="T6" fmla="*/ 10 w 57"/>
                <a:gd name="T7" fmla="*/ 3 h 36"/>
                <a:gd name="T8" fmla="*/ 10 w 57"/>
                <a:gd name="T9" fmla="*/ 5 h 36"/>
                <a:gd name="T10" fmla="*/ 10 w 57"/>
                <a:gd name="T11" fmla="*/ 5 h 36"/>
                <a:gd name="T12" fmla="*/ 13 w 57"/>
                <a:gd name="T13" fmla="*/ 5 h 36"/>
                <a:gd name="T14" fmla="*/ 16 w 57"/>
                <a:gd name="T15" fmla="*/ 5 h 36"/>
                <a:gd name="T16" fmla="*/ 18 w 57"/>
                <a:gd name="T17" fmla="*/ 5 h 36"/>
                <a:gd name="T18" fmla="*/ 18 w 57"/>
                <a:gd name="T19" fmla="*/ 5 h 36"/>
                <a:gd name="T20" fmla="*/ 21 w 57"/>
                <a:gd name="T21" fmla="*/ 8 h 36"/>
                <a:gd name="T22" fmla="*/ 23 w 57"/>
                <a:gd name="T23" fmla="*/ 8 h 36"/>
                <a:gd name="T24" fmla="*/ 23 w 57"/>
                <a:gd name="T25" fmla="*/ 8 h 36"/>
                <a:gd name="T26" fmla="*/ 26 w 57"/>
                <a:gd name="T27" fmla="*/ 8 h 36"/>
                <a:gd name="T28" fmla="*/ 29 w 57"/>
                <a:gd name="T29" fmla="*/ 8 h 36"/>
                <a:gd name="T30" fmla="*/ 29 w 57"/>
                <a:gd name="T31" fmla="*/ 10 h 36"/>
                <a:gd name="T32" fmla="*/ 31 w 57"/>
                <a:gd name="T33" fmla="*/ 10 h 36"/>
                <a:gd name="T34" fmla="*/ 34 w 57"/>
                <a:gd name="T35" fmla="*/ 10 h 36"/>
                <a:gd name="T36" fmla="*/ 39 w 57"/>
                <a:gd name="T37" fmla="*/ 10 h 36"/>
                <a:gd name="T38" fmla="*/ 39 w 57"/>
                <a:gd name="T39" fmla="*/ 10 h 36"/>
                <a:gd name="T40" fmla="*/ 39 w 57"/>
                <a:gd name="T41" fmla="*/ 10 h 36"/>
                <a:gd name="T42" fmla="*/ 42 w 57"/>
                <a:gd name="T43" fmla="*/ 16 h 36"/>
                <a:gd name="T44" fmla="*/ 47 w 57"/>
                <a:gd name="T45" fmla="*/ 16 h 36"/>
                <a:gd name="T46" fmla="*/ 52 w 57"/>
                <a:gd name="T47" fmla="*/ 13 h 36"/>
                <a:gd name="T48" fmla="*/ 57 w 57"/>
                <a:gd name="T49" fmla="*/ 16 h 36"/>
                <a:gd name="T50" fmla="*/ 52 w 57"/>
                <a:gd name="T51" fmla="*/ 18 h 36"/>
                <a:gd name="T52" fmla="*/ 52 w 57"/>
                <a:gd name="T53" fmla="*/ 21 h 36"/>
                <a:gd name="T54" fmla="*/ 54 w 57"/>
                <a:gd name="T55" fmla="*/ 21 h 36"/>
                <a:gd name="T56" fmla="*/ 54 w 57"/>
                <a:gd name="T57" fmla="*/ 23 h 36"/>
                <a:gd name="T58" fmla="*/ 54 w 57"/>
                <a:gd name="T59" fmla="*/ 23 h 36"/>
                <a:gd name="T60" fmla="*/ 54 w 57"/>
                <a:gd name="T61" fmla="*/ 29 h 36"/>
                <a:gd name="T62" fmla="*/ 54 w 57"/>
                <a:gd name="T63" fmla="*/ 29 h 36"/>
                <a:gd name="T64" fmla="*/ 54 w 57"/>
                <a:gd name="T65" fmla="*/ 31 h 36"/>
                <a:gd name="T66" fmla="*/ 52 w 57"/>
                <a:gd name="T67" fmla="*/ 34 h 36"/>
                <a:gd name="T68" fmla="*/ 49 w 57"/>
                <a:gd name="T69" fmla="*/ 36 h 36"/>
                <a:gd name="T70" fmla="*/ 44 w 57"/>
                <a:gd name="T71" fmla="*/ 36 h 36"/>
                <a:gd name="T72" fmla="*/ 42 w 57"/>
                <a:gd name="T73" fmla="*/ 31 h 36"/>
                <a:gd name="T74" fmla="*/ 42 w 57"/>
                <a:gd name="T75" fmla="*/ 34 h 36"/>
                <a:gd name="T76" fmla="*/ 42 w 57"/>
                <a:gd name="T77" fmla="*/ 36 h 36"/>
                <a:gd name="T78" fmla="*/ 42 w 57"/>
                <a:gd name="T79" fmla="*/ 36 h 36"/>
                <a:gd name="T80" fmla="*/ 42 w 57"/>
                <a:gd name="T81" fmla="*/ 34 h 36"/>
                <a:gd name="T82" fmla="*/ 36 w 57"/>
                <a:gd name="T83" fmla="*/ 34 h 36"/>
                <a:gd name="T84" fmla="*/ 31 w 57"/>
                <a:gd name="T85" fmla="*/ 31 h 36"/>
                <a:gd name="T86" fmla="*/ 31 w 57"/>
                <a:gd name="T87" fmla="*/ 31 h 36"/>
                <a:gd name="T88" fmla="*/ 29 w 57"/>
                <a:gd name="T89" fmla="*/ 34 h 36"/>
                <a:gd name="T90" fmla="*/ 26 w 57"/>
                <a:gd name="T91" fmla="*/ 31 h 36"/>
                <a:gd name="T92" fmla="*/ 26 w 57"/>
                <a:gd name="T93" fmla="*/ 26 h 36"/>
                <a:gd name="T94" fmla="*/ 21 w 57"/>
                <a:gd name="T95" fmla="*/ 23 h 36"/>
                <a:gd name="T96" fmla="*/ 21 w 57"/>
                <a:gd name="T97" fmla="*/ 21 h 36"/>
                <a:gd name="T98" fmla="*/ 18 w 57"/>
                <a:gd name="T99" fmla="*/ 18 h 36"/>
                <a:gd name="T100" fmla="*/ 16 w 57"/>
                <a:gd name="T101" fmla="*/ 13 h 36"/>
                <a:gd name="T102" fmla="*/ 16 w 57"/>
                <a:gd name="T103" fmla="*/ 10 h 36"/>
                <a:gd name="T104" fmla="*/ 10 w 57"/>
                <a:gd name="T105" fmla="*/ 8 h 36"/>
                <a:gd name="T106" fmla="*/ 3 w 57"/>
                <a:gd name="T10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3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7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7" y="21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7" y="36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9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9" y="31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5" name="Freeform 105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3 w 57"/>
                <a:gd name="T1" fmla="*/ 0 h 36"/>
                <a:gd name="T2" fmla="*/ 8 w 57"/>
                <a:gd name="T3" fmla="*/ 3 h 36"/>
                <a:gd name="T4" fmla="*/ 13 w 57"/>
                <a:gd name="T5" fmla="*/ 3 h 36"/>
                <a:gd name="T6" fmla="*/ 10 w 57"/>
                <a:gd name="T7" fmla="*/ 3 h 36"/>
                <a:gd name="T8" fmla="*/ 10 w 57"/>
                <a:gd name="T9" fmla="*/ 5 h 36"/>
                <a:gd name="T10" fmla="*/ 10 w 57"/>
                <a:gd name="T11" fmla="*/ 5 h 36"/>
                <a:gd name="T12" fmla="*/ 13 w 57"/>
                <a:gd name="T13" fmla="*/ 5 h 36"/>
                <a:gd name="T14" fmla="*/ 16 w 57"/>
                <a:gd name="T15" fmla="*/ 5 h 36"/>
                <a:gd name="T16" fmla="*/ 18 w 57"/>
                <a:gd name="T17" fmla="*/ 5 h 36"/>
                <a:gd name="T18" fmla="*/ 18 w 57"/>
                <a:gd name="T19" fmla="*/ 5 h 36"/>
                <a:gd name="T20" fmla="*/ 21 w 57"/>
                <a:gd name="T21" fmla="*/ 8 h 36"/>
                <a:gd name="T22" fmla="*/ 23 w 57"/>
                <a:gd name="T23" fmla="*/ 8 h 36"/>
                <a:gd name="T24" fmla="*/ 23 w 57"/>
                <a:gd name="T25" fmla="*/ 8 h 36"/>
                <a:gd name="T26" fmla="*/ 26 w 57"/>
                <a:gd name="T27" fmla="*/ 8 h 36"/>
                <a:gd name="T28" fmla="*/ 29 w 57"/>
                <a:gd name="T29" fmla="*/ 8 h 36"/>
                <a:gd name="T30" fmla="*/ 29 w 57"/>
                <a:gd name="T31" fmla="*/ 10 h 36"/>
                <a:gd name="T32" fmla="*/ 31 w 57"/>
                <a:gd name="T33" fmla="*/ 10 h 36"/>
                <a:gd name="T34" fmla="*/ 34 w 57"/>
                <a:gd name="T35" fmla="*/ 10 h 36"/>
                <a:gd name="T36" fmla="*/ 39 w 57"/>
                <a:gd name="T37" fmla="*/ 10 h 36"/>
                <a:gd name="T38" fmla="*/ 39 w 57"/>
                <a:gd name="T39" fmla="*/ 10 h 36"/>
                <a:gd name="T40" fmla="*/ 39 w 57"/>
                <a:gd name="T41" fmla="*/ 10 h 36"/>
                <a:gd name="T42" fmla="*/ 42 w 57"/>
                <a:gd name="T43" fmla="*/ 16 h 36"/>
                <a:gd name="T44" fmla="*/ 47 w 57"/>
                <a:gd name="T45" fmla="*/ 16 h 36"/>
                <a:gd name="T46" fmla="*/ 52 w 57"/>
                <a:gd name="T47" fmla="*/ 13 h 36"/>
                <a:gd name="T48" fmla="*/ 57 w 57"/>
                <a:gd name="T49" fmla="*/ 16 h 36"/>
                <a:gd name="T50" fmla="*/ 52 w 57"/>
                <a:gd name="T51" fmla="*/ 18 h 36"/>
                <a:gd name="T52" fmla="*/ 52 w 57"/>
                <a:gd name="T53" fmla="*/ 21 h 36"/>
                <a:gd name="T54" fmla="*/ 54 w 57"/>
                <a:gd name="T55" fmla="*/ 21 h 36"/>
                <a:gd name="T56" fmla="*/ 54 w 57"/>
                <a:gd name="T57" fmla="*/ 23 h 36"/>
                <a:gd name="T58" fmla="*/ 54 w 57"/>
                <a:gd name="T59" fmla="*/ 23 h 36"/>
                <a:gd name="T60" fmla="*/ 54 w 57"/>
                <a:gd name="T61" fmla="*/ 29 h 36"/>
                <a:gd name="T62" fmla="*/ 54 w 57"/>
                <a:gd name="T63" fmla="*/ 29 h 36"/>
                <a:gd name="T64" fmla="*/ 54 w 57"/>
                <a:gd name="T65" fmla="*/ 31 h 36"/>
                <a:gd name="T66" fmla="*/ 52 w 57"/>
                <a:gd name="T67" fmla="*/ 34 h 36"/>
                <a:gd name="T68" fmla="*/ 49 w 57"/>
                <a:gd name="T69" fmla="*/ 36 h 36"/>
                <a:gd name="T70" fmla="*/ 44 w 57"/>
                <a:gd name="T71" fmla="*/ 36 h 36"/>
                <a:gd name="T72" fmla="*/ 42 w 57"/>
                <a:gd name="T73" fmla="*/ 31 h 36"/>
                <a:gd name="T74" fmla="*/ 42 w 57"/>
                <a:gd name="T75" fmla="*/ 34 h 36"/>
                <a:gd name="T76" fmla="*/ 42 w 57"/>
                <a:gd name="T77" fmla="*/ 36 h 36"/>
                <a:gd name="T78" fmla="*/ 42 w 57"/>
                <a:gd name="T79" fmla="*/ 36 h 36"/>
                <a:gd name="T80" fmla="*/ 42 w 57"/>
                <a:gd name="T81" fmla="*/ 34 h 36"/>
                <a:gd name="T82" fmla="*/ 36 w 57"/>
                <a:gd name="T83" fmla="*/ 34 h 36"/>
                <a:gd name="T84" fmla="*/ 31 w 57"/>
                <a:gd name="T85" fmla="*/ 31 h 36"/>
                <a:gd name="T86" fmla="*/ 31 w 57"/>
                <a:gd name="T87" fmla="*/ 31 h 36"/>
                <a:gd name="T88" fmla="*/ 29 w 57"/>
                <a:gd name="T89" fmla="*/ 34 h 36"/>
                <a:gd name="T90" fmla="*/ 26 w 57"/>
                <a:gd name="T91" fmla="*/ 31 h 36"/>
                <a:gd name="T92" fmla="*/ 26 w 57"/>
                <a:gd name="T93" fmla="*/ 26 h 36"/>
                <a:gd name="T94" fmla="*/ 21 w 57"/>
                <a:gd name="T95" fmla="*/ 23 h 36"/>
                <a:gd name="T96" fmla="*/ 21 w 57"/>
                <a:gd name="T97" fmla="*/ 21 h 36"/>
                <a:gd name="T98" fmla="*/ 18 w 57"/>
                <a:gd name="T99" fmla="*/ 18 h 36"/>
                <a:gd name="T100" fmla="*/ 16 w 57"/>
                <a:gd name="T101" fmla="*/ 13 h 36"/>
                <a:gd name="T102" fmla="*/ 16 w 57"/>
                <a:gd name="T103" fmla="*/ 10 h 36"/>
                <a:gd name="T104" fmla="*/ 10 w 57"/>
                <a:gd name="T105" fmla="*/ 8 h 36"/>
                <a:gd name="T106" fmla="*/ 3 w 57"/>
                <a:gd name="T10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3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7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7" y="21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7" y="36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9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9" y="31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6" name="Freeform 106"/>
            <p:cNvSpPr>
              <a:spLocks/>
            </p:cNvSpPr>
            <p:nvPr/>
          </p:nvSpPr>
          <p:spPr bwMode="auto">
            <a:xfrm>
              <a:off x="1046" y="2662"/>
              <a:ext cx="57" cy="36"/>
            </a:xfrm>
            <a:custGeom>
              <a:avLst/>
              <a:gdLst>
                <a:gd name="T0" fmla="*/ 3 w 57"/>
                <a:gd name="T1" fmla="*/ 0 h 36"/>
                <a:gd name="T2" fmla="*/ 8 w 57"/>
                <a:gd name="T3" fmla="*/ 3 h 36"/>
                <a:gd name="T4" fmla="*/ 13 w 57"/>
                <a:gd name="T5" fmla="*/ 3 h 36"/>
                <a:gd name="T6" fmla="*/ 10 w 57"/>
                <a:gd name="T7" fmla="*/ 3 h 36"/>
                <a:gd name="T8" fmla="*/ 10 w 57"/>
                <a:gd name="T9" fmla="*/ 5 h 36"/>
                <a:gd name="T10" fmla="*/ 10 w 57"/>
                <a:gd name="T11" fmla="*/ 5 h 36"/>
                <a:gd name="T12" fmla="*/ 13 w 57"/>
                <a:gd name="T13" fmla="*/ 5 h 36"/>
                <a:gd name="T14" fmla="*/ 16 w 57"/>
                <a:gd name="T15" fmla="*/ 5 h 36"/>
                <a:gd name="T16" fmla="*/ 18 w 57"/>
                <a:gd name="T17" fmla="*/ 5 h 36"/>
                <a:gd name="T18" fmla="*/ 18 w 57"/>
                <a:gd name="T19" fmla="*/ 5 h 36"/>
                <a:gd name="T20" fmla="*/ 21 w 57"/>
                <a:gd name="T21" fmla="*/ 8 h 36"/>
                <a:gd name="T22" fmla="*/ 23 w 57"/>
                <a:gd name="T23" fmla="*/ 8 h 36"/>
                <a:gd name="T24" fmla="*/ 23 w 57"/>
                <a:gd name="T25" fmla="*/ 8 h 36"/>
                <a:gd name="T26" fmla="*/ 26 w 57"/>
                <a:gd name="T27" fmla="*/ 8 h 36"/>
                <a:gd name="T28" fmla="*/ 29 w 57"/>
                <a:gd name="T29" fmla="*/ 8 h 36"/>
                <a:gd name="T30" fmla="*/ 29 w 57"/>
                <a:gd name="T31" fmla="*/ 10 h 36"/>
                <a:gd name="T32" fmla="*/ 31 w 57"/>
                <a:gd name="T33" fmla="*/ 10 h 36"/>
                <a:gd name="T34" fmla="*/ 34 w 57"/>
                <a:gd name="T35" fmla="*/ 10 h 36"/>
                <a:gd name="T36" fmla="*/ 39 w 57"/>
                <a:gd name="T37" fmla="*/ 10 h 36"/>
                <a:gd name="T38" fmla="*/ 39 w 57"/>
                <a:gd name="T39" fmla="*/ 10 h 36"/>
                <a:gd name="T40" fmla="*/ 39 w 57"/>
                <a:gd name="T41" fmla="*/ 10 h 36"/>
                <a:gd name="T42" fmla="*/ 42 w 57"/>
                <a:gd name="T43" fmla="*/ 16 h 36"/>
                <a:gd name="T44" fmla="*/ 47 w 57"/>
                <a:gd name="T45" fmla="*/ 16 h 36"/>
                <a:gd name="T46" fmla="*/ 52 w 57"/>
                <a:gd name="T47" fmla="*/ 13 h 36"/>
                <a:gd name="T48" fmla="*/ 57 w 57"/>
                <a:gd name="T49" fmla="*/ 16 h 36"/>
                <a:gd name="T50" fmla="*/ 52 w 57"/>
                <a:gd name="T51" fmla="*/ 18 h 36"/>
                <a:gd name="T52" fmla="*/ 52 w 57"/>
                <a:gd name="T53" fmla="*/ 21 h 36"/>
                <a:gd name="T54" fmla="*/ 54 w 57"/>
                <a:gd name="T55" fmla="*/ 21 h 36"/>
                <a:gd name="T56" fmla="*/ 54 w 57"/>
                <a:gd name="T57" fmla="*/ 23 h 36"/>
                <a:gd name="T58" fmla="*/ 54 w 57"/>
                <a:gd name="T59" fmla="*/ 23 h 36"/>
                <a:gd name="T60" fmla="*/ 54 w 57"/>
                <a:gd name="T61" fmla="*/ 29 h 36"/>
                <a:gd name="T62" fmla="*/ 54 w 57"/>
                <a:gd name="T63" fmla="*/ 29 h 36"/>
                <a:gd name="T64" fmla="*/ 54 w 57"/>
                <a:gd name="T65" fmla="*/ 31 h 36"/>
                <a:gd name="T66" fmla="*/ 52 w 57"/>
                <a:gd name="T67" fmla="*/ 34 h 36"/>
                <a:gd name="T68" fmla="*/ 49 w 57"/>
                <a:gd name="T69" fmla="*/ 36 h 36"/>
                <a:gd name="T70" fmla="*/ 44 w 57"/>
                <a:gd name="T71" fmla="*/ 36 h 36"/>
                <a:gd name="T72" fmla="*/ 42 w 57"/>
                <a:gd name="T73" fmla="*/ 31 h 36"/>
                <a:gd name="T74" fmla="*/ 42 w 57"/>
                <a:gd name="T75" fmla="*/ 34 h 36"/>
                <a:gd name="T76" fmla="*/ 42 w 57"/>
                <a:gd name="T77" fmla="*/ 36 h 36"/>
                <a:gd name="T78" fmla="*/ 42 w 57"/>
                <a:gd name="T79" fmla="*/ 36 h 36"/>
                <a:gd name="T80" fmla="*/ 42 w 57"/>
                <a:gd name="T81" fmla="*/ 34 h 36"/>
                <a:gd name="T82" fmla="*/ 36 w 57"/>
                <a:gd name="T83" fmla="*/ 34 h 36"/>
                <a:gd name="T84" fmla="*/ 31 w 57"/>
                <a:gd name="T85" fmla="*/ 31 h 36"/>
                <a:gd name="T86" fmla="*/ 31 w 57"/>
                <a:gd name="T87" fmla="*/ 31 h 36"/>
                <a:gd name="T88" fmla="*/ 29 w 57"/>
                <a:gd name="T89" fmla="*/ 34 h 36"/>
                <a:gd name="T90" fmla="*/ 26 w 57"/>
                <a:gd name="T91" fmla="*/ 31 h 36"/>
                <a:gd name="T92" fmla="*/ 26 w 57"/>
                <a:gd name="T93" fmla="*/ 26 h 36"/>
                <a:gd name="T94" fmla="*/ 21 w 57"/>
                <a:gd name="T95" fmla="*/ 23 h 36"/>
                <a:gd name="T96" fmla="*/ 21 w 57"/>
                <a:gd name="T97" fmla="*/ 21 h 36"/>
                <a:gd name="T98" fmla="*/ 18 w 57"/>
                <a:gd name="T99" fmla="*/ 18 h 36"/>
                <a:gd name="T100" fmla="*/ 16 w 57"/>
                <a:gd name="T101" fmla="*/ 13 h 36"/>
                <a:gd name="T102" fmla="*/ 16 w 57"/>
                <a:gd name="T103" fmla="*/ 10 h 36"/>
                <a:gd name="T104" fmla="*/ 10 w 57"/>
                <a:gd name="T105" fmla="*/ 8 h 36"/>
                <a:gd name="T106" fmla="*/ 3 w 57"/>
                <a:gd name="T10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" h="36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3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7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7" y="21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7" y="36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2" y="31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9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9" y="31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7" name="Freeform 107"/>
            <p:cNvSpPr>
              <a:spLocks/>
            </p:cNvSpPr>
            <p:nvPr/>
          </p:nvSpPr>
          <p:spPr bwMode="auto">
            <a:xfrm>
              <a:off x="1049" y="2595"/>
              <a:ext cx="15" cy="23"/>
            </a:xfrm>
            <a:custGeom>
              <a:avLst/>
              <a:gdLst>
                <a:gd name="T0" fmla="*/ 0 w 15"/>
                <a:gd name="T1" fmla="*/ 0 h 23"/>
                <a:gd name="T2" fmla="*/ 2 w 15"/>
                <a:gd name="T3" fmla="*/ 0 h 23"/>
                <a:gd name="T4" fmla="*/ 2 w 15"/>
                <a:gd name="T5" fmla="*/ 0 h 23"/>
                <a:gd name="T6" fmla="*/ 7 w 15"/>
                <a:gd name="T7" fmla="*/ 2 h 23"/>
                <a:gd name="T8" fmla="*/ 10 w 15"/>
                <a:gd name="T9" fmla="*/ 2 h 23"/>
                <a:gd name="T10" fmla="*/ 10 w 15"/>
                <a:gd name="T11" fmla="*/ 2 h 23"/>
                <a:gd name="T12" fmla="*/ 13 w 15"/>
                <a:gd name="T13" fmla="*/ 0 h 23"/>
                <a:gd name="T14" fmla="*/ 15 w 15"/>
                <a:gd name="T15" fmla="*/ 0 h 23"/>
                <a:gd name="T16" fmla="*/ 15 w 15"/>
                <a:gd name="T17" fmla="*/ 2 h 23"/>
                <a:gd name="T18" fmla="*/ 13 w 15"/>
                <a:gd name="T19" fmla="*/ 5 h 23"/>
                <a:gd name="T20" fmla="*/ 13 w 15"/>
                <a:gd name="T21" fmla="*/ 7 h 23"/>
                <a:gd name="T22" fmla="*/ 13 w 15"/>
                <a:gd name="T23" fmla="*/ 10 h 23"/>
                <a:gd name="T24" fmla="*/ 15 w 15"/>
                <a:gd name="T25" fmla="*/ 10 h 23"/>
                <a:gd name="T26" fmla="*/ 15 w 15"/>
                <a:gd name="T27" fmla="*/ 10 h 23"/>
                <a:gd name="T28" fmla="*/ 13 w 15"/>
                <a:gd name="T29" fmla="*/ 13 h 23"/>
                <a:gd name="T30" fmla="*/ 15 w 15"/>
                <a:gd name="T31" fmla="*/ 15 h 23"/>
                <a:gd name="T32" fmla="*/ 15 w 15"/>
                <a:gd name="T33" fmla="*/ 15 h 23"/>
                <a:gd name="T34" fmla="*/ 15 w 15"/>
                <a:gd name="T35" fmla="*/ 15 h 23"/>
                <a:gd name="T36" fmla="*/ 15 w 15"/>
                <a:gd name="T37" fmla="*/ 15 h 23"/>
                <a:gd name="T38" fmla="*/ 15 w 15"/>
                <a:gd name="T39" fmla="*/ 15 h 23"/>
                <a:gd name="T40" fmla="*/ 13 w 15"/>
                <a:gd name="T41" fmla="*/ 18 h 23"/>
                <a:gd name="T42" fmla="*/ 13 w 15"/>
                <a:gd name="T43" fmla="*/ 18 h 23"/>
                <a:gd name="T44" fmla="*/ 13 w 15"/>
                <a:gd name="T45" fmla="*/ 20 h 23"/>
                <a:gd name="T46" fmla="*/ 10 w 15"/>
                <a:gd name="T47" fmla="*/ 23 h 23"/>
                <a:gd name="T48" fmla="*/ 7 w 15"/>
                <a:gd name="T49" fmla="*/ 20 h 23"/>
                <a:gd name="T50" fmla="*/ 7 w 15"/>
                <a:gd name="T51" fmla="*/ 20 h 23"/>
                <a:gd name="T52" fmla="*/ 7 w 15"/>
                <a:gd name="T53" fmla="*/ 20 h 23"/>
                <a:gd name="T54" fmla="*/ 5 w 15"/>
                <a:gd name="T55" fmla="*/ 20 h 23"/>
                <a:gd name="T56" fmla="*/ 5 w 15"/>
                <a:gd name="T57" fmla="*/ 18 h 23"/>
                <a:gd name="T58" fmla="*/ 7 w 15"/>
                <a:gd name="T59" fmla="*/ 15 h 23"/>
                <a:gd name="T60" fmla="*/ 5 w 15"/>
                <a:gd name="T61" fmla="*/ 10 h 23"/>
                <a:gd name="T62" fmla="*/ 2 w 15"/>
                <a:gd name="T63" fmla="*/ 2 h 23"/>
                <a:gd name="T64" fmla="*/ 0 w 15"/>
                <a:gd name="T6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2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5" y="7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8" name="Freeform 108"/>
            <p:cNvSpPr>
              <a:spLocks/>
            </p:cNvSpPr>
            <p:nvPr/>
          </p:nvSpPr>
          <p:spPr bwMode="auto">
            <a:xfrm>
              <a:off x="1049" y="2595"/>
              <a:ext cx="15" cy="23"/>
            </a:xfrm>
            <a:custGeom>
              <a:avLst/>
              <a:gdLst>
                <a:gd name="T0" fmla="*/ 0 w 15"/>
                <a:gd name="T1" fmla="*/ 0 h 23"/>
                <a:gd name="T2" fmla="*/ 2 w 15"/>
                <a:gd name="T3" fmla="*/ 0 h 23"/>
                <a:gd name="T4" fmla="*/ 2 w 15"/>
                <a:gd name="T5" fmla="*/ 0 h 23"/>
                <a:gd name="T6" fmla="*/ 7 w 15"/>
                <a:gd name="T7" fmla="*/ 2 h 23"/>
                <a:gd name="T8" fmla="*/ 10 w 15"/>
                <a:gd name="T9" fmla="*/ 2 h 23"/>
                <a:gd name="T10" fmla="*/ 10 w 15"/>
                <a:gd name="T11" fmla="*/ 2 h 23"/>
                <a:gd name="T12" fmla="*/ 13 w 15"/>
                <a:gd name="T13" fmla="*/ 0 h 23"/>
                <a:gd name="T14" fmla="*/ 15 w 15"/>
                <a:gd name="T15" fmla="*/ 0 h 23"/>
                <a:gd name="T16" fmla="*/ 15 w 15"/>
                <a:gd name="T17" fmla="*/ 2 h 23"/>
                <a:gd name="T18" fmla="*/ 13 w 15"/>
                <a:gd name="T19" fmla="*/ 5 h 23"/>
                <a:gd name="T20" fmla="*/ 13 w 15"/>
                <a:gd name="T21" fmla="*/ 7 h 23"/>
                <a:gd name="T22" fmla="*/ 13 w 15"/>
                <a:gd name="T23" fmla="*/ 10 h 23"/>
                <a:gd name="T24" fmla="*/ 15 w 15"/>
                <a:gd name="T25" fmla="*/ 10 h 23"/>
                <a:gd name="T26" fmla="*/ 15 w 15"/>
                <a:gd name="T27" fmla="*/ 10 h 23"/>
                <a:gd name="T28" fmla="*/ 13 w 15"/>
                <a:gd name="T29" fmla="*/ 13 h 23"/>
                <a:gd name="T30" fmla="*/ 15 w 15"/>
                <a:gd name="T31" fmla="*/ 15 h 23"/>
                <a:gd name="T32" fmla="*/ 15 w 15"/>
                <a:gd name="T33" fmla="*/ 15 h 23"/>
                <a:gd name="T34" fmla="*/ 15 w 15"/>
                <a:gd name="T35" fmla="*/ 15 h 23"/>
                <a:gd name="T36" fmla="*/ 15 w 15"/>
                <a:gd name="T37" fmla="*/ 15 h 23"/>
                <a:gd name="T38" fmla="*/ 15 w 15"/>
                <a:gd name="T39" fmla="*/ 15 h 23"/>
                <a:gd name="T40" fmla="*/ 13 w 15"/>
                <a:gd name="T41" fmla="*/ 18 h 23"/>
                <a:gd name="T42" fmla="*/ 13 w 15"/>
                <a:gd name="T43" fmla="*/ 18 h 23"/>
                <a:gd name="T44" fmla="*/ 13 w 15"/>
                <a:gd name="T45" fmla="*/ 20 h 23"/>
                <a:gd name="T46" fmla="*/ 10 w 15"/>
                <a:gd name="T47" fmla="*/ 23 h 23"/>
                <a:gd name="T48" fmla="*/ 7 w 15"/>
                <a:gd name="T49" fmla="*/ 20 h 23"/>
                <a:gd name="T50" fmla="*/ 7 w 15"/>
                <a:gd name="T51" fmla="*/ 20 h 23"/>
                <a:gd name="T52" fmla="*/ 7 w 15"/>
                <a:gd name="T53" fmla="*/ 20 h 23"/>
                <a:gd name="T54" fmla="*/ 5 w 15"/>
                <a:gd name="T55" fmla="*/ 20 h 23"/>
                <a:gd name="T56" fmla="*/ 5 w 15"/>
                <a:gd name="T57" fmla="*/ 18 h 23"/>
                <a:gd name="T58" fmla="*/ 7 w 15"/>
                <a:gd name="T59" fmla="*/ 15 h 23"/>
                <a:gd name="T60" fmla="*/ 5 w 15"/>
                <a:gd name="T61" fmla="*/ 10 h 23"/>
                <a:gd name="T62" fmla="*/ 2 w 15"/>
                <a:gd name="T63" fmla="*/ 2 h 23"/>
                <a:gd name="T64" fmla="*/ 0 w 15"/>
                <a:gd name="T6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2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5" y="7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69" name="Freeform 109"/>
            <p:cNvSpPr>
              <a:spLocks/>
            </p:cNvSpPr>
            <p:nvPr/>
          </p:nvSpPr>
          <p:spPr bwMode="auto">
            <a:xfrm>
              <a:off x="1049" y="2595"/>
              <a:ext cx="15" cy="23"/>
            </a:xfrm>
            <a:custGeom>
              <a:avLst/>
              <a:gdLst>
                <a:gd name="T0" fmla="*/ 0 w 15"/>
                <a:gd name="T1" fmla="*/ 0 h 23"/>
                <a:gd name="T2" fmla="*/ 2 w 15"/>
                <a:gd name="T3" fmla="*/ 0 h 23"/>
                <a:gd name="T4" fmla="*/ 2 w 15"/>
                <a:gd name="T5" fmla="*/ 0 h 23"/>
                <a:gd name="T6" fmla="*/ 7 w 15"/>
                <a:gd name="T7" fmla="*/ 2 h 23"/>
                <a:gd name="T8" fmla="*/ 10 w 15"/>
                <a:gd name="T9" fmla="*/ 2 h 23"/>
                <a:gd name="T10" fmla="*/ 10 w 15"/>
                <a:gd name="T11" fmla="*/ 2 h 23"/>
                <a:gd name="T12" fmla="*/ 13 w 15"/>
                <a:gd name="T13" fmla="*/ 0 h 23"/>
                <a:gd name="T14" fmla="*/ 15 w 15"/>
                <a:gd name="T15" fmla="*/ 0 h 23"/>
                <a:gd name="T16" fmla="*/ 15 w 15"/>
                <a:gd name="T17" fmla="*/ 2 h 23"/>
                <a:gd name="T18" fmla="*/ 13 w 15"/>
                <a:gd name="T19" fmla="*/ 5 h 23"/>
                <a:gd name="T20" fmla="*/ 13 w 15"/>
                <a:gd name="T21" fmla="*/ 7 h 23"/>
                <a:gd name="T22" fmla="*/ 13 w 15"/>
                <a:gd name="T23" fmla="*/ 10 h 23"/>
                <a:gd name="T24" fmla="*/ 15 w 15"/>
                <a:gd name="T25" fmla="*/ 10 h 23"/>
                <a:gd name="T26" fmla="*/ 15 w 15"/>
                <a:gd name="T27" fmla="*/ 10 h 23"/>
                <a:gd name="T28" fmla="*/ 13 w 15"/>
                <a:gd name="T29" fmla="*/ 13 h 23"/>
                <a:gd name="T30" fmla="*/ 15 w 15"/>
                <a:gd name="T31" fmla="*/ 15 h 23"/>
                <a:gd name="T32" fmla="*/ 15 w 15"/>
                <a:gd name="T33" fmla="*/ 15 h 23"/>
                <a:gd name="T34" fmla="*/ 15 w 15"/>
                <a:gd name="T35" fmla="*/ 15 h 23"/>
                <a:gd name="T36" fmla="*/ 15 w 15"/>
                <a:gd name="T37" fmla="*/ 15 h 23"/>
                <a:gd name="T38" fmla="*/ 15 w 15"/>
                <a:gd name="T39" fmla="*/ 15 h 23"/>
                <a:gd name="T40" fmla="*/ 13 w 15"/>
                <a:gd name="T41" fmla="*/ 18 h 23"/>
                <a:gd name="T42" fmla="*/ 13 w 15"/>
                <a:gd name="T43" fmla="*/ 18 h 23"/>
                <a:gd name="T44" fmla="*/ 13 w 15"/>
                <a:gd name="T45" fmla="*/ 20 h 23"/>
                <a:gd name="T46" fmla="*/ 10 w 15"/>
                <a:gd name="T47" fmla="*/ 23 h 23"/>
                <a:gd name="T48" fmla="*/ 7 w 15"/>
                <a:gd name="T49" fmla="*/ 20 h 23"/>
                <a:gd name="T50" fmla="*/ 7 w 15"/>
                <a:gd name="T51" fmla="*/ 20 h 23"/>
                <a:gd name="T52" fmla="*/ 7 w 15"/>
                <a:gd name="T53" fmla="*/ 20 h 23"/>
                <a:gd name="T54" fmla="*/ 5 w 15"/>
                <a:gd name="T55" fmla="*/ 20 h 23"/>
                <a:gd name="T56" fmla="*/ 5 w 15"/>
                <a:gd name="T57" fmla="*/ 18 h 23"/>
                <a:gd name="T58" fmla="*/ 7 w 15"/>
                <a:gd name="T59" fmla="*/ 15 h 23"/>
                <a:gd name="T60" fmla="*/ 5 w 15"/>
                <a:gd name="T61" fmla="*/ 10 h 23"/>
                <a:gd name="T62" fmla="*/ 2 w 15"/>
                <a:gd name="T63" fmla="*/ 2 h 23"/>
                <a:gd name="T64" fmla="*/ 0 w 15"/>
                <a:gd name="T6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2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5" y="7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0" name="Freeform 110"/>
            <p:cNvSpPr>
              <a:spLocks/>
            </p:cNvSpPr>
            <p:nvPr/>
          </p:nvSpPr>
          <p:spPr bwMode="auto">
            <a:xfrm>
              <a:off x="1049" y="2595"/>
              <a:ext cx="15" cy="23"/>
            </a:xfrm>
            <a:custGeom>
              <a:avLst/>
              <a:gdLst>
                <a:gd name="T0" fmla="*/ 0 w 15"/>
                <a:gd name="T1" fmla="*/ 0 h 23"/>
                <a:gd name="T2" fmla="*/ 2 w 15"/>
                <a:gd name="T3" fmla="*/ 0 h 23"/>
                <a:gd name="T4" fmla="*/ 2 w 15"/>
                <a:gd name="T5" fmla="*/ 0 h 23"/>
                <a:gd name="T6" fmla="*/ 7 w 15"/>
                <a:gd name="T7" fmla="*/ 2 h 23"/>
                <a:gd name="T8" fmla="*/ 10 w 15"/>
                <a:gd name="T9" fmla="*/ 2 h 23"/>
                <a:gd name="T10" fmla="*/ 10 w 15"/>
                <a:gd name="T11" fmla="*/ 2 h 23"/>
                <a:gd name="T12" fmla="*/ 13 w 15"/>
                <a:gd name="T13" fmla="*/ 0 h 23"/>
                <a:gd name="T14" fmla="*/ 15 w 15"/>
                <a:gd name="T15" fmla="*/ 0 h 23"/>
                <a:gd name="T16" fmla="*/ 15 w 15"/>
                <a:gd name="T17" fmla="*/ 2 h 23"/>
                <a:gd name="T18" fmla="*/ 13 w 15"/>
                <a:gd name="T19" fmla="*/ 5 h 23"/>
                <a:gd name="T20" fmla="*/ 13 w 15"/>
                <a:gd name="T21" fmla="*/ 7 h 23"/>
                <a:gd name="T22" fmla="*/ 13 w 15"/>
                <a:gd name="T23" fmla="*/ 10 h 23"/>
                <a:gd name="T24" fmla="*/ 15 w 15"/>
                <a:gd name="T25" fmla="*/ 10 h 23"/>
                <a:gd name="T26" fmla="*/ 15 w 15"/>
                <a:gd name="T27" fmla="*/ 10 h 23"/>
                <a:gd name="T28" fmla="*/ 13 w 15"/>
                <a:gd name="T29" fmla="*/ 13 h 23"/>
                <a:gd name="T30" fmla="*/ 15 w 15"/>
                <a:gd name="T31" fmla="*/ 15 h 23"/>
                <a:gd name="T32" fmla="*/ 15 w 15"/>
                <a:gd name="T33" fmla="*/ 15 h 23"/>
                <a:gd name="T34" fmla="*/ 15 w 15"/>
                <a:gd name="T35" fmla="*/ 15 h 23"/>
                <a:gd name="T36" fmla="*/ 15 w 15"/>
                <a:gd name="T37" fmla="*/ 15 h 23"/>
                <a:gd name="T38" fmla="*/ 15 w 15"/>
                <a:gd name="T39" fmla="*/ 15 h 23"/>
                <a:gd name="T40" fmla="*/ 13 w 15"/>
                <a:gd name="T41" fmla="*/ 18 h 23"/>
                <a:gd name="T42" fmla="*/ 13 w 15"/>
                <a:gd name="T43" fmla="*/ 18 h 23"/>
                <a:gd name="T44" fmla="*/ 13 w 15"/>
                <a:gd name="T45" fmla="*/ 20 h 23"/>
                <a:gd name="T46" fmla="*/ 10 w 15"/>
                <a:gd name="T47" fmla="*/ 23 h 23"/>
                <a:gd name="T48" fmla="*/ 7 w 15"/>
                <a:gd name="T49" fmla="*/ 20 h 23"/>
                <a:gd name="T50" fmla="*/ 7 w 15"/>
                <a:gd name="T51" fmla="*/ 20 h 23"/>
                <a:gd name="T52" fmla="*/ 7 w 15"/>
                <a:gd name="T53" fmla="*/ 20 h 23"/>
                <a:gd name="T54" fmla="*/ 5 w 15"/>
                <a:gd name="T55" fmla="*/ 20 h 23"/>
                <a:gd name="T56" fmla="*/ 5 w 15"/>
                <a:gd name="T57" fmla="*/ 18 h 23"/>
                <a:gd name="T58" fmla="*/ 7 w 15"/>
                <a:gd name="T59" fmla="*/ 15 h 23"/>
                <a:gd name="T60" fmla="*/ 5 w 15"/>
                <a:gd name="T61" fmla="*/ 10 h 23"/>
                <a:gd name="T62" fmla="*/ 2 w 15"/>
                <a:gd name="T63" fmla="*/ 2 h 23"/>
                <a:gd name="T64" fmla="*/ 0 w 15"/>
                <a:gd name="T6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2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5" y="10"/>
                  </a:lnTo>
                  <a:lnTo>
                    <a:pt x="5" y="7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1" name="Freeform 111"/>
            <p:cNvSpPr>
              <a:spLocks/>
            </p:cNvSpPr>
            <p:nvPr/>
          </p:nvSpPr>
          <p:spPr bwMode="auto">
            <a:xfrm>
              <a:off x="754" y="2784"/>
              <a:ext cx="401" cy="384"/>
            </a:xfrm>
            <a:custGeom>
              <a:avLst/>
              <a:gdLst>
                <a:gd name="T0" fmla="*/ 20 w 401"/>
                <a:gd name="T1" fmla="*/ 249 h 384"/>
                <a:gd name="T2" fmla="*/ 28 w 401"/>
                <a:gd name="T3" fmla="*/ 236 h 384"/>
                <a:gd name="T4" fmla="*/ 41 w 401"/>
                <a:gd name="T5" fmla="*/ 202 h 384"/>
                <a:gd name="T6" fmla="*/ 33 w 401"/>
                <a:gd name="T7" fmla="*/ 168 h 384"/>
                <a:gd name="T8" fmla="*/ 18 w 401"/>
                <a:gd name="T9" fmla="*/ 148 h 384"/>
                <a:gd name="T10" fmla="*/ 10 w 401"/>
                <a:gd name="T11" fmla="*/ 124 h 384"/>
                <a:gd name="T12" fmla="*/ 31 w 401"/>
                <a:gd name="T13" fmla="*/ 109 h 384"/>
                <a:gd name="T14" fmla="*/ 59 w 401"/>
                <a:gd name="T15" fmla="*/ 122 h 384"/>
                <a:gd name="T16" fmla="*/ 82 w 401"/>
                <a:gd name="T17" fmla="*/ 111 h 384"/>
                <a:gd name="T18" fmla="*/ 106 w 401"/>
                <a:gd name="T19" fmla="*/ 93 h 384"/>
                <a:gd name="T20" fmla="*/ 106 w 401"/>
                <a:gd name="T21" fmla="*/ 70 h 384"/>
                <a:gd name="T22" fmla="*/ 160 w 401"/>
                <a:gd name="T23" fmla="*/ 44 h 384"/>
                <a:gd name="T24" fmla="*/ 189 w 401"/>
                <a:gd name="T25" fmla="*/ 26 h 384"/>
                <a:gd name="T26" fmla="*/ 204 w 401"/>
                <a:gd name="T27" fmla="*/ 13 h 384"/>
                <a:gd name="T28" fmla="*/ 233 w 401"/>
                <a:gd name="T29" fmla="*/ 34 h 384"/>
                <a:gd name="T30" fmla="*/ 230 w 401"/>
                <a:gd name="T31" fmla="*/ 60 h 384"/>
                <a:gd name="T32" fmla="*/ 225 w 401"/>
                <a:gd name="T33" fmla="*/ 75 h 384"/>
                <a:gd name="T34" fmla="*/ 251 w 401"/>
                <a:gd name="T35" fmla="*/ 80 h 384"/>
                <a:gd name="T36" fmla="*/ 279 w 401"/>
                <a:gd name="T37" fmla="*/ 70 h 384"/>
                <a:gd name="T38" fmla="*/ 287 w 401"/>
                <a:gd name="T39" fmla="*/ 52 h 384"/>
                <a:gd name="T40" fmla="*/ 277 w 401"/>
                <a:gd name="T41" fmla="*/ 23 h 384"/>
                <a:gd name="T42" fmla="*/ 284 w 401"/>
                <a:gd name="T43" fmla="*/ 16 h 384"/>
                <a:gd name="T44" fmla="*/ 315 w 401"/>
                <a:gd name="T45" fmla="*/ 3 h 384"/>
                <a:gd name="T46" fmla="*/ 318 w 401"/>
                <a:gd name="T47" fmla="*/ 21 h 384"/>
                <a:gd name="T48" fmla="*/ 346 w 401"/>
                <a:gd name="T49" fmla="*/ 16 h 384"/>
                <a:gd name="T50" fmla="*/ 362 w 401"/>
                <a:gd name="T51" fmla="*/ 18 h 384"/>
                <a:gd name="T52" fmla="*/ 349 w 401"/>
                <a:gd name="T53" fmla="*/ 34 h 384"/>
                <a:gd name="T54" fmla="*/ 354 w 401"/>
                <a:gd name="T55" fmla="*/ 54 h 384"/>
                <a:gd name="T56" fmla="*/ 352 w 401"/>
                <a:gd name="T57" fmla="*/ 67 h 384"/>
                <a:gd name="T58" fmla="*/ 365 w 401"/>
                <a:gd name="T59" fmla="*/ 75 h 384"/>
                <a:gd name="T60" fmla="*/ 372 w 401"/>
                <a:gd name="T61" fmla="*/ 98 h 384"/>
                <a:gd name="T62" fmla="*/ 385 w 401"/>
                <a:gd name="T63" fmla="*/ 109 h 384"/>
                <a:gd name="T64" fmla="*/ 398 w 401"/>
                <a:gd name="T65" fmla="*/ 127 h 384"/>
                <a:gd name="T66" fmla="*/ 390 w 401"/>
                <a:gd name="T67" fmla="*/ 150 h 384"/>
                <a:gd name="T68" fmla="*/ 383 w 401"/>
                <a:gd name="T69" fmla="*/ 174 h 384"/>
                <a:gd name="T70" fmla="*/ 365 w 401"/>
                <a:gd name="T71" fmla="*/ 189 h 384"/>
                <a:gd name="T72" fmla="*/ 339 w 401"/>
                <a:gd name="T73" fmla="*/ 189 h 384"/>
                <a:gd name="T74" fmla="*/ 313 w 401"/>
                <a:gd name="T75" fmla="*/ 202 h 384"/>
                <a:gd name="T76" fmla="*/ 310 w 401"/>
                <a:gd name="T77" fmla="*/ 223 h 384"/>
                <a:gd name="T78" fmla="*/ 315 w 401"/>
                <a:gd name="T79" fmla="*/ 244 h 384"/>
                <a:gd name="T80" fmla="*/ 297 w 401"/>
                <a:gd name="T81" fmla="*/ 257 h 384"/>
                <a:gd name="T82" fmla="*/ 284 w 401"/>
                <a:gd name="T83" fmla="*/ 283 h 384"/>
                <a:gd name="T84" fmla="*/ 258 w 401"/>
                <a:gd name="T85" fmla="*/ 296 h 384"/>
                <a:gd name="T86" fmla="*/ 246 w 401"/>
                <a:gd name="T87" fmla="*/ 319 h 384"/>
                <a:gd name="T88" fmla="*/ 225 w 401"/>
                <a:gd name="T89" fmla="*/ 290 h 384"/>
                <a:gd name="T90" fmla="*/ 209 w 401"/>
                <a:gd name="T91" fmla="*/ 290 h 384"/>
                <a:gd name="T92" fmla="*/ 201 w 401"/>
                <a:gd name="T93" fmla="*/ 301 h 384"/>
                <a:gd name="T94" fmla="*/ 186 w 401"/>
                <a:gd name="T95" fmla="*/ 311 h 384"/>
                <a:gd name="T96" fmla="*/ 168 w 401"/>
                <a:gd name="T97" fmla="*/ 321 h 384"/>
                <a:gd name="T98" fmla="*/ 147 w 401"/>
                <a:gd name="T99" fmla="*/ 329 h 384"/>
                <a:gd name="T100" fmla="*/ 124 w 401"/>
                <a:gd name="T101" fmla="*/ 342 h 384"/>
                <a:gd name="T102" fmla="*/ 116 w 401"/>
                <a:gd name="T103" fmla="*/ 353 h 384"/>
                <a:gd name="T104" fmla="*/ 101 w 401"/>
                <a:gd name="T105" fmla="*/ 360 h 384"/>
                <a:gd name="T106" fmla="*/ 88 w 401"/>
                <a:gd name="T107" fmla="*/ 379 h 384"/>
                <a:gd name="T108" fmla="*/ 67 w 401"/>
                <a:gd name="T109" fmla="*/ 381 h 384"/>
                <a:gd name="T110" fmla="*/ 59 w 401"/>
                <a:gd name="T111" fmla="*/ 384 h 384"/>
                <a:gd name="T112" fmla="*/ 51 w 401"/>
                <a:gd name="T113" fmla="*/ 358 h 384"/>
                <a:gd name="T114" fmla="*/ 36 w 401"/>
                <a:gd name="T115" fmla="*/ 347 h 384"/>
                <a:gd name="T116" fmla="*/ 33 w 401"/>
                <a:gd name="T117" fmla="*/ 332 h 384"/>
                <a:gd name="T118" fmla="*/ 18 w 401"/>
                <a:gd name="T119" fmla="*/ 314 h 384"/>
                <a:gd name="T120" fmla="*/ 23 w 401"/>
                <a:gd name="T121" fmla="*/ 290 h 384"/>
                <a:gd name="T122" fmla="*/ 7 w 401"/>
                <a:gd name="T123" fmla="*/ 27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1" h="384">
                  <a:moveTo>
                    <a:pt x="0" y="257"/>
                  </a:moveTo>
                  <a:lnTo>
                    <a:pt x="0" y="257"/>
                  </a:lnTo>
                  <a:lnTo>
                    <a:pt x="2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7" y="257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10" y="259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7"/>
                  </a:lnTo>
                  <a:lnTo>
                    <a:pt x="10" y="257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5" y="251"/>
                  </a:lnTo>
                  <a:lnTo>
                    <a:pt x="18" y="251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4"/>
                  </a:lnTo>
                  <a:lnTo>
                    <a:pt x="23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8" y="241"/>
                  </a:lnTo>
                  <a:lnTo>
                    <a:pt x="31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1" y="233"/>
                  </a:lnTo>
                  <a:lnTo>
                    <a:pt x="28" y="236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3"/>
                  </a:lnTo>
                  <a:lnTo>
                    <a:pt x="23" y="231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6"/>
                  </a:lnTo>
                  <a:lnTo>
                    <a:pt x="25" y="223"/>
                  </a:lnTo>
                  <a:lnTo>
                    <a:pt x="28" y="220"/>
                  </a:lnTo>
                  <a:lnTo>
                    <a:pt x="28" y="218"/>
                  </a:lnTo>
                  <a:lnTo>
                    <a:pt x="28" y="215"/>
                  </a:lnTo>
                  <a:lnTo>
                    <a:pt x="31" y="215"/>
                  </a:lnTo>
                  <a:lnTo>
                    <a:pt x="31" y="213"/>
                  </a:lnTo>
                  <a:lnTo>
                    <a:pt x="33" y="213"/>
                  </a:lnTo>
                  <a:lnTo>
                    <a:pt x="33" y="210"/>
                  </a:lnTo>
                  <a:lnTo>
                    <a:pt x="36" y="210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41" y="202"/>
                  </a:lnTo>
                  <a:lnTo>
                    <a:pt x="41" y="202"/>
                  </a:lnTo>
                  <a:lnTo>
                    <a:pt x="38" y="200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41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6" y="197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41" y="184"/>
                  </a:lnTo>
                  <a:lnTo>
                    <a:pt x="38" y="184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3" y="174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28" y="166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6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0" y="150"/>
                  </a:lnTo>
                  <a:lnTo>
                    <a:pt x="18" y="150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3" y="132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7"/>
                  </a:lnTo>
                  <a:lnTo>
                    <a:pt x="10" y="127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3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8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1" y="114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4"/>
                  </a:lnTo>
                  <a:lnTo>
                    <a:pt x="38" y="114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9" y="114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9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7" y="119"/>
                  </a:lnTo>
                  <a:lnTo>
                    <a:pt x="57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4"/>
                  </a:lnTo>
                  <a:lnTo>
                    <a:pt x="72" y="114"/>
                  </a:lnTo>
                  <a:lnTo>
                    <a:pt x="75" y="111"/>
                  </a:lnTo>
                  <a:lnTo>
                    <a:pt x="77" y="111"/>
                  </a:lnTo>
                  <a:lnTo>
                    <a:pt x="82" y="111"/>
                  </a:lnTo>
                  <a:lnTo>
                    <a:pt x="85" y="109"/>
                  </a:lnTo>
                  <a:lnTo>
                    <a:pt x="88" y="109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1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8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1"/>
                  </a:lnTo>
                  <a:lnTo>
                    <a:pt x="103" y="91"/>
                  </a:lnTo>
                  <a:lnTo>
                    <a:pt x="101" y="88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3" y="86"/>
                  </a:lnTo>
                  <a:lnTo>
                    <a:pt x="93" y="83"/>
                  </a:lnTo>
                  <a:lnTo>
                    <a:pt x="90" y="83"/>
                  </a:lnTo>
                  <a:lnTo>
                    <a:pt x="93" y="83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5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11" y="70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3" y="65"/>
                  </a:lnTo>
                  <a:lnTo>
                    <a:pt x="113" y="62"/>
                  </a:lnTo>
                  <a:lnTo>
                    <a:pt x="116" y="62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21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4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4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9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5" y="47"/>
                  </a:lnTo>
                  <a:lnTo>
                    <a:pt x="152" y="47"/>
                  </a:lnTo>
                  <a:lnTo>
                    <a:pt x="160" y="47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1"/>
                  </a:lnTo>
                  <a:lnTo>
                    <a:pt x="168" y="39"/>
                  </a:lnTo>
                  <a:lnTo>
                    <a:pt x="168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3" y="39"/>
                  </a:lnTo>
                  <a:lnTo>
                    <a:pt x="173" y="36"/>
                  </a:lnTo>
                  <a:lnTo>
                    <a:pt x="176" y="36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6" y="31"/>
                  </a:lnTo>
                  <a:lnTo>
                    <a:pt x="178" y="31"/>
                  </a:lnTo>
                  <a:lnTo>
                    <a:pt x="181" y="31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1"/>
                  </a:lnTo>
                  <a:lnTo>
                    <a:pt x="194" y="21"/>
                  </a:lnTo>
                  <a:lnTo>
                    <a:pt x="194" y="21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1" y="13"/>
                  </a:lnTo>
                  <a:lnTo>
                    <a:pt x="194" y="10"/>
                  </a:lnTo>
                  <a:lnTo>
                    <a:pt x="194" y="8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201" y="13"/>
                  </a:lnTo>
                  <a:lnTo>
                    <a:pt x="201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6"/>
                  </a:lnTo>
                  <a:lnTo>
                    <a:pt x="204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9" y="23"/>
                  </a:lnTo>
                  <a:lnTo>
                    <a:pt x="212" y="23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20" y="26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8" y="36"/>
                  </a:lnTo>
                  <a:lnTo>
                    <a:pt x="238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3" y="39"/>
                  </a:lnTo>
                  <a:lnTo>
                    <a:pt x="230" y="39"/>
                  </a:lnTo>
                  <a:lnTo>
                    <a:pt x="230" y="41"/>
                  </a:lnTo>
                  <a:lnTo>
                    <a:pt x="230" y="41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9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27" y="54"/>
                  </a:lnTo>
                  <a:lnTo>
                    <a:pt x="227" y="54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5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33" y="73"/>
                  </a:lnTo>
                  <a:lnTo>
                    <a:pt x="233" y="75"/>
                  </a:lnTo>
                  <a:lnTo>
                    <a:pt x="230" y="75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7" y="78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30" y="80"/>
                  </a:lnTo>
                  <a:lnTo>
                    <a:pt x="230" y="80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3" y="83"/>
                  </a:lnTo>
                  <a:lnTo>
                    <a:pt x="235" y="86"/>
                  </a:lnTo>
                  <a:lnTo>
                    <a:pt x="235" y="86"/>
                  </a:lnTo>
                  <a:lnTo>
                    <a:pt x="238" y="86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3" y="78"/>
                  </a:lnTo>
                  <a:lnTo>
                    <a:pt x="256" y="78"/>
                  </a:lnTo>
                  <a:lnTo>
                    <a:pt x="258" y="78"/>
                  </a:lnTo>
                  <a:lnTo>
                    <a:pt x="258" y="78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4" y="75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9" y="70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9" y="70"/>
                  </a:lnTo>
                  <a:lnTo>
                    <a:pt x="269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9" y="70"/>
                  </a:lnTo>
                  <a:lnTo>
                    <a:pt x="279" y="70"/>
                  </a:lnTo>
                  <a:lnTo>
                    <a:pt x="279" y="73"/>
                  </a:lnTo>
                  <a:lnTo>
                    <a:pt x="282" y="73"/>
                  </a:lnTo>
                  <a:lnTo>
                    <a:pt x="282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2" y="70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7" y="65"/>
                  </a:lnTo>
                  <a:lnTo>
                    <a:pt x="287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0" y="57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4"/>
                  </a:lnTo>
                  <a:lnTo>
                    <a:pt x="290" y="41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6"/>
                  </a:lnTo>
                  <a:lnTo>
                    <a:pt x="290" y="36"/>
                  </a:lnTo>
                  <a:lnTo>
                    <a:pt x="290" y="34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4" y="26"/>
                  </a:lnTo>
                  <a:lnTo>
                    <a:pt x="282" y="23"/>
                  </a:lnTo>
                  <a:lnTo>
                    <a:pt x="279" y="23"/>
                  </a:lnTo>
                  <a:lnTo>
                    <a:pt x="277" y="23"/>
                  </a:lnTo>
                  <a:lnTo>
                    <a:pt x="274" y="21"/>
                  </a:lnTo>
                  <a:lnTo>
                    <a:pt x="271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0"/>
                  </a:lnTo>
                  <a:lnTo>
                    <a:pt x="271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79" y="13"/>
                  </a:lnTo>
                  <a:lnTo>
                    <a:pt x="282" y="16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4" y="13"/>
                  </a:lnTo>
                  <a:lnTo>
                    <a:pt x="284" y="16"/>
                  </a:lnTo>
                  <a:lnTo>
                    <a:pt x="284" y="13"/>
                  </a:lnTo>
                  <a:lnTo>
                    <a:pt x="287" y="13"/>
                  </a:lnTo>
                  <a:lnTo>
                    <a:pt x="287" y="10"/>
                  </a:lnTo>
                  <a:lnTo>
                    <a:pt x="290" y="10"/>
                  </a:lnTo>
                  <a:lnTo>
                    <a:pt x="290" y="8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7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0" y="3"/>
                  </a:lnTo>
                  <a:lnTo>
                    <a:pt x="305" y="3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5" y="0"/>
                  </a:lnTo>
                  <a:lnTo>
                    <a:pt x="315" y="0"/>
                  </a:lnTo>
                  <a:lnTo>
                    <a:pt x="315" y="3"/>
                  </a:lnTo>
                  <a:lnTo>
                    <a:pt x="313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8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18" y="13"/>
                  </a:lnTo>
                  <a:lnTo>
                    <a:pt x="315" y="13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3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8" y="23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4" y="21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3"/>
                  </a:lnTo>
                  <a:lnTo>
                    <a:pt x="346" y="13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52" y="10"/>
                  </a:lnTo>
                  <a:lnTo>
                    <a:pt x="352" y="8"/>
                  </a:lnTo>
                  <a:lnTo>
                    <a:pt x="354" y="8"/>
                  </a:lnTo>
                  <a:lnTo>
                    <a:pt x="354" y="8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7" y="5"/>
                  </a:lnTo>
                  <a:lnTo>
                    <a:pt x="359" y="5"/>
                  </a:lnTo>
                  <a:lnTo>
                    <a:pt x="362" y="5"/>
                  </a:lnTo>
                  <a:lnTo>
                    <a:pt x="362" y="5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2" y="10"/>
                  </a:lnTo>
                  <a:lnTo>
                    <a:pt x="362" y="13"/>
                  </a:lnTo>
                  <a:lnTo>
                    <a:pt x="359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5" y="18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8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2" y="34"/>
                  </a:lnTo>
                  <a:lnTo>
                    <a:pt x="352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6"/>
                  </a:lnTo>
                  <a:lnTo>
                    <a:pt x="346" y="36"/>
                  </a:lnTo>
                  <a:lnTo>
                    <a:pt x="349" y="39"/>
                  </a:lnTo>
                  <a:lnTo>
                    <a:pt x="346" y="39"/>
                  </a:lnTo>
                  <a:lnTo>
                    <a:pt x="346" y="41"/>
                  </a:lnTo>
                  <a:lnTo>
                    <a:pt x="344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7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7" y="49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2" y="52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7"/>
                  </a:lnTo>
                  <a:lnTo>
                    <a:pt x="354" y="57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6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4" y="67"/>
                  </a:lnTo>
                  <a:lnTo>
                    <a:pt x="354" y="67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3"/>
                  </a:lnTo>
                  <a:lnTo>
                    <a:pt x="365" y="73"/>
                  </a:lnTo>
                  <a:lnTo>
                    <a:pt x="365" y="73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8"/>
                  </a:lnTo>
                  <a:lnTo>
                    <a:pt x="370" y="78"/>
                  </a:lnTo>
                  <a:lnTo>
                    <a:pt x="370" y="78"/>
                  </a:lnTo>
                  <a:lnTo>
                    <a:pt x="372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3"/>
                  </a:lnTo>
                  <a:lnTo>
                    <a:pt x="367" y="83"/>
                  </a:lnTo>
                  <a:lnTo>
                    <a:pt x="370" y="86"/>
                  </a:lnTo>
                  <a:lnTo>
                    <a:pt x="370" y="86"/>
                  </a:lnTo>
                  <a:lnTo>
                    <a:pt x="372" y="88"/>
                  </a:lnTo>
                  <a:lnTo>
                    <a:pt x="370" y="88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2" y="91"/>
                  </a:lnTo>
                  <a:lnTo>
                    <a:pt x="370" y="93"/>
                  </a:lnTo>
                  <a:lnTo>
                    <a:pt x="370" y="93"/>
                  </a:lnTo>
                  <a:lnTo>
                    <a:pt x="367" y="93"/>
                  </a:lnTo>
                  <a:lnTo>
                    <a:pt x="370" y="96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5" y="96"/>
                  </a:lnTo>
                  <a:lnTo>
                    <a:pt x="375" y="96"/>
                  </a:lnTo>
                  <a:lnTo>
                    <a:pt x="378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3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9"/>
                  </a:lnTo>
                  <a:lnTo>
                    <a:pt x="388" y="109"/>
                  </a:lnTo>
                  <a:lnTo>
                    <a:pt x="388" y="111"/>
                  </a:lnTo>
                  <a:lnTo>
                    <a:pt x="388" y="114"/>
                  </a:lnTo>
                  <a:lnTo>
                    <a:pt x="388" y="114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8" y="117"/>
                  </a:lnTo>
                  <a:lnTo>
                    <a:pt x="390" y="117"/>
                  </a:lnTo>
                  <a:lnTo>
                    <a:pt x="390" y="114"/>
                  </a:lnTo>
                  <a:lnTo>
                    <a:pt x="393" y="117"/>
                  </a:lnTo>
                  <a:lnTo>
                    <a:pt x="393" y="117"/>
                  </a:lnTo>
                  <a:lnTo>
                    <a:pt x="396" y="117"/>
                  </a:lnTo>
                  <a:lnTo>
                    <a:pt x="398" y="117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1" y="117"/>
                  </a:lnTo>
                  <a:lnTo>
                    <a:pt x="398" y="117"/>
                  </a:lnTo>
                  <a:lnTo>
                    <a:pt x="398" y="119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4"/>
                  </a:lnTo>
                  <a:lnTo>
                    <a:pt x="396" y="124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30"/>
                  </a:lnTo>
                  <a:lnTo>
                    <a:pt x="396" y="132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0" y="135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3" y="137"/>
                  </a:lnTo>
                  <a:lnTo>
                    <a:pt x="393" y="137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0" y="150"/>
                  </a:lnTo>
                  <a:lnTo>
                    <a:pt x="390" y="150"/>
                  </a:lnTo>
                  <a:lnTo>
                    <a:pt x="390" y="153"/>
                  </a:lnTo>
                  <a:lnTo>
                    <a:pt x="390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3"/>
                  </a:lnTo>
                  <a:lnTo>
                    <a:pt x="398" y="156"/>
                  </a:lnTo>
                  <a:lnTo>
                    <a:pt x="396" y="156"/>
                  </a:lnTo>
                  <a:lnTo>
                    <a:pt x="396" y="156"/>
                  </a:lnTo>
                  <a:lnTo>
                    <a:pt x="393" y="156"/>
                  </a:lnTo>
                  <a:lnTo>
                    <a:pt x="393" y="156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90" y="163"/>
                  </a:lnTo>
                  <a:lnTo>
                    <a:pt x="388" y="163"/>
                  </a:lnTo>
                  <a:lnTo>
                    <a:pt x="388" y="166"/>
                  </a:lnTo>
                  <a:lnTo>
                    <a:pt x="385" y="168"/>
                  </a:lnTo>
                  <a:lnTo>
                    <a:pt x="383" y="168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3" y="171"/>
                  </a:lnTo>
                  <a:lnTo>
                    <a:pt x="383" y="174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0" y="176"/>
                  </a:lnTo>
                  <a:lnTo>
                    <a:pt x="380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5" y="179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5" y="181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72" y="187"/>
                  </a:lnTo>
                  <a:lnTo>
                    <a:pt x="372" y="184"/>
                  </a:lnTo>
                  <a:lnTo>
                    <a:pt x="370" y="184"/>
                  </a:lnTo>
                  <a:lnTo>
                    <a:pt x="370" y="184"/>
                  </a:lnTo>
                  <a:lnTo>
                    <a:pt x="367" y="184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5" y="189"/>
                  </a:lnTo>
                  <a:lnTo>
                    <a:pt x="365" y="187"/>
                  </a:lnTo>
                  <a:lnTo>
                    <a:pt x="362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7" y="184"/>
                  </a:lnTo>
                  <a:lnTo>
                    <a:pt x="359" y="184"/>
                  </a:lnTo>
                  <a:lnTo>
                    <a:pt x="359" y="181"/>
                  </a:lnTo>
                  <a:lnTo>
                    <a:pt x="359" y="179"/>
                  </a:lnTo>
                  <a:lnTo>
                    <a:pt x="357" y="179"/>
                  </a:lnTo>
                  <a:lnTo>
                    <a:pt x="357" y="179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2" y="179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49" y="179"/>
                  </a:lnTo>
                  <a:lnTo>
                    <a:pt x="339" y="181"/>
                  </a:lnTo>
                  <a:lnTo>
                    <a:pt x="336" y="181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41" y="189"/>
                  </a:lnTo>
                  <a:lnTo>
                    <a:pt x="339" y="189"/>
                  </a:lnTo>
                  <a:lnTo>
                    <a:pt x="339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4" y="192"/>
                  </a:lnTo>
                  <a:lnTo>
                    <a:pt x="344" y="192"/>
                  </a:lnTo>
                  <a:lnTo>
                    <a:pt x="344" y="194"/>
                  </a:lnTo>
                  <a:lnTo>
                    <a:pt x="344" y="194"/>
                  </a:lnTo>
                  <a:lnTo>
                    <a:pt x="341" y="197"/>
                  </a:lnTo>
                  <a:lnTo>
                    <a:pt x="339" y="197"/>
                  </a:lnTo>
                  <a:lnTo>
                    <a:pt x="336" y="197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200"/>
                  </a:lnTo>
                  <a:lnTo>
                    <a:pt x="328" y="200"/>
                  </a:lnTo>
                  <a:lnTo>
                    <a:pt x="326" y="200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1" y="202"/>
                  </a:lnTo>
                  <a:lnTo>
                    <a:pt x="318" y="202"/>
                  </a:lnTo>
                  <a:lnTo>
                    <a:pt x="315" y="200"/>
                  </a:lnTo>
                  <a:lnTo>
                    <a:pt x="313" y="200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5"/>
                  </a:lnTo>
                  <a:lnTo>
                    <a:pt x="313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08" y="205"/>
                  </a:lnTo>
                  <a:lnTo>
                    <a:pt x="308" y="207"/>
                  </a:lnTo>
                  <a:lnTo>
                    <a:pt x="308" y="207"/>
                  </a:lnTo>
                  <a:lnTo>
                    <a:pt x="305" y="210"/>
                  </a:lnTo>
                  <a:lnTo>
                    <a:pt x="302" y="213"/>
                  </a:lnTo>
                  <a:lnTo>
                    <a:pt x="300" y="215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20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5" y="223"/>
                  </a:lnTo>
                  <a:lnTo>
                    <a:pt x="305" y="223"/>
                  </a:lnTo>
                  <a:lnTo>
                    <a:pt x="308" y="223"/>
                  </a:lnTo>
                  <a:lnTo>
                    <a:pt x="310" y="223"/>
                  </a:lnTo>
                  <a:lnTo>
                    <a:pt x="310" y="220"/>
                  </a:lnTo>
                  <a:lnTo>
                    <a:pt x="313" y="220"/>
                  </a:lnTo>
                  <a:lnTo>
                    <a:pt x="315" y="218"/>
                  </a:lnTo>
                  <a:lnTo>
                    <a:pt x="315" y="218"/>
                  </a:lnTo>
                  <a:lnTo>
                    <a:pt x="318" y="218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3"/>
                  </a:lnTo>
                  <a:lnTo>
                    <a:pt x="318" y="223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21" y="226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3" y="228"/>
                  </a:lnTo>
                  <a:lnTo>
                    <a:pt x="323" y="231"/>
                  </a:lnTo>
                  <a:lnTo>
                    <a:pt x="321" y="231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6"/>
                  </a:lnTo>
                  <a:lnTo>
                    <a:pt x="321" y="236"/>
                  </a:lnTo>
                  <a:lnTo>
                    <a:pt x="318" y="239"/>
                  </a:lnTo>
                  <a:lnTo>
                    <a:pt x="318" y="239"/>
                  </a:lnTo>
                  <a:lnTo>
                    <a:pt x="318" y="241"/>
                  </a:lnTo>
                  <a:lnTo>
                    <a:pt x="315" y="241"/>
                  </a:lnTo>
                  <a:lnTo>
                    <a:pt x="315" y="244"/>
                  </a:lnTo>
                  <a:lnTo>
                    <a:pt x="315" y="244"/>
                  </a:lnTo>
                  <a:lnTo>
                    <a:pt x="315" y="246"/>
                  </a:lnTo>
                  <a:lnTo>
                    <a:pt x="318" y="246"/>
                  </a:lnTo>
                  <a:lnTo>
                    <a:pt x="318" y="246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3" y="246"/>
                  </a:lnTo>
                  <a:lnTo>
                    <a:pt x="313" y="246"/>
                  </a:lnTo>
                  <a:lnTo>
                    <a:pt x="313" y="249"/>
                  </a:lnTo>
                  <a:lnTo>
                    <a:pt x="313" y="249"/>
                  </a:lnTo>
                  <a:lnTo>
                    <a:pt x="310" y="249"/>
                  </a:lnTo>
                  <a:lnTo>
                    <a:pt x="308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300" y="249"/>
                  </a:lnTo>
                  <a:lnTo>
                    <a:pt x="300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5" y="249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7" y="257"/>
                  </a:lnTo>
                  <a:lnTo>
                    <a:pt x="295" y="257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7" y="262"/>
                  </a:lnTo>
                  <a:lnTo>
                    <a:pt x="297" y="262"/>
                  </a:lnTo>
                  <a:lnTo>
                    <a:pt x="297" y="264"/>
                  </a:lnTo>
                  <a:lnTo>
                    <a:pt x="295" y="264"/>
                  </a:lnTo>
                  <a:lnTo>
                    <a:pt x="295" y="267"/>
                  </a:lnTo>
                  <a:lnTo>
                    <a:pt x="292" y="267"/>
                  </a:lnTo>
                  <a:lnTo>
                    <a:pt x="292" y="270"/>
                  </a:lnTo>
                  <a:lnTo>
                    <a:pt x="290" y="270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5"/>
                  </a:lnTo>
                  <a:lnTo>
                    <a:pt x="290" y="275"/>
                  </a:lnTo>
                  <a:lnTo>
                    <a:pt x="290" y="277"/>
                  </a:lnTo>
                  <a:lnTo>
                    <a:pt x="290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80"/>
                  </a:lnTo>
                  <a:lnTo>
                    <a:pt x="287" y="280"/>
                  </a:lnTo>
                  <a:lnTo>
                    <a:pt x="284" y="283"/>
                  </a:lnTo>
                  <a:lnTo>
                    <a:pt x="284" y="283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79" y="288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7" y="290"/>
                  </a:lnTo>
                  <a:lnTo>
                    <a:pt x="277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1" y="290"/>
                  </a:lnTo>
                  <a:lnTo>
                    <a:pt x="271" y="290"/>
                  </a:lnTo>
                  <a:lnTo>
                    <a:pt x="271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6" y="288"/>
                  </a:lnTo>
                  <a:lnTo>
                    <a:pt x="266" y="290"/>
                  </a:lnTo>
                  <a:lnTo>
                    <a:pt x="261" y="293"/>
                  </a:lnTo>
                  <a:lnTo>
                    <a:pt x="261" y="293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56" y="298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3" y="303"/>
                  </a:lnTo>
                  <a:lnTo>
                    <a:pt x="251" y="303"/>
                  </a:lnTo>
                  <a:lnTo>
                    <a:pt x="251" y="303"/>
                  </a:lnTo>
                  <a:lnTo>
                    <a:pt x="251" y="306"/>
                  </a:lnTo>
                  <a:lnTo>
                    <a:pt x="251" y="306"/>
                  </a:lnTo>
                  <a:lnTo>
                    <a:pt x="253" y="306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6" y="314"/>
                  </a:lnTo>
                  <a:lnTo>
                    <a:pt x="253" y="316"/>
                  </a:lnTo>
                  <a:lnTo>
                    <a:pt x="253" y="316"/>
                  </a:lnTo>
                  <a:lnTo>
                    <a:pt x="253" y="319"/>
                  </a:lnTo>
                  <a:lnTo>
                    <a:pt x="253" y="319"/>
                  </a:lnTo>
                  <a:lnTo>
                    <a:pt x="251" y="319"/>
                  </a:lnTo>
                  <a:lnTo>
                    <a:pt x="251" y="319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48" y="319"/>
                  </a:lnTo>
                  <a:lnTo>
                    <a:pt x="248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3" y="319"/>
                  </a:lnTo>
                  <a:lnTo>
                    <a:pt x="243" y="319"/>
                  </a:lnTo>
                  <a:lnTo>
                    <a:pt x="243" y="316"/>
                  </a:lnTo>
                  <a:lnTo>
                    <a:pt x="243" y="316"/>
                  </a:lnTo>
                  <a:lnTo>
                    <a:pt x="240" y="314"/>
                  </a:lnTo>
                  <a:lnTo>
                    <a:pt x="238" y="311"/>
                  </a:lnTo>
                  <a:lnTo>
                    <a:pt x="235" y="309"/>
                  </a:lnTo>
                  <a:lnTo>
                    <a:pt x="233" y="306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1"/>
                  </a:lnTo>
                  <a:lnTo>
                    <a:pt x="235" y="298"/>
                  </a:lnTo>
                  <a:lnTo>
                    <a:pt x="235" y="296"/>
                  </a:lnTo>
                  <a:lnTo>
                    <a:pt x="233" y="296"/>
                  </a:lnTo>
                  <a:lnTo>
                    <a:pt x="233" y="296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5" y="290"/>
                  </a:lnTo>
                  <a:lnTo>
                    <a:pt x="225" y="288"/>
                  </a:lnTo>
                  <a:lnTo>
                    <a:pt x="222" y="288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17" y="280"/>
                  </a:lnTo>
                  <a:lnTo>
                    <a:pt x="217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2" y="277"/>
                  </a:lnTo>
                  <a:lnTo>
                    <a:pt x="209" y="280"/>
                  </a:lnTo>
                  <a:lnTo>
                    <a:pt x="209" y="280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12" y="290"/>
                  </a:lnTo>
                  <a:lnTo>
                    <a:pt x="209" y="290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2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8"/>
                  </a:lnTo>
                  <a:lnTo>
                    <a:pt x="201" y="298"/>
                  </a:lnTo>
                  <a:lnTo>
                    <a:pt x="201" y="298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201" y="298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9"/>
                  </a:lnTo>
                  <a:lnTo>
                    <a:pt x="196" y="309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1" y="309"/>
                  </a:lnTo>
                  <a:lnTo>
                    <a:pt x="191" y="311"/>
                  </a:lnTo>
                  <a:lnTo>
                    <a:pt x="191" y="311"/>
                  </a:lnTo>
                  <a:lnTo>
                    <a:pt x="191" y="314"/>
                  </a:lnTo>
                  <a:lnTo>
                    <a:pt x="191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6" y="311"/>
                  </a:lnTo>
                  <a:lnTo>
                    <a:pt x="183" y="311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1" y="314"/>
                  </a:lnTo>
                  <a:lnTo>
                    <a:pt x="181" y="314"/>
                  </a:lnTo>
                  <a:lnTo>
                    <a:pt x="181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0" y="316"/>
                  </a:lnTo>
                  <a:lnTo>
                    <a:pt x="170" y="316"/>
                  </a:lnTo>
                  <a:lnTo>
                    <a:pt x="168" y="316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5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57" y="332"/>
                  </a:lnTo>
                  <a:lnTo>
                    <a:pt x="157" y="332"/>
                  </a:lnTo>
                  <a:lnTo>
                    <a:pt x="155" y="332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29"/>
                  </a:lnTo>
                  <a:lnTo>
                    <a:pt x="150" y="329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7" y="334"/>
                  </a:lnTo>
                  <a:lnTo>
                    <a:pt x="145" y="334"/>
                  </a:lnTo>
                  <a:lnTo>
                    <a:pt x="145" y="334"/>
                  </a:lnTo>
                  <a:lnTo>
                    <a:pt x="142" y="334"/>
                  </a:lnTo>
                  <a:lnTo>
                    <a:pt x="142" y="334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4"/>
                  </a:lnTo>
                  <a:lnTo>
                    <a:pt x="137" y="337"/>
                  </a:lnTo>
                  <a:lnTo>
                    <a:pt x="137" y="337"/>
                  </a:lnTo>
                  <a:lnTo>
                    <a:pt x="137" y="340"/>
                  </a:lnTo>
                  <a:lnTo>
                    <a:pt x="137" y="337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2" y="334"/>
                  </a:lnTo>
                  <a:lnTo>
                    <a:pt x="132" y="334"/>
                  </a:lnTo>
                  <a:lnTo>
                    <a:pt x="132" y="337"/>
                  </a:lnTo>
                  <a:lnTo>
                    <a:pt x="129" y="337"/>
                  </a:lnTo>
                  <a:lnTo>
                    <a:pt x="129" y="340"/>
                  </a:lnTo>
                  <a:lnTo>
                    <a:pt x="126" y="340"/>
                  </a:lnTo>
                  <a:lnTo>
                    <a:pt x="126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5"/>
                  </a:lnTo>
                  <a:lnTo>
                    <a:pt x="124" y="345"/>
                  </a:lnTo>
                  <a:lnTo>
                    <a:pt x="121" y="345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19" y="342"/>
                  </a:lnTo>
                  <a:lnTo>
                    <a:pt x="119" y="342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3" y="347"/>
                  </a:lnTo>
                  <a:lnTo>
                    <a:pt x="113" y="350"/>
                  </a:lnTo>
                  <a:lnTo>
                    <a:pt x="113" y="350"/>
                  </a:lnTo>
                  <a:lnTo>
                    <a:pt x="116" y="350"/>
                  </a:lnTo>
                  <a:lnTo>
                    <a:pt x="113" y="350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6" y="353"/>
                  </a:lnTo>
                  <a:lnTo>
                    <a:pt x="116" y="355"/>
                  </a:lnTo>
                  <a:lnTo>
                    <a:pt x="116" y="355"/>
                  </a:lnTo>
                  <a:lnTo>
                    <a:pt x="116" y="358"/>
                  </a:lnTo>
                  <a:lnTo>
                    <a:pt x="116" y="360"/>
                  </a:lnTo>
                  <a:lnTo>
                    <a:pt x="113" y="360"/>
                  </a:lnTo>
                  <a:lnTo>
                    <a:pt x="113" y="360"/>
                  </a:lnTo>
                  <a:lnTo>
                    <a:pt x="111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6" y="360"/>
                  </a:lnTo>
                  <a:lnTo>
                    <a:pt x="106" y="358"/>
                  </a:lnTo>
                  <a:lnTo>
                    <a:pt x="106" y="358"/>
                  </a:lnTo>
                  <a:lnTo>
                    <a:pt x="106" y="355"/>
                  </a:lnTo>
                  <a:lnTo>
                    <a:pt x="103" y="355"/>
                  </a:lnTo>
                  <a:lnTo>
                    <a:pt x="103" y="355"/>
                  </a:lnTo>
                  <a:lnTo>
                    <a:pt x="101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6"/>
                  </a:lnTo>
                  <a:lnTo>
                    <a:pt x="98" y="366"/>
                  </a:lnTo>
                  <a:lnTo>
                    <a:pt x="101" y="366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3" y="368"/>
                  </a:lnTo>
                  <a:lnTo>
                    <a:pt x="101" y="371"/>
                  </a:lnTo>
                  <a:lnTo>
                    <a:pt x="101" y="373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9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98" y="379"/>
                  </a:lnTo>
                  <a:lnTo>
                    <a:pt x="98" y="379"/>
                  </a:lnTo>
                  <a:lnTo>
                    <a:pt x="95" y="381"/>
                  </a:lnTo>
                  <a:lnTo>
                    <a:pt x="93" y="381"/>
                  </a:lnTo>
                  <a:lnTo>
                    <a:pt x="93" y="381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5" y="381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9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0" y="373"/>
                  </a:lnTo>
                  <a:lnTo>
                    <a:pt x="80" y="373"/>
                  </a:lnTo>
                  <a:lnTo>
                    <a:pt x="77" y="376"/>
                  </a:lnTo>
                  <a:lnTo>
                    <a:pt x="75" y="376"/>
                  </a:lnTo>
                  <a:lnTo>
                    <a:pt x="72" y="376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69" y="381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4" y="381"/>
                  </a:lnTo>
                  <a:lnTo>
                    <a:pt x="64" y="381"/>
                  </a:lnTo>
                  <a:lnTo>
                    <a:pt x="64" y="379"/>
                  </a:lnTo>
                  <a:lnTo>
                    <a:pt x="64" y="376"/>
                  </a:lnTo>
                  <a:lnTo>
                    <a:pt x="64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3"/>
                  </a:lnTo>
                  <a:lnTo>
                    <a:pt x="62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6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81"/>
                  </a:lnTo>
                  <a:lnTo>
                    <a:pt x="59" y="381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1"/>
                  </a:lnTo>
                  <a:lnTo>
                    <a:pt x="57" y="381"/>
                  </a:lnTo>
                  <a:lnTo>
                    <a:pt x="54" y="379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4" y="371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4" y="363"/>
                  </a:lnTo>
                  <a:lnTo>
                    <a:pt x="54" y="363"/>
                  </a:lnTo>
                  <a:lnTo>
                    <a:pt x="54" y="360"/>
                  </a:lnTo>
                  <a:lnTo>
                    <a:pt x="51" y="360"/>
                  </a:lnTo>
                  <a:lnTo>
                    <a:pt x="51" y="360"/>
                  </a:lnTo>
                  <a:lnTo>
                    <a:pt x="51" y="358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49" y="353"/>
                  </a:lnTo>
                  <a:lnTo>
                    <a:pt x="49" y="353"/>
                  </a:lnTo>
                  <a:lnTo>
                    <a:pt x="46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1" y="353"/>
                  </a:lnTo>
                  <a:lnTo>
                    <a:pt x="41" y="353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0"/>
                  </a:lnTo>
                  <a:lnTo>
                    <a:pt x="38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3" y="347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4"/>
                  </a:lnTo>
                  <a:lnTo>
                    <a:pt x="44" y="334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1" y="332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3" y="332"/>
                  </a:lnTo>
                  <a:lnTo>
                    <a:pt x="33" y="332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1" y="324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5" y="316"/>
                  </a:lnTo>
                  <a:lnTo>
                    <a:pt x="25" y="316"/>
                  </a:lnTo>
                  <a:lnTo>
                    <a:pt x="23" y="316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3" y="303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5" y="296"/>
                  </a:lnTo>
                  <a:lnTo>
                    <a:pt x="15" y="296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0" y="290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3" y="293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5" y="288"/>
                  </a:lnTo>
                  <a:lnTo>
                    <a:pt x="23" y="285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5" y="280"/>
                  </a:lnTo>
                  <a:lnTo>
                    <a:pt x="23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8" y="270"/>
                  </a:lnTo>
                  <a:lnTo>
                    <a:pt x="15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7" y="270"/>
                  </a:lnTo>
                  <a:lnTo>
                    <a:pt x="5" y="270"/>
                  </a:lnTo>
                  <a:lnTo>
                    <a:pt x="5" y="272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0" y="25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2" name="Freeform 112"/>
            <p:cNvSpPr>
              <a:spLocks/>
            </p:cNvSpPr>
            <p:nvPr/>
          </p:nvSpPr>
          <p:spPr bwMode="auto">
            <a:xfrm>
              <a:off x="754" y="2784"/>
              <a:ext cx="401" cy="384"/>
            </a:xfrm>
            <a:custGeom>
              <a:avLst/>
              <a:gdLst>
                <a:gd name="T0" fmla="*/ 20 w 401"/>
                <a:gd name="T1" fmla="*/ 249 h 384"/>
                <a:gd name="T2" fmla="*/ 28 w 401"/>
                <a:gd name="T3" fmla="*/ 236 h 384"/>
                <a:gd name="T4" fmla="*/ 41 w 401"/>
                <a:gd name="T5" fmla="*/ 202 h 384"/>
                <a:gd name="T6" fmla="*/ 33 w 401"/>
                <a:gd name="T7" fmla="*/ 168 h 384"/>
                <a:gd name="T8" fmla="*/ 18 w 401"/>
                <a:gd name="T9" fmla="*/ 148 h 384"/>
                <a:gd name="T10" fmla="*/ 10 w 401"/>
                <a:gd name="T11" fmla="*/ 124 h 384"/>
                <a:gd name="T12" fmla="*/ 31 w 401"/>
                <a:gd name="T13" fmla="*/ 109 h 384"/>
                <a:gd name="T14" fmla="*/ 59 w 401"/>
                <a:gd name="T15" fmla="*/ 122 h 384"/>
                <a:gd name="T16" fmla="*/ 82 w 401"/>
                <a:gd name="T17" fmla="*/ 111 h 384"/>
                <a:gd name="T18" fmla="*/ 106 w 401"/>
                <a:gd name="T19" fmla="*/ 93 h 384"/>
                <a:gd name="T20" fmla="*/ 106 w 401"/>
                <a:gd name="T21" fmla="*/ 70 h 384"/>
                <a:gd name="T22" fmla="*/ 160 w 401"/>
                <a:gd name="T23" fmla="*/ 44 h 384"/>
                <a:gd name="T24" fmla="*/ 189 w 401"/>
                <a:gd name="T25" fmla="*/ 26 h 384"/>
                <a:gd name="T26" fmla="*/ 204 w 401"/>
                <a:gd name="T27" fmla="*/ 13 h 384"/>
                <a:gd name="T28" fmla="*/ 233 w 401"/>
                <a:gd name="T29" fmla="*/ 34 h 384"/>
                <a:gd name="T30" fmla="*/ 230 w 401"/>
                <a:gd name="T31" fmla="*/ 60 h 384"/>
                <a:gd name="T32" fmla="*/ 225 w 401"/>
                <a:gd name="T33" fmla="*/ 75 h 384"/>
                <a:gd name="T34" fmla="*/ 251 w 401"/>
                <a:gd name="T35" fmla="*/ 80 h 384"/>
                <a:gd name="T36" fmla="*/ 279 w 401"/>
                <a:gd name="T37" fmla="*/ 70 h 384"/>
                <a:gd name="T38" fmla="*/ 287 w 401"/>
                <a:gd name="T39" fmla="*/ 52 h 384"/>
                <a:gd name="T40" fmla="*/ 277 w 401"/>
                <a:gd name="T41" fmla="*/ 23 h 384"/>
                <a:gd name="T42" fmla="*/ 284 w 401"/>
                <a:gd name="T43" fmla="*/ 16 h 384"/>
                <a:gd name="T44" fmla="*/ 315 w 401"/>
                <a:gd name="T45" fmla="*/ 3 h 384"/>
                <a:gd name="T46" fmla="*/ 318 w 401"/>
                <a:gd name="T47" fmla="*/ 21 h 384"/>
                <a:gd name="T48" fmla="*/ 346 w 401"/>
                <a:gd name="T49" fmla="*/ 16 h 384"/>
                <a:gd name="T50" fmla="*/ 362 w 401"/>
                <a:gd name="T51" fmla="*/ 18 h 384"/>
                <a:gd name="T52" fmla="*/ 349 w 401"/>
                <a:gd name="T53" fmla="*/ 34 h 384"/>
                <a:gd name="T54" fmla="*/ 354 w 401"/>
                <a:gd name="T55" fmla="*/ 54 h 384"/>
                <a:gd name="T56" fmla="*/ 352 w 401"/>
                <a:gd name="T57" fmla="*/ 67 h 384"/>
                <a:gd name="T58" fmla="*/ 365 w 401"/>
                <a:gd name="T59" fmla="*/ 75 h 384"/>
                <a:gd name="T60" fmla="*/ 372 w 401"/>
                <a:gd name="T61" fmla="*/ 98 h 384"/>
                <a:gd name="T62" fmla="*/ 385 w 401"/>
                <a:gd name="T63" fmla="*/ 109 h 384"/>
                <a:gd name="T64" fmla="*/ 398 w 401"/>
                <a:gd name="T65" fmla="*/ 127 h 384"/>
                <a:gd name="T66" fmla="*/ 390 w 401"/>
                <a:gd name="T67" fmla="*/ 150 h 384"/>
                <a:gd name="T68" fmla="*/ 383 w 401"/>
                <a:gd name="T69" fmla="*/ 174 h 384"/>
                <a:gd name="T70" fmla="*/ 365 w 401"/>
                <a:gd name="T71" fmla="*/ 189 h 384"/>
                <a:gd name="T72" fmla="*/ 339 w 401"/>
                <a:gd name="T73" fmla="*/ 189 h 384"/>
                <a:gd name="T74" fmla="*/ 313 w 401"/>
                <a:gd name="T75" fmla="*/ 202 h 384"/>
                <a:gd name="T76" fmla="*/ 310 w 401"/>
                <a:gd name="T77" fmla="*/ 223 h 384"/>
                <a:gd name="T78" fmla="*/ 315 w 401"/>
                <a:gd name="T79" fmla="*/ 244 h 384"/>
                <a:gd name="T80" fmla="*/ 297 w 401"/>
                <a:gd name="T81" fmla="*/ 257 h 384"/>
                <a:gd name="T82" fmla="*/ 284 w 401"/>
                <a:gd name="T83" fmla="*/ 283 h 384"/>
                <a:gd name="T84" fmla="*/ 258 w 401"/>
                <a:gd name="T85" fmla="*/ 296 h 384"/>
                <a:gd name="T86" fmla="*/ 246 w 401"/>
                <a:gd name="T87" fmla="*/ 319 h 384"/>
                <a:gd name="T88" fmla="*/ 225 w 401"/>
                <a:gd name="T89" fmla="*/ 290 h 384"/>
                <a:gd name="T90" fmla="*/ 209 w 401"/>
                <a:gd name="T91" fmla="*/ 290 h 384"/>
                <a:gd name="T92" fmla="*/ 201 w 401"/>
                <a:gd name="T93" fmla="*/ 301 h 384"/>
                <a:gd name="T94" fmla="*/ 186 w 401"/>
                <a:gd name="T95" fmla="*/ 311 h 384"/>
                <a:gd name="T96" fmla="*/ 168 w 401"/>
                <a:gd name="T97" fmla="*/ 321 h 384"/>
                <a:gd name="T98" fmla="*/ 147 w 401"/>
                <a:gd name="T99" fmla="*/ 329 h 384"/>
                <a:gd name="T100" fmla="*/ 124 w 401"/>
                <a:gd name="T101" fmla="*/ 342 h 384"/>
                <a:gd name="T102" fmla="*/ 116 w 401"/>
                <a:gd name="T103" fmla="*/ 353 h 384"/>
                <a:gd name="T104" fmla="*/ 101 w 401"/>
                <a:gd name="T105" fmla="*/ 360 h 384"/>
                <a:gd name="T106" fmla="*/ 88 w 401"/>
                <a:gd name="T107" fmla="*/ 379 h 384"/>
                <a:gd name="T108" fmla="*/ 67 w 401"/>
                <a:gd name="T109" fmla="*/ 381 h 384"/>
                <a:gd name="T110" fmla="*/ 59 w 401"/>
                <a:gd name="T111" fmla="*/ 384 h 384"/>
                <a:gd name="T112" fmla="*/ 51 w 401"/>
                <a:gd name="T113" fmla="*/ 358 h 384"/>
                <a:gd name="T114" fmla="*/ 36 w 401"/>
                <a:gd name="T115" fmla="*/ 347 h 384"/>
                <a:gd name="T116" fmla="*/ 33 w 401"/>
                <a:gd name="T117" fmla="*/ 332 h 384"/>
                <a:gd name="T118" fmla="*/ 18 w 401"/>
                <a:gd name="T119" fmla="*/ 314 h 384"/>
                <a:gd name="T120" fmla="*/ 23 w 401"/>
                <a:gd name="T121" fmla="*/ 290 h 384"/>
                <a:gd name="T122" fmla="*/ 7 w 401"/>
                <a:gd name="T123" fmla="*/ 27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1" h="384">
                  <a:moveTo>
                    <a:pt x="0" y="257"/>
                  </a:moveTo>
                  <a:lnTo>
                    <a:pt x="0" y="257"/>
                  </a:lnTo>
                  <a:lnTo>
                    <a:pt x="2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7" y="257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10" y="259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7"/>
                  </a:lnTo>
                  <a:lnTo>
                    <a:pt x="10" y="257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5" y="251"/>
                  </a:lnTo>
                  <a:lnTo>
                    <a:pt x="18" y="251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4"/>
                  </a:lnTo>
                  <a:lnTo>
                    <a:pt x="23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8" y="241"/>
                  </a:lnTo>
                  <a:lnTo>
                    <a:pt x="31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1" y="233"/>
                  </a:lnTo>
                  <a:lnTo>
                    <a:pt x="28" y="236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3"/>
                  </a:lnTo>
                  <a:lnTo>
                    <a:pt x="23" y="231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6"/>
                  </a:lnTo>
                  <a:lnTo>
                    <a:pt x="25" y="223"/>
                  </a:lnTo>
                  <a:lnTo>
                    <a:pt x="28" y="220"/>
                  </a:lnTo>
                  <a:lnTo>
                    <a:pt x="28" y="218"/>
                  </a:lnTo>
                  <a:lnTo>
                    <a:pt x="28" y="215"/>
                  </a:lnTo>
                  <a:lnTo>
                    <a:pt x="31" y="215"/>
                  </a:lnTo>
                  <a:lnTo>
                    <a:pt x="31" y="213"/>
                  </a:lnTo>
                  <a:lnTo>
                    <a:pt x="33" y="213"/>
                  </a:lnTo>
                  <a:lnTo>
                    <a:pt x="33" y="210"/>
                  </a:lnTo>
                  <a:lnTo>
                    <a:pt x="36" y="210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41" y="202"/>
                  </a:lnTo>
                  <a:lnTo>
                    <a:pt x="41" y="202"/>
                  </a:lnTo>
                  <a:lnTo>
                    <a:pt x="38" y="200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41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6" y="197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41" y="184"/>
                  </a:lnTo>
                  <a:lnTo>
                    <a:pt x="38" y="184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3" y="174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28" y="166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6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0" y="150"/>
                  </a:lnTo>
                  <a:lnTo>
                    <a:pt x="18" y="150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3" y="132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7"/>
                  </a:lnTo>
                  <a:lnTo>
                    <a:pt x="10" y="127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3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8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1" y="114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4"/>
                  </a:lnTo>
                  <a:lnTo>
                    <a:pt x="38" y="114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9" y="114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9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7" y="119"/>
                  </a:lnTo>
                  <a:lnTo>
                    <a:pt x="57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4"/>
                  </a:lnTo>
                  <a:lnTo>
                    <a:pt x="72" y="114"/>
                  </a:lnTo>
                  <a:lnTo>
                    <a:pt x="75" y="111"/>
                  </a:lnTo>
                  <a:lnTo>
                    <a:pt x="77" y="111"/>
                  </a:lnTo>
                  <a:lnTo>
                    <a:pt x="82" y="111"/>
                  </a:lnTo>
                  <a:lnTo>
                    <a:pt x="85" y="109"/>
                  </a:lnTo>
                  <a:lnTo>
                    <a:pt x="88" y="109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1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8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1"/>
                  </a:lnTo>
                  <a:lnTo>
                    <a:pt x="103" y="91"/>
                  </a:lnTo>
                  <a:lnTo>
                    <a:pt x="101" y="88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3" y="86"/>
                  </a:lnTo>
                  <a:lnTo>
                    <a:pt x="93" y="83"/>
                  </a:lnTo>
                  <a:lnTo>
                    <a:pt x="90" y="83"/>
                  </a:lnTo>
                  <a:lnTo>
                    <a:pt x="93" y="83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5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11" y="70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3" y="65"/>
                  </a:lnTo>
                  <a:lnTo>
                    <a:pt x="113" y="62"/>
                  </a:lnTo>
                  <a:lnTo>
                    <a:pt x="116" y="62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21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4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4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9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5" y="47"/>
                  </a:lnTo>
                  <a:lnTo>
                    <a:pt x="152" y="47"/>
                  </a:lnTo>
                  <a:lnTo>
                    <a:pt x="160" y="47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1"/>
                  </a:lnTo>
                  <a:lnTo>
                    <a:pt x="168" y="39"/>
                  </a:lnTo>
                  <a:lnTo>
                    <a:pt x="168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3" y="39"/>
                  </a:lnTo>
                  <a:lnTo>
                    <a:pt x="173" y="36"/>
                  </a:lnTo>
                  <a:lnTo>
                    <a:pt x="176" y="36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6" y="31"/>
                  </a:lnTo>
                  <a:lnTo>
                    <a:pt x="178" y="31"/>
                  </a:lnTo>
                  <a:lnTo>
                    <a:pt x="181" y="31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1"/>
                  </a:lnTo>
                  <a:lnTo>
                    <a:pt x="194" y="21"/>
                  </a:lnTo>
                  <a:lnTo>
                    <a:pt x="194" y="21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1" y="13"/>
                  </a:lnTo>
                  <a:lnTo>
                    <a:pt x="194" y="10"/>
                  </a:lnTo>
                  <a:lnTo>
                    <a:pt x="194" y="8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201" y="13"/>
                  </a:lnTo>
                  <a:lnTo>
                    <a:pt x="201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6"/>
                  </a:lnTo>
                  <a:lnTo>
                    <a:pt x="204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9" y="23"/>
                  </a:lnTo>
                  <a:lnTo>
                    <a:pt x="212" y="23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20" y="26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8" y="36"/>
                  </a:lnTo>
                  <a:lnTo>
                    <a:pt x="238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3" y="39"/>
                  </a:lnTo>
                  <a:lnTo>
                    <a:pt x="230" y="39"/>
                  </a:lnTo>
                  <a:lnTo>
                    <a:pt x="230" y="41"/>
                  </a:lnTo>
                  <a:lnTo>
                    <a:pt x="230" y="41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9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27" y="54"/>
                  </a:lnTo>
                  <a:lnTo>
                    <a:pt x="227" y="54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5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33" y="73"/>
                  </a:lnTo>
                  <a:lnTo>
                    <a:pt x="233" y="75"/>
                  </a:lnTo>
                  <a:lnTo>
                    <a:pt x="230" y="75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7" y="78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30" y="80"/>
                  </a:lnTo>
                  <a:lnTo>
                    <a:pt x="230" y="80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3" y="83"/>
                  </a:lnTo>
                  <a:lnTo>
                    <a:pt x="235" y="86"/>
                  </a:lnTo>
                  <a:lnTo>
                    <a:pt x="235" y="86"/>
                  </a:lnTo>
                  <a:lnTo>
                    <a:pt x="238" y="86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3" y="78"/>
                  </a:lnTo>
                  <a:lnTo>
                    <a:pt x="256" y="78"/>
                  </a:lnTo>
                  <a:lnTo>
                    <a:pt x="258" y="78"/>
                  </a:lnTo>
                  <a:lnTo>
                    <a:pt x="258" y="78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4" y="75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9" y="70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9" y="70"/>
                  </a:lnTo>
                  <a:lnTo>
                    <a:pt x="269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9" y="70"/>
                  </a:lnTo>
                  <a:lnTo>
                    <a:pt x="279" y="70"/>
                  </a:lnTo>
                  <a:lnTo>
                    <a:pt x="279" y="73"/>
                  </a:lnTo>
                  <a:lnTo>
                    <a:pt x="282" y="73"/>
                  </a:lnTo>
                  <a:lnTo>
                    <a:pt x="282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2" y="70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7" y="65"/>
                  </a:lnTo>
                  <a:lnTo>
                    <a:pt x="287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0" y="57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4"/>
                  </a:lnTo>
                  <a:lnTo>
                    <a:pt x="290" y="41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6"/>
                  </a:lnTo>
                  <a:lnTo>
                    <a:pt x="290" y="36"/>
                  </a:lnTo>
                  <a:lnTo>
                    <a:pt x="290" y="34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4" y="26"/>
                  </a:lnTo>
                  <a:lnTo>
                    <a:pt x="282" y="23"/>
                  </a:lnTo>
                  <a:lnTo>
                    <a:pt x="279" y="23"/>
                  </a:lnTo>
                  <a:lnTo>
                    <a:pt x="277" y="23"/>
                  </a:lnTo>
                  <a:lnTo>
                    <a:pt x="274" y="21"/>
                  </a:lnTo>
                  <a:lnTo>
                    <a:pt x="271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0"/>
                  </a:lnTo>
                  <a:lnTo>
                    <a:pt x="271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79" y="13"/>
                  </a:lnTo>
                  <a:lnTo>
                    <a:pt x="282" y="16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4" y="13"/>
                  </a:lnTo>
                  <a:lnTo>
                    <a:pt x="284" y="16"/>
                  </a:lnTo>
                  <a:lnTo>
                    <a:pt x="284" y="13"/>
                  </a:lnTo>
                  <a:lnTo>
                    <a:pt x="287" y="13"/>
                  </a:lnTo>
                  <a:lnTo>
                    <a:pt x="287" y="10"/>
                  </a:lnTo>
                  <a:lnTo>
                    <a:pt x="290" y="10"/>
                  </a:lnTo>
                  <a:lnTo>
                    <a:pt x="290" y="8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7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0" y="3"/>
                  </a:lnTo>
                  <a:lnTo>
                    <a:pt x="305" y="3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5" y="0"/>
                  </a:lnTo>
                  <a:lnTo>
                    <a:pt x="315" y="0"/>
                  </a:lnTo>
                  <a:lnTo>
                    <a:pt x="315" y="3"/>
                  </a:lnTo>
                  <a:lnTo>
                    <a:pt x="313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8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18" y="13"/>
                  </a:lnTo>
                  <a:lnTo>
                    <a:pt x="315" y="13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3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8" y="23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4" y="21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3"/>
                  </a:lnTo>
                  <a:lnTo>
                    <a:pt x="346" y="13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52" y="10"/>
                  </a:lnTo>
                  <a:lnTo>
                    <a:pt x="352" y="8"/>
                  </a:lnTo>
                  <a:lnTo>
                    <a:pt x="354" y="8"/>
                  </a:lnTo>
                  <a:lnTo>
                    <a:pt x="354" y="8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7" y="5"/>
                  </a:lnTo>
                  <a:lnTo>
                    <a:pt x="359" y="5"/>
                  </a:lnTo>
                  <a:lnTo>
                    <a:pt x="362" y="5"/>
                  </a:lnTo>
                  <a:lnTo>
                    <a:pt x="362" y="5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2" y="10"/>
                  </a:lnTo>
                  <a:lnTo>
                    <a:pt x="362" y="13"/>
                  </a:lnTo>
                  <a:lnTo>
                    <a:pt x="359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5" y="18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8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2" y="34"/>
                  </a:lnTo>
                  <a:lnTo>
                    <a:pt x="352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6"/>
                  </a:lnTo>
                  <a:lnTo>
                    <a:pt x="346" y="36"/>
                  </a:lnTo>
                  <a:lnTo>
                    <a:pt x="349" y="39"/>
                  </a:lnTo>
                  <a:lnTo>
                    <a:pt x="346" y="39"/>
                  </a:lnTo>
                  <a:lnTo>
                    <a:pt x="346" y="41"/>
                  </a:lnTo>
                  <a:lnTo>
                    <a:pt x="344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7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7" y="49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2" y="52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7"/>
                  </a:lnTo>
                  <a:lnTo>
                    <a:pt x="354" y="57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6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4" y="67"/>
                  </a:lnTo>
                  <a:lnTo>
                    <a:pt x="354" y="67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3"/>
                  </a:lnTo>
                  <a:lnTo>
                    <a:pt x="365" y="73"/>
                  </a:lnTo>
                  <a:lnTo>
                    <a:pt x="365" y="73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8"/>
                  </a:lnTo>
                  <a:lnTo>
                    <a:pt x="370" y="78"/>
                  </a:lnTo>
                  <a:lnTo>
                    <a:pt x="370" y="78"/>
                  </a:lnTo>
                  <a:lnTo>
                    <a:pt x="372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3"/>
                  </a:lnTo>
                  <a:lnTo>
                    <a:pt x="367" y="83"/>
                  </a:lnTo>
                  <a:lnTo>
                    <a:pt x="370" y="86"/>
                  </a:lnTo>
                  <a:lnTo>
                    <a:pt x="370" y="86"/>
                  </a:lnTo>
                  <a:lnTo>
                    <a:pt x="372" y="88"/>
                  </a:lnTo>
                  <a:lnTo>
                    <a:pt x="370" y="88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2" y="91"/>
                  </a:lnTo>
                  <a:lnTo>
                    <a:pt x="370" y="93"/>
                  </a:lnTo>
                  <a:lnTo>
                    <a:pt x="370" y="93"/>
                  </a:lnTo>
                  <a:lnTo>
                    <a:pt x="367" y="93"/>
                  </a:lnTo>
                  <a:lnTo>
                    <a:pt x="370" y="96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5" y="96"/>
                  </a:lnTo>
                  <a:lnTo>
                    <a:pt x="375" y="96"/>
                  </a:lnTo>
                  <a:lnTo>
                    <a:pt x="378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3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9"/>
                  </a:lnTo>
                  <a:lnTo>
                    <a:pt x="388" y="109"/>
                  </a:lnTo>
                  <a:lnTo>
                    <a:pt x="388" y="111"/>
                  </a:lnTo>
                  <a:lnTo>
                    <a:pt x="388" y="114"/>
                  </a:lnTo>
                  <a:lnTo>
                    <a:pt x="388" y="114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8" y="117"/>
                  </a:lnTo>
                  <a:lnTo>
                    <a:pt x="390" y="117"/>
                  </a:lnTo>
                  <a:lnTo>
                    <a:pt x="390" y="114"/>
                  </a:lnTo>
                  <a:lnTo>
                    <a:pt x="393" y="117"/>
                  </a:lnTo>
                  <a:lnTo>
                    <a:pt x="393" y="117"/>
                  </a:lnTo>
                  <a:lnTo>
                    <a:pt x="396" y="117"/>
                  </a:lnTo>
                  <a:lnTo>
                    <a:pt x="398" y="117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1" y="117"/>
                  </a:lnTo>
                  <a:lnTo>
                    <a:pt x="398" y="117"/>
                  </a:lnTo>
                  <a:lnTo>
                    <a:pt x="398" y="119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4"/>
                  </a:lnTo>
                  <a:lnTo>
                    <a:pt x="396" y="124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30"/>
                  </a:lnTo>
                  <a:lnTo>
                    <a:pt x="396" y="132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0" y="135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3" y="137"/>
                  </a:lnTo>
                  <a:lnTo>
                    <a:pt x="393" y="137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0" y="150"/>
                  </a:lnTo>
                  <a:lnTo>
                    <a:pt x="390" y="150"/>
                  </a:lnTo>
                  <a:lnTo>
                    <a:pt x="390" y="153"/>
                  </a:lnTo>
                  <a:lnTo>
                    <a:pt x="390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3"/>
                  </a:lnTo>
                  <a:lnTo>
                    <a:pt x="398" y="156"/>
                  </a:lnTo>
                  <a:lnTo>
                    <a:pt x="396" y="156"/>
                  </a:lnTo>
                  <a:lnTo>
                    <a:pt x="396" y="156"/>
                  </a:lnTo>
                  <a:lnTo>
                    <a:pt x="393" y="156"/>
                  </a:lnTo>
                  <a:lnTo>
                    <a:pt x="393" y="156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90" y="163"/>
                  </a:lnTo>
                  <a:lnTo>
                    <a:pt x="388" y="163"/>
                  </a:lnTo>
                  <a:lnTo>
                    <a:pt x="388" y="166"/>
                  </a:lnTo>
                  <a:lnTo>
                    <a:pt x="385" y="168"/>
                  </a:lnTo>
                  <a:lnTo>
                    <a:pt x="383" y="168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3" y="171"/>
                  </a:lnTo>
                  <a:lnTo>
                    <a:pt x="383" y="174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0" y="176"/>
                  </a:lnTo>
                  <a:lnTo>
                    <a:pt x="380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5" y="179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5" y="181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72" y="187"/>
                  </a:lnTo>
                  <a:lnTo>
                    <a:pt x="372" y="184"/>
                  </a:lnTo>
                  <a:lnTo>
                    <a:pt x="370" y="184"/>
                  </a:lnTo>
                  <a:lnTo>
                    <a:pt x="370" y="184"/>
                  </a:lnTo>
                  <a:lnTo>
                    <a:pt x="367" y="184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5" y="189"/>
                  </a:lnTo>
                  <a:lnTo>
                    <a:pt x="365" y="187"/>
                  </a:lnTo>
                  <a:lnTo>
                    <a:pt x="362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7" y="184"/>
                  </a:lnTo>
                  <a:lnTo>
                    <a:pt x="359" y="184"/>
                  </a:lnTo>
                  <a:lnTo>
                    <a:pt x="359" y="181"/>
                  </a:lnTo>
                  <a:lnTo>
                    <a:pt x="359" y="179"/>
                  </a:lnTo>
                  <a:lnTo>
                    <a:pt x="357" y="179"/>
                  </a:lnTo>
                  <a:lnTo>
                    <a:pt x="357" y="179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2" y="179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49" y="179"/>
                  </a:lnTo>
                  <a:lnTo>
                    <a:pt x="339" y="181"/>
                  </a:lnTo>
                  <a:lnTo>
                    <a:pt x="336" y="181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41" y="189"/>
                  </a:lnTo>
                  <a:lnTo>
                    <a:pt x="339" y="189"/>
                  </a:lnTo>
                  <a:lnTo>
                    <a:pt x="339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4" y="192"/>
                  </a:lnTo>
                  <a:lnTo>
                    <a:pt x="344" y="192"/>
                  </a:lnTo>
                  <a:lnTo>
                    <a:pt x="344" y="194"/>
                  </a:lnTo>
                  <a:lnTo>
                    <a:pt x="344" y="194"/>
                  </a:lnTo>
                  <a:lnTo>
                    <a:pt x="341" y="197"/>
                  </a:lnTo>
                  <a:lnTo>
                    <a:pt x="339" y="197"/>
                  </a:lnTo>
                  <a:lnTo>
                    <a:pt x="336" y="197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200"/>
                  </a:lnTo>
                  <a:lnTo>
                    <a:pt x="328" y="200"/>
                  </a:lnTo>
                  <a:lnTo>
                    <a:pt x="326" y="200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1" y="202"/>
                  </a:lnTo>
                  <a:lnTo>
                    <a:pt x="318" y="202"/>
                  </a:lnTo>
                  <a:lnTo>
                    <a:pt x="315" y="200"/>
                  </a:lnTo>
                  <a:lnTo>
                    <a:pt x="313" y="200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5"/>
                  </a:lnTo>
                  <a:lnTo>
                    <a:pt x="313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08" y="205"/>
                  </a:lnTo>
                  <a:lnTo>
                    <a:pt x="308" y="207"/>
                  </a:lnTo>
                  <a:lnTo>
                    <a:pt x="308" y="207"/>
                  </a:lnTo>
                  <a:lnTo>
                    <a:pt x="305" y="210"/>
                  </a:lnTo>
                  <a:lnTo>
                    <a:pt x="302" y="213"/>
                  </a:lnTo>
                  <a:lnTo>
                    <a:pt x="300" y="215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20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5" y="223"/>
                  </a:lnTo>
                  <a:lnTo>
                    <a:pt x="305" y="223"/>
                  </a:lnTo>
                  <a:lnTo>
                    <a:pt x="308" y="223"/>
                  </a:lnTo>
                  <a:lnTo>
                    <a:pt x="310" y="223"/>
                  </a:lnTo>
                  <a:lnTo>
                    <a:pt x="310" y="220"/>
                  </a:lnTo>
                  <a:lnTo>
                    <a:pt x="313" y="220"/>
                  </a:lnTo>
                  <a:lnTo>
                    <a:pt x="315" y="218"/>
                  </a:lnTo>
                  <a:lnTo>
                    <a:pt x="315" y="218"/>
                  </a:lnTo>
                  <a:lnTo>
                    <a:pt x="318" y="218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3"/>
                  </a:lnTo>
                  <a:lnTo>
                    <a:pt x="318" y="223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21" y="226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3" y="228"/>
                  </a:lnTo>
                  <a:lnTo>
                    <a:pt x="323" y="231"/>
                  </a:lnTo>
                  <a:lnTo>
                    <a:pt x="321" y="231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6"/>
                  </a:lnTo>
                  <a:lnTo>
                    <a:pt x="321" y="236"/>
                  </a:lnTo>
                  <a:lnTo>
                    <a:pt x="318" y="239"/>
                  </a:lnTo>
                  <a:lnTo>
                    <a:pt x="318" y="239"/>
                  </a:lnTo>
                  <a:lnTo>
                    <a:pt x="318" y="241"/>
                  </a:lnTo>
                  <a:lnTo>
                    <a:pt x="315" y="241"/>
                  </a:lnTo>
                  <a:lnTo>
                    <a:pt x="315" y="244"/>
                  </a:lnTo>
                  <a:lnTo>
                    <a:pt x="315" y="244"/>
                  </a:lnTo>
                  <a:lnTo>
                    <a:pt x="315" y="246"/>
                  </a:lnTo>
                  <a:lnTo>
                    <a:pt x="318" y="246"/>
                  </a:lnTo>
                  <a:lnTo>
                    <a:pt x="318" y="246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3" y="246"/>
                  </a:lnTo>
                  <a:lnTo>
                    <a:pt x="313" y="246"/>
                  </a:lnTo>
                  <a:lnTo>
                    <a:pt x="313" y="249"/>
                  </a:lnTo>
                  <a:lnTo>
                    <a:pt x="313" y="249"/>
                  </a:lnTo>
                  <a:lnTo>
                    <a:pt x="310" y="249"/>
                  </a:lnTo>
                  <a:lnTo>
                    <a:pt x="308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300" y="249"/>
                  </a:lnTo>
                  <a:lnTo>
                    <a:pt x="300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5" y="249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7" y="257"/>
                  </a:lnTo>
                  <a:lnTo>
                    <a:pt x="295" y="257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7" y="262"/>
                  </a:lnTo>
                  <a:lnTo>
                    <a:pt x="297" y="262"/>
                  </a:lnTo>
                  <a:lnTo>
                    <a:pt x="297" y="264"/>
                  </a:lnTo>
                  <a:lnTo>
                    <a:pt x="295" y="264"/>
                  </a:lnTo>
                  <a:lnTo>
                    <a:pt x="295" y="267"/>
                  </a:lnTo>
                  <a:lnTo>
                    <a:pt x="292" y="267"/>
                  </a:lnTo>
                  <a:lnTo>
                    <a:pt x="292" y="270"/>
                  </a:lnTo>
                  <a:lnTo>
                    <a:pt x="290" y="270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5"/>
                  </a:lnTo>
                  <a:lnTo>
                    <a:pt x="290" y="275"/>
                  </a:lnTo>
                  <a:lnTo>
                    <a:pt x="290" y="277"/>
                  </a:lnTo>
                  <a:lnTo>
                    <a:pt x="290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80"/>
                  </a:lnTo>
                  <a:lnTo>
                    <a:pt x="287" y="280"/>
                  </a:lnTo>
                  <a:lnTo>
                    <a:pt x="284" y="283"/>
                  </a:lnTo>
                  <a:lnTo>
                    <a:pt x="284" y="283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79" y="288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7" y="290"/>
                  </a:lnTo>
                  <a:lnTo>
                    <a:pt x="277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1" y="290"/>
                  </a:lnTo>
                  <a:lnTo>
                    <a:pt x="271" y="290"/>
                  </a:lnTo>
                  <a:lnTo>
                    <a:pt x="271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6" y="288"/>
                  </a:lnTo>
                  <a:lnTo>
                    <a:pt x="266" y="290"/>
                  </a:lnTo>
                  <a:lnTo>
                    <a:pt x="261" y="293"/>
                  </a:lnTo>
                  <a:lnTo>
                    <a:pt x="261" y="293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56" y="298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3" y="303"/>
                  </a:lnTo>
                  <a:lnTo>
                    <a:pt x="251" y="303"/>
                  </a:lnTo>
                  <a:lnTo>
                    <a:pt x="251" y="303"/>
                  </a:lnTo>
                  <a:lnTo>
                    <a:pt x="251" y="306"/>
                  </a:lnTo>
                  <a:lnTo>
                    <a:pt x="251" y="306"/>
                  </a:lnTo>
                  <a:lnTo>
                    <a:pt x="253" y="306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6" y="314"/>
                  </a:lnTo>
                  <a:lnTo>
                    <a:pt x="253" y="316"/>
                  </a:lnTo>
                  <a:lnTo>
                    <a:pt x="253" y="316"/>
                  </a:lnTo>
                  <a:lnTo>
                    <a:pt x="253" y="319"/>
                  </a:lnTo>
                  <a:lnTo>
                    <a:pt x="253" y="319"/>
                  </a:lnTo>
                  <a:lnTo>
                    <a:pt x="251" y="319"/>
                  </a:lnTo>
                  <a:lnTo>
                    <a:pt x="251" y="319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48" y="319"/>
                  </a:lnTo>
                  <a:lnTo>
                    <a:pt x="248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3" y="319"/>
                  </a:lnTo>
                  <a:lnTo>
                    <a:pt x="243" y="319"/>
                  </a:lnTo>
                  <a:lnTo>
                    <a:pt x="243" y="316"/>
                  </a:lnTo>
                  <a:lnTo>
                    <a:pt x="243" y="316"/>
                  </a:lnTo>
                  <a:lnTo>
                    <a:pt x="240" y="314"/>
                  </a:lnTo>
                  <a:lnTo>
                    <a:pt x="238" y="311"/>
                  </a:lnTo>
                  <a:lnTo>
                    <a:pt x="235" y="309"/>
                  </a:lnTo>
                  <a:lnTo>
                    <a:pt x="233" y="306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1"/>
                  </a:lnTo>
                  <a:lnTo>
                    <a:pt x="235" y="298"/>
                  </a:lnTo>
                  <a:lnTo>
                    <a:pt x="235" y="296"/>
                  </a:lnTo>
                  <a:lnTo>
                    <a:pt x="233" y="296"/>
                  </a:lnTo>
                  <a:lnTo>
                    <a:pt x="233" y="296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5" y="290"/>
                  </a:lnTo>
                  <a:lnTo>
                    <a:pt x="225" y="288"/>
                  </a:lnTo>
                  <a:lnTo>
                    <a:pt x="222" y="288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17" y="280"/>
                  </a:lnTo>
                  <a:lnTo>
                    <a:pt x="217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2" y="277"/>
                  </a:lnTo>
                  <a:lnTo>
                    <a:pt x="209" y="280"/>
                  </a:lnTo>
                  <a:lnTo>
                    <a:pt x="209" y="280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12" y="290"/>
                  </a:lnTo>
                  <a:lnTo>
                    <a:pt x="209" y="290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2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8"/>
                  </a:lnTo>
                  <a:lnTo>
                    <a:pt x="201" y="298"/>
                  </a:lnTo>
                  <a:lnTo>
                    <a:pt x="201" y="298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201" y="298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9"/>
                  </a:lnTo>
                  <a:lnTo>
                    <a:pt x="196" y="309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1" y="309"/>
                  </a:lnTo>
                  <a:lnTo>
                    <a:pt x="191" y="311"/>
                  </a:lnTo>
                  <a:lnTo>
                    <a:pt x="191" y="311"/>
                  </a:lnTo>
                  <a:lnTo>
                    <a:pt x="191" y="314"/>
                  </a:lnTo>
                  <a:lnTo>
                    <a:pt x="191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6" y="311"/>
                  </a:lnTo>
                  <a:lnTo>
                    <a:pt x="183" y="311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1" y="314"/>
                  </a:lnTo>
                  <a:lnTo>
                    <a:pt x="181" y="314"/>
                  </a:lnTo>
                  <a:lnTo>
                    <a:pt x="181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0" y="316"/>
                  </a:lnTo>
                  <a:lnTo>
                    <a:pt x="170" y="316"/>
                  </a:lnTo>
                  <a:lnTo>
                    <a:pt x="168" y="316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5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57" y="332"/>
                  </a:lnTo>
                  <a:lnTo>
                    <a:pt x="157" y="332"/>
                  </a:lnTo>
                  <a:lnTo>
                    <a:pt x="155" y="332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29"/>
                  </a:lnTo>
                  <a:lnTo>
                    <a:pt x="150" y="329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7" y="334"/>
                  </a:lnTo>
                  <a:lnTo>
                    <a:pt x="145" y="334"/>
                  </a:lnTo>
                  <a:lnTo>
                    <a:pt x="145" y="334"/>
                  </a:lnTo>
                  <a:lnTo>
                    <a:pt x="142" y="334"/>
                  </a:lnTo>
                  <a:lnTo>
                    <a:pt x="142" y="334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4"/>
                  </a:lnTo>
                  <a:lnTo>
                    <a:pt x="137" y="337"/>
                  </a:lnTo>
                  <a:lnTo>
                    <a:pt x="137" y="337"/>
                  </a:lnTo>
                  <a:lnTo>
                    <a:pt x="137" y="340"/>
                  </a:lnTo>
                  <a:lnTo>
                    <a:pt x="137" y="337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2" y="334"/>
                  </a:lnTo>
                  <a:lnTo>
                    <a:pt x="132" y="334"/>
                  </a:lnTo>
                  <a:lnTo>
                    <a:pt x="132" y="337"/>
                  </a:lnTo>
                  <a:lnTo>
                    <a:pt x="129" y="337"/>
                  </a:lnTo>
                  <a:lnTo>
                    <a:pt x="129" y="340"/>
                  </a:lnTo>
                  <a:lnTo>
                    <a:pt x="126" y="340"/>
                  </a:lnTo>
                  <a:lnTo>
                    <a:pt x="126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5"/>
                  </a:lnTo>
                  <a:lnTo>
                    <a:pt x="124" y="345"/>
                  </a:lnTo>
                  <a:lnTo>
                    <a:pt x="121" y="345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19" y="342"/>
                  </a:lnTo>
                  <a:lnTo>
                    <a:pt x="119" y="342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3" y="347"/>
                  </a:lnTo>
                  <a:lnTo>
                    <a:pt x="113" y="350"/>
                  </a:lnTo>
                  <a:lnTo>
                    <a:pt x="113" y="350"/>
                  </a:lnTo>
                  <a:lnTo>
                    <a:pt x="116" y="350"/>
                  </a:lnTo>
                  <a:lnTo>
                    <a:pt x="113" y="350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6" y="353"/>
                  </a:lnTo>
                  <a:lnTo>
                    <a:pt x="116" y="355"/>
                  </a:lnTo>
                  <a:lnTo>
                    <a:pt x="116" y="355"/>
                  </a:lnTo>
                  <a:lnTo>
                    <a:pt x="116" y="358"/>
                  </a:lnTo>
                  <a:lnTo>
                    <a:pt x="116" y="360"/>
                  </a:lnTo>
                  <a:lnTo>
                    <a:pt x="113" y="360"/>
                  </a:lnTo>
                  <a:lnTo>
                    <a:pt x="113" y="360"/>
                  </a:lnTo>
                  <a:lnTo>
                    <a:pt x="111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6" y="360"/>
                  </a:lnTo>
                  <a:lnTo>
                    <a:pt x="106" y="358"/>
                  </a:lnTo>
                  <a:lnTo>
                    <a:pt x="106" y="358"/>
                  </a:lnTo>
                  <a:lnTo>
                    <a:pt x="106" y="355"/>
                  </a:lnTo>
                  <a:lnTo>
                    <a:pt x="103" y="355"/>
                  </a:lnTo>
                  <a:lnTo>
                    <a:pt x="103" y="355"/>
                  </a:lnTo>
                  <a:lnTo>
                    <a:pt x="101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6"/>
                  </a:lnTo>
                  <a:lnTo>
                    <a:pt x="98" y="366"/>
                  </a:lnTo>
                  <a:lnTo>
                    <a:pt x="101" y="366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3" y="368"/>
                  </a:lnTo>
                  <a:lnTo>
                    <a:pt x="101" y="371"/>
                  </a:lnTo>
                  <a:lnTo>
                    <a:pt x="101" y="373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9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98" y="379"/>
                  </a:lnTo>
                  <a:lnTo>
                    <a:pt x="98" y="379"/>
                  </a:lnTo>
                  <a:lnTo>
                    <a:pt x="95" y="381"/>
                  </a:lnTo>
                  <a:lnTo>
                    <a:pt x="93" y="381"/>
                  </a:lnTo>
                  <a:lnTo>
                    <a:pt x="93" y="381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5" y="381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9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0" y="373"/>
                  </a:lnTo>
                  <a:lnTo>
                    <a:pt x="80" y="373"/>
                  </a:lnTo>
                  <a:lnTo>
                    <a:pt x="77" y="376"/>
                  </a:lnTo>
                  <a:lnTo>
                    <a:pt x="75" y="376"/>
                  </a:lnTo>
                  <a:lnTo>
                    <a:pt x="72" y="376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69" y="381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4" y="381"/>
                  </a:lnTo>
                  <a:lnTo>
                    <a:pt x="64" y="381"/>
                  </a:lnTo>
                  <a:lnTo>
                    <a:pt x="64" y="379"/>
                  </a:lnTo>
                  <a:lnTo>
                    <a:pt x="64" y="376"/>
                  </a:lnTo>
                  <a:lnTo>
                    <a:pt x="64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3"/>
                  </a:lnTo>
                  <a:lnTo>
                    <a:pt x="62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6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81"/>
                  </a:lnTo>
                  <a:lnTo>
                    <a:pt x="59" y="381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1"/>
                  </a:lnTo>
                  <a:lnTo>
                    <a:pt x="57" y="381"/>
                  </a:lnTo>
                  <a:lnTo>
                    <a:pt x="54" y="379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4" y="371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4" y="363"/>
                  </a:lnTo>
                  <a:lnTo>
                    <a:pt x="54" y="363"/>
                  </a:lnTo>
                  <a:lnTo>
                    <a:pt x="54" y="360"/>
                  </a:lnTo>
                  <a:lnTo>
                    <a:pt x="51" y="360"/>
                  </a:lnTo>
                  <a:lnTo>
                    <a:pt x="51" y="360"/>
                  </a:lnTo>
                  <a:lnTo>
                    <a:pt x="51" y="358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49" y="353"/>
                  </a:lnTo>
                  <a:lnTo>
                    <a:pt x="49" y="353"/>
                  </a:lnTo>
                  <a:lnTo>
                    <a:pt x="46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1" y="353"/>
                  </a:lnTo>
                  <a:lnTo>
                    <a:pt x="41" y="353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0"/>
                  </a:lnTo>
                  <a:lnTo>
                    <a:pt x="38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3" y="347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4"/>
                  </a:lnTo>
                  <a:lnTo>
                    <a:pt x="44" y="334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1" y="332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3" y="332"/>
                  </a:lnTo>
                  <a:lnTo>
                    <a:pt x="33" y="332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1" y="324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5" y="316"/>
                  </a:lnTo>
                  <a:lnTo>
                    <a:pt x="25" y="316"/>
                  </a:lnTo>
                  <a:lnTo>
                    <a:pt x="23" y="316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3" y="303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5" y="296"/>
                  </a:lnTo>
                  <a:lnTo>
                    <a:pt x="15" y="296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0" y="290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3" y="293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5" y="288"/>
                  </a:lnTo>
                  <a:lnTo>
                    <a:pt x="23" y="285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5" y="280"/>
                  </a:lnTo>
                  <a:lnTo>
                    <a:pt x="23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8" y="270"/>
                  </a:lnTo>
                  <a:lnTo>
                    <a:pt x="15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7" y="270"/>
                  </a:lnTo>
                  <a:lnTo>
                    <a:pt x="5" y="270"/>
                  </a:lnTo>
                  <a:lnTo>
                    <a:pt x="5" y="272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0" y="25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3" name="Freeform 113"/>
            <p:cNvSpPr>
              <a:spLocks/>
            </p:cNvSpPr>
            <p:nvPr/>
          </p:nvSpPr>
          <p:spPr bwMode="auto">
            <a:xfrm>
              <a:off x="754" y="2784"/>
              <a:ext cx="401" cy="384"/>
            </a:xfrm>
            <a:custGeom>
              <a:avLst/>
              <a:gdLst>
                <a:gd name="T0" fmla="*/ 20 w 401"/>
                <a:gd name="T1" fmla="*/ 249 h 384"/>
                <a:gd name="T2" fmla="*/ 28 w 401"/>
                <a:gd name="T3" fmla="*/ 236 h 384"/>
                <a:gd name="T4" fmla="*/ 41 w 401"/>
                <a:gd name="T5" fmla="*/ 202 h 384"/>
                <a:gd name="T6" fmla="*/ 33 w 401"/>
                <a:gd name="T7" fmla="*/ 168 h 384"/>
                <a:gd name="T8" fmla="*/ 18 w 401"/>
                <a:gd name="T9" fmla="*/ 148 h 384"/>
                <a:gd name="T10" fmla="*/ 10 w 401"/>
                <a:gd name="T11" fmla="*/ 124 h 384"/>
                <a:gd name="T12" fmla="*/ 31 w 401"/>
                <a:gd name="T13" fmla="*/ 109 h 384"/>
                <a:gd name="T14" fmla="*/ 59 w 401"/>
                <a:gd name="T15" fmla="*/ 122 h 384"/>
                <a:gd name="T16" fmla="*/ 82 w 401"/>
                <a:gd name="T17" fmla="*/ 111 h 384"/>
                <a:gd name="T18" fmla="*/ 106 w 401"/>
                <a:gd name="T19" fmla="*/ 93 h 384"/>
                <a:gd name="T20" fmla="*/ 106 w 401"/>
                <a:gd name="T21" fmla="*/ 70 h 384"/>
                <a:gd name="T22" fmla="*/ 160 w 401"/>
                <a:gd name="T23" fmla="*/ 44 h 384"/>
                <a:gd name="T24" fmla="*/ 189 w 401"/>
                <a:gd name="T25" fmla="*/ 26 h 384"/>
                <a:gd name="T26" fmla="*/ 204 w 401"/>
                <a:gd name="T27" fmla="*/ 13 h 384"/>
                <a:gd name="T28" fmla="*/ 233 w 401"/>
                <a:gd name="T29" fmla="*/ 34 h 384"/>
                <a:gd name="T30" fmla="*/ 230 w 401"/>
                <a:gd name="T31" fmla="*/ 60 h 384"/>
                <a:gd name="T32" fmla="*/ 225 w 401"/>
                <a:gd name="T33" fmla="*/ 75 h 384"/>
                <a:gd name="T34" fmla="*/ 251 w 401"/>
                <a:gd name="T35" fmla="*/ 80 h 384"/>
                <a:gd name="T36" fmla="*/ 279 w 401"/>
                <a:gd name="T37" fmla="*/ 70 h 384"/>
                <a:gd name="T38" fmla="*/ 287 w 401"/>
                <a:gd name="T39" fmla="*/ 52 h 384"/>
                <a:gd name="T40" fmla="*/ 277 w 401"/>
                <a:gd name="T41" fmla="*/ 23 h 384"/>
                <a:gd name="T42" fmla="*/ 284 w 401"/>
                <a:gd name="T43" fmla="*/ 16 h 384"/>
                <a:gd name="T44" fmla="*/ 315 w 401"/>
                <a:gd name="T45" fmla="*/ 3 h 384"/>
                <a:gd name="T46" fmla="*/ 318 w 401"/>
                <a:gd name="T47" fmla="*/ 21 h 384"/>
                <a:gd name="T48" fmla="*/ 346 w 401"/>
                <a:gd name="T49" fmla="*/ 16 h 384"/>
                <a:gd name="T50" fmla="*/ 362 w 401"/>
                <a:gd name="T51" fmla="*/ 18 h 384"/>
                <a:gd name="T52" fmla="*/ 349 w 401"/>
                <a:gd name="T53" fmla="*/ 34 h 384"/>
                <a:gd name="T54" fmla="*/ 354 w 401"/>
                <a:gd name="T55" fmla="*/ 54 h 384"/>
                <a:gd name="T56" fmla="*/ 352 w 401"/>
                <a:gd name="T57" fmla="*/ 67 h 384"/>
                <a:gd name="T58" fmla="*/ 365 w 401"/>
                <a:gd name="T59" fmla="*/ 75 h 384"/>
                <a:gd name="T60" fmla="*/ 372 w 401"/>
                <a:gd name="T61" fmla="*/ 98 h 384"/>
                <a:gd name="T62" fmla="*/ 385 w 401"/>
                <a:gd name="T63" fmla="*/ 109 h 384"/>
                <a:gd name="T64" fmla="*/ 398 w 401"/>
                <a:gd name="T65" fmla="*/ 127 h 384"/>
                <a:gd name="T66" fmla="*/ 390 w 401"/>
                <a:gd name="T67" fmla="*/ 150 h 384"/>
                <a:gd name="T68" fmla="*/ 383 w 401"/>
                <a:gd name="T69" fmla="*/ 174 h 384"/>
                <a:gd name="T70" fmla="*/ 365 w 401"/>
                <a:gd name="T71" fmla="*/ 189 h 384"/>
                <a:gd name="T72" fmla="*/ 339 w 401"/>
                <a:gd name="T73" fmla="*/ 189 h 384"/>
                <a:gd name="T74" fmla="*/ 313 w 401"/>
                <a:gd name="T75" fmla="*/ 202 h 384"/>
                <a:gd name="T76" fmla="*/ 310 w 401"/>
                <a:gd name="T77" fmla="*/ 223 h 384"/>
                <a:gd name="T78" fmla="*/ 315 w 401"/>
                <a:gd name="T79" fmla="*/ 244 h 384"/>
                <a:gd name="T80" fmla="*/ 297 w 401"/>
                <a:gd name="T81" fmla="*/ 257 h 384"/>
                <a:gd name="T82" fmla="*/ 284 w 401"/>
                <a:gd name="T83" fmla="*/ 283 h 384"/>
                <a:gd name="T84" fmla="*/ 258 w 401"/>
                <a:gd name="T85" fmla="*/ 296 h 384"/>
                <a:gd name="T86" fmla="*/ 246 w 401"/>
                <a:gd name="T87" fmla="*/ 319 h 384"/>
                <a:gd name="T88" fmla="*/ 225 w 401"/>
                <a:gd name="T89" fmla="*/ 290 h 384"/>
                <a:gd name="T90" fmla="*/ 209 w 401"/>
                <a:gd name="T91" fmla="*/ 290 h 384"/>
                <a:gd name="T92" fmla="*/ 201 w 401"/>
                <a:gd name="T93" fmla="*/ 301 h 384"/>
                <a:gd name="T94" fmla="*/ 186 w 401"/>
                <a:gd name="T95" fmla="*/ 311 h 384"/>
                <a:gd name="T96" fmla="*/ 168 w 401"/>
                <a:gd name="T97" fmla="*/ 321 h 384"/>
                <a:gd name="T98" fmla="*/ 147 w 401"/>
                <a:gd name="T99" fmla="*/ 329 h 384"/>
                <a:gd name="T100" fmla="*/ 124 w 401"/>
                <a:gd name="T101" fmla="*/ 342 h 384"/>
                <a:gd name="T102" fmla="*/ 116 w 401"/>
                <a:gd name="T103" fmla="*/ 353 h 384"/>
                <a:gd name="T104" fmla="*/ 101 w 401"/>
                <a:gd name="T105" fmla="*/ 360 h 384"/>
                <a:gd name="T106" fmla="*/ 88 w 401"/>
                <a:gd name="T107" fmla="*/ 379 h 384"/>
                <a:gd name="T108" fmla="*/ 67 w 401"/>
                <a:gd name="T109" fmla="*/ 381 h 384"/>
                <a:gd name="T110" fmla="*/ 59 w 401"/>
                <a:gd name="T111" fmla="*/ 384 h 384"/>
                <a:gd name="T112" fmla="*/ 51 w 401"/>
                <a:gd name="T113" fmla="*/ 358 h 384"/>
                <a:gd name="T114" fmla="*/ 36 w 401"/>
                <a:gd name="T115" fmla="*/ 347 h 384"/>
                <a:gd name="T116" fmla="*/ 33 w 401"/>
                <a:gd name="T117" fmla="*/ 332 h 384"/>
                <a:gd name="T118" fmla="*/ 18 w 401"/>
                <a:gd name="T119" fmla="*/ 314 h 384"/>
                <a:gd name="T120" fmla="*/ 23 w 401"/>
                <a:gd name="T121" fmla="*/ 290 h 384"/>
                <a:gd name="T122" fmla="*/ 7 w 401"/>
                <a:gd name="T123" fmla="*/ 27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1" h="384">
                  <a:moveTo>
                    <a:pt x="0" y="257"/>
                  </a:moveTo>
                  <a:lnTo>
                    <a:pt x="0" y="257"/>
                  </a:lnTo>
                  <a:lnTo>
                    <a:pt x="2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7" y="257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10" y="259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7"/>
                  </a:lnTo>
                  <a:lnTo>
                    <a:pt x="10" y="257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5" y="251"/>
                  </a:lnTo>
                  <a:lnTo>
                    <a:pt x="18" y="251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4"/>
                  </a:lnTo>
                  <a:lnTo>
                    <a:pt x="23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8" y="241"/>
                  </a:lnTo>
                  <a:lnTo>
                    <a:pt x="31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1" y="233"/>
                  </a:lnTo>
                  <a:lnTo>
                    <a:pt x="28" y="236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3"/>
                  </a:lnTo>
                  <a:lnTo>
                    <a:pt x="23" y="231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6"/>
                  </a:lnTo>
                  <a:lnTo>
                    <a:pt x="25" y="223"/>
                  </a:lnTo>
                  <a:lnTo>
                    <a:pt x="28" y="220"/>
                  </a:lnTo>
                  <a:lnTo>
                    <a:pt x="28" y="218"/>
                  </a:lnTo>
                  <a:lnTo>
                    <a:pt x="28" y="215"/>
                  </a:lnTo>
                  <a:lnTo>
                    <a:pt x="31" y="215"/>
                  </a:lnTo>
                  <a:lnTo>
                    <a:pt x="31" y="213"/>
                  </a:lnTo>
                  <a:lnTo>
                    <a:pt x="33" y="213"/>
                  </a:lnTo>
                  <a:lnTo>
                    <a:pt x="33" y="210"/>
                  </a:lnTo>
                  <a:lnTo>
                    <a:pt x="36" y="210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41" y="202"/>
                  </a:lnTo>
                  <a:lnTo>
                    <a:pt x="41" y="202"/>
                  </a:lnTo>
                  <a:lnTo>
                    <a:pt x="38" y="200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41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6" y="197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41" y="184"/>
                  </a:lnTo>
                  <a:lnTo>
                    <a:pt x="38" y="184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3" y="174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28" y="166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6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0" y="150"/>
                  </a:lnTo>
                  <a:lnTo>
                    <a:pt x="18" y="150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3" y="132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7"/>
                  </a:lnTo>
                  <a:lnTo>
                    <a:pt x="10" y="127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3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8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1" y="114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4"/>
                  </a:lnTo>
                  <a:lnTo>
                    <a:pt x="38" y="114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9" y="114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9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7" y="119"/>
                  </a:lnTo>
                  <a:lnTo>
                    <a:pt x="57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4"/>
                  </a:lnTo>
                  <a:lnTo>
                    <a:pt x="72" y="114"/>
                  </a:lnTo>
                  <a:lnTo>
                    <a:pt x="75" y="111"/>
                  </a:lnTo>
                  <a:lnTo>
                    <a:pt x="77" y="111"/>
                  </a:lnTo>
                  <a:lnTo>
                    <a:pt x="82" y="111"/>
                  </a:lnTo>
                  <a:lnTo>
                    <a:pt x="85" y="109"/>
                  </a:lnTo>
                  <a:lnTo>
                    <a:pt x="88" y="109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1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8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1"/>
                  </a:lnTo>
                  <a:lnTo>
                    <a:pt x="103" y="91"/>
                  </a:lnTo>
                  <a:lnTo>
                    <a:pt x="101" y="88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3" y="86"/>
                  </a:lnTo>
                  <a:lnTo>
                    <a:pt x="93" y="83"/>
                  </a:lnTo>
                  <a:lnTo>
                    <a:pt x="90" y="83"/>
                  </a:lnTo>
                  <a:lnTo>
                    <a:pt x="93" y="83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5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11" y="70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3" y="65"/>
                  </a:lnTo>
                  <a:lnTo>
                    <a:pt x="113" y="62"/>
                  </a:lnTo>
                  <a:lnTo>
                    <a:pt x="116" y="62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21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4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4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9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5" y="47"/>
                  </a:lnTo>
                  <a:lnTo>
                    <a:pt x="152" y="47"/>
                  </a:lnTo>
                  <a:lnTo>
                    <a:pt x="160" y="47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1"/>
                  </a:lnTo>
                  <a:lnTo>
                    <a:pt x="168" y="39"/>
                  </a:lnTo>
                  <a:lnTo>
                    <a:pt x="168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3" y="39"/>
                  </a:lnTo>
                  <a:lnTo>
                    <a:pt x="173" y="36"/>
                  </a:lnTo>
                  <a:lnTo>
                    <a:pt x="176" y="36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6" y="31"/>
                  </a:lnTo>
                  <a:lnTo>
                    <a:pt x="178" y="31"/>
                  </a:lnTo>
                  <a:lnTo>
                    <a:pt x="181" y="31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1"/>
                  </a:lnTo>
                  <a:lnTo>
                    <a:pt x="194" y="21"/>
                  </a:lnTo>
                  <a:lnTo>
                    <a:pt x="194" y="21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1" y="13"/>
                  </a:lnTo>
                  <a:lnTo>
                    <a:pt x="194" y="10"/>
                  </a:lnTo>
                  <a:lnTo>
                    <a:pt x="194" y="8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201" y="13"/>
                  </a:lnTo>
                  <a:lnTo>
                    <a:pt x="201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6"/>
                  </a:lnTo>
                  <a:lnTo>
                    <a:pt x="204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9" y="23"/>
                  </a:lnTo>
                  <a:lnTo>
                    <a:pt x="212" y="23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20" y="26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8" y="36"/>
                  </a:lnTo>
                  <a:lnTo>
                    <a:pt x="238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3" y="39"/>
                  </a:lnTo>
                  <a:lnTo>
                    <a:pt x="230" y="39"/>
                  </a:lnTo>
                  <a:lnTo>
                    <a:pt x="230" y="41"/>
                  </a:lnTo>
                  <a:lnTo>
                    <a:pt x="230" y="41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9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27" y="54"/>
                  </a:lnTo>
                  <a:lnTo>
                    <a:pt x="227" y="54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5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33" y="73"/>
                  </a:lnTo>
                  <a:lnTo>
                    <a:pt x="233" y="75"/>
                  </a:lnTo>
                  <a:lnTo>
                    <a:pt x="230" y="75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7" y="78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30" y="80"/>
                  </a:lnTo>
                  <a:lnTo>
                    <a:pt x="230" y="80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3" y="83"/>
                  </a:lnTo>
                  <a:lnTo>
                    <a:pt x="235" y="86"/>
                  </a:lnTo>
                  <a:lnTo>
                    <a:pt x="235" y="86"/>
                  </a:lnTo>
                  <a:lnTo>
                    <a:pt x="238" y="86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3" y="78"/>
                  </a:lnTo>
                  <a:lnTo>
                    <a:pt x="256" y="78"/>
                  </a:lnTo>
                  <a:lnTo>
                    <a:pt x="258" y="78"/>
                  </a:lnTo>
                  <a:lnTo>
                    <a:pt x="258" y="78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4" y="75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9" y="70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9" y="70"/>
                  </a:lnTo>
                  <a:lnTo>
                    <a:pt x="269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9" y="70"/>
                  </a:lnTo>
                  <a:lnTo>
                    <a:pt x="279" y="70"/>
                  </a:lnTo>
                  <a:lnTo>
                    <a:pt x="279" y="73"/>
                  </a:lnTo>
                  <a:lnTo>
                    <a:pt x="282" y="73"/>
                  </a:lnTo>
                  <a:lnTo>
                    <a:pt x="282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2" y="70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7" y="65"/>
                  </a:lnTo>
                  <a:lnTo>
                    <a:pt x="287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0" y="57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4"/>
                  </a:lnTo>
                  <a:lnTo>
                    <a:pt x="290" y="41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6"/>
                  </a:lnTo>
                  <a:lnTo>
                    <a:pt x="290" y="36"/>
                  </a:lnTo>
                  <a:lnTo>
                    <a:pt x="290" y="34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4" y="26"/>
                  </a:lnTo>
                  <a:lnTo>
                    <a:pt x="282" y="23"/>
                  </a:lnTo>
                  <a:lnTo>
                    <a:pt x="279" y="23"/>
                  </a:lnTo>
                  <a:lnTo>
                    <a:pt x="277" y="23"/>
                  </a:lnTo>
                  <a:lnTo>
                    <a:pt x="274" y="21"/>
                  </a:lnTo>
                  <a:lnTo>
                    <a:pt x="271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0"/>
                  </a:lnTo>
                  <a:lnTo>
                    <a:pt x="271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79" y="13"/>
                  </a:lnTo>
                  <a:lnTo>
                    <a:pt x="282" y="16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4" y="13"/>
                  </a:lnTo>
                  <a:lnTo>
                    <a:pt x="284" y="16"/>
                  </a:lnTo>
                  <a:lnTo>
                    <a:pt x="284" y="13"/>
                  </a:lnTo>
                  <a:lnTo>
                    <a:pt x="287" y="13"/>
                  </a:lnTo>
                  <a:lnTo>
                    <a:pt x="287" y="10"/>
                  </a:lnTo>
                  <a:lnTo>
                    <a:pt x="290" y="10"/>
                  </a:lnTo>
                  <a:lnTo>
                    <a:pt x="290" y="8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7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0" y="3"/>
                  </a:lnTo>
                  <a:lnTo>
                    <a:pt x="305" y="3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5" y="0"/>
                  </a:lnTo>
                  <a:lnTo>
                    <a:pt x="315" y="0"/>
                  </a:lnTo>
                  <a:lnTo>
                    <a:pt x="315" y="3"/>
                  </a:lnTo>
                  <a:lnTo>
                    <a:pt x="313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8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18" y="13"/>
                  </a:lnTo>
                  <a:lnTo>
                    <a:pt x="315" y="13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3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8" y="23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4" y="21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3"/>
                  </a:lnTo>
                  <a:lnTo>
                    <a:pt x="346" y="13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52" y="10"/>
                  </a:lnTo>
                  <a:lnTo>
                    <a:pt x="352" y="8"/>
                  </a:lnTo>
                  <a:lnTo>
                    <a:pt x="354" y="8"/>
                  </a:lnTo>
                  <a:lnTo>
                    <a:pt x="354" y="8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7" y="5"/>
                  </a:lnTo>
                  <a:lnTo>
                    <a:pt x="359" y="5"/>
                  </a:lnTo>
                  <a:lnTo>
                    <a:pt x="362" y="5"/>
                  </a:lnTo>
                  <a:lnTo>
                    <a:pt x="362" y="5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2" y="10"/>
                  </a:lnTo>
                  <a:lnTo>
                    <a:pt x="362" y="13"/>
                  </a:lnTo>
                  <a:lnTo>
                    <a:pt x="359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5" y="18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8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2" y="34"/>
                  </a:lnTo>
                  <a:lnTo>
                    <a:pt x="352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6"/>
                  </a:lnTo>
                  <a:lnTo>
                    <a:pt x="346" y="36"/>
                  </a:lnTo>
                  <a:lnTo>
                    <a:pt x="349" y="39"/>
                  </a:lnTo>
                  <a:lnTo>
                    <a:pt x="346" y="39"/>
                  </a:lnTo>
                  <a:lnTo>
                    <a:pt x="346" y="41"/>
                  </a:lnTo>
                  <a:lnTo>
                    <a:pt x="344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7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7" y="49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2" y="52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7"/>
                  </a:lnTo>
                  <a:lnTo>
                    <a:pt x="354" y="57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6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4" y="67"/>
                  </a:lnTo>
                  <a:lnTo>
                    <a:pt x="354" y="67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3"/>
                  </a:lnTo>
                  <a:lnTo>
                    <a:pt x="365" y="73"/>
                  </a:lnTo>
                  <a:lnTo>
                    <a:pt x="365" y="73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8"/>
                  </a:lnTo>
                  <a:lnTo>
                    <a:pt x="370" y="78"/>
                  </a:lnTo>
                  <a:lnTo>
                    <a:pt x="370" y="78"/>
                  </a:lnTo>
                  <a:lnTo>
                    <a:pt x="372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3"/>
                  </a:lnTo>
                  <a:lnTo>
                    <a:pt x="367" y="83"/>
                  </a:lnTo>
                  <a:lnTo>
                    <a:pt x="370" y="86"/>
                  </a:lnTo>
                  <a:lnTo>
                    <a:pt x="370" y="86"/>
                  </a:lnTo>
                  <a:lnTo>
                    <a:pt x="372" y="88"/>
                  </a:lnTo>
                  <a:lnTo>
                    <a:pt x="370" y="88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2" y="91"/>
                  </a:lnTo>
                  <a:lnTo>
                    <a:pt x="370" y="93"/>
                  </a:lnTo>
                  <a:lnTo>
                    <a:pt x="370" y="93"/>
                  </a:lnTo>
                  <a:lnTo>
                    <a:pt x="367" y="93"/>
                  </a:lnTo>
                  <a:lnTo>
                    <a:pt x="370" y="96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5" y="96"/>
                  </a:lnTo>
                  <a:lnTo>
                    <a:pt x="375" y="96"/>
                  </a:lnTo>
                  <a:lnTo>
                    <a:pt x="378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3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9"/>
                  </a:lnTo>
                  <a:lnTo>
                    <a:pt x="388" y="109"/>
                  </a:lnTo>
                  <a:lnTo>
                    <a:pt x="388" y="111"/>
                  </a:lnTo>
                  <a:lnTo>
                    <a:pt x="388" y="114"/>
                  </a:lnTo>
                  <a:lnTo>
                    <a:pt x="388" y="114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8" y="117"/>
                  </a:lnTo>
                  <a:lnTo>
                    <a:pt x="390" y="117"/>
                  </a:lnTo>
                  <a:lnTo>
                    <a:pt x="390" y="114"/>
                  </a:lnTo>
                  <a:lnTo>
                    <a:pt x="393" y="117"/>
                  </a:lnTo>
                  <a:lnTo>
                    <a:pt x="393" y="117"/>
                  </a:lnTo>
                  <a:lnTo>
                    <a:pt x="396" y="117"/>
                  </a:lnTo>
                  <a:lnTo>
                    <a:pt x="398" y="117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1" y="117"/>
                  </a:lnTo>
                  <a:lnTo>
                    <a:pt x="398" y="117"/>
                  </a:lnTo>
                  <a:lnTo>
                    <a:pt x="398" y="119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4"/>
                  </a:lnTo>
                  <a:lnTo>
                    <a:pt x="396" y="124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30"/>
                  </a:lnTo>
                  <a:lnTo>
                    <a:pt x="396" y="132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0" y="135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3" y="137"/>
                  </a:lnTo>
                  <a:lnTo>
                    <a:pt x="393" y="137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0" y="150"/>
                  </a:lnTo>
                  <a:lnTo>
                    <a:pt x="390" y="150"/>
                  </a:lnTo>
                  <a:lnTo>
                    <a:pt x="390" y="153"/>
                  </a:lnTo>
                  <a:lnTo>
                    <a:pt x="390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3"/>
                  </a:lnTo>
                  <a:lnTo>
                    <a:pt x="398" y="156"/>
                  </a:lnTo>
                  <a:lnTo>
                    <a:pt x="396" y="156"/>
                  </a:lnTo>
                  <a:lnTo>
                    <a:pt x="396" y="156"/>
                  </a:lnTo>
                  <a:lnTo>
                    <a:pt x="393" y="156"/>
                  </a:lnTo>
                  <a:lnTo>
                    <a:pt x="393" y="156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90" y="163"/>
                  </a:lnTo>
                  <a:lnTo>
                    <a:pt x="388" y="163"/>
                  </a:lnTo>
                  <a:lnTo>
                    <a:pt x="388" y="166"/>
                  </a:lnTo>
                  <a:lnTo>
                    <a:pt x="385" y="168"/>
                  </a:lnTo>
                  <a:lnTo>
                    <a:pt x="383" y="168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3" y="171"/>
                  </a:lnTo>
                  <a:lnTo>
                    <a:pt x="383" y="174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0" y="176"/>
                  </a:lnTo>
                  <a:lnTo>
                    <a:pt x="380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5" y="179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5" y="181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72" y="187"/>
                  </a:lnTo>
                  <a:lnTo>
                    <a:pt x="372" y="184"/>
                  </a:lnTo>
                  <a:lnTo>
                    <a:pt x="370" y="184"/>
                  </a:lnTo>
                  <a:lnTo>
                    <a:pt x="370" y="184"/>
                  </a:lnTo>
                  <a:lnTo>
                    <a:pt x="367" y="184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5" y="189"/>
                  </a:lnTo>
                  <a:lnTo>
                    <a:pt x="365" y="187"/>
                  </a:lnTo>
                  <a:lnTo>
                    <a:pt x="362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7" y="184"/>
                  </a:lnTo>
                  <a:lnTo>
                    <a:pt x="359" y="184"/>
                  </a:lnTo>
                  <a:lnTo>
                    <a:pt x="359" y="181"/>
                  </a:lnTo>
                  <a:lnTo>
                    <a:pt x="359" y="179"/>
                  </a:lnTo>
                  <a:lnTo>
                    <a:pt x="357" y="179"/>
                  </a:lnTo>
                  <a:lnTo>
                    <a:pt x="357" y="179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2" y="179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49" y="179"/>
                  </a:lnTo>
                  <a:lnTo>
                    <a:pt x="339" y="181"/>
                  </a:lnTo>
                  <a:lnTo>
                    <a:pt x="336" y="181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41" y="189"/>
                  </a:lnTo>
                  <a:lnTo>
                    <a:pt x="339" y="189"/>
                  </a:lnTo>
                  <a:lnTo>
                    <a:pt x="339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4" y="192"/>
                  </a:lnTo>
                  <a:lnTo>
                    <a:pt x="344" y="192"/>
                  </a:lnTo>
                  <a:lnTo>
                    <a:pt x="344" y="194"/>
                  </a:lnTo>
                  <a:lnTo>
                    <a:pt x="344" y="194"/>
                  </a:lnTo>
                  <a:lnTo>
                    <a:pt x="341" y="197"/>
                  </a:lnTo>
                  <a:lnTo>
                    <a:pt x="339" y="197"/>
                  </a:lnTo>
                  <a:lnTo>
                    <a:pt x="336" y="197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200"/>
                  </a:lnTo>
                  <a:lnTo>
                    <a:pt x="328" y="200"/>
                  </a:lnTo>
                  <a:lnTo>
                    <a:pt x="326" y="200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1" y="202"/>
                  </a:lnTo>
                  <a:lnTo>
                    <a:pt x="318" y="202"/>
                  </a:lnTo>
                  <a:lnTo>
                    <a:pt x="315" y="200"/>
                  </a:lnTo>
                  <a:lnTo>
                    <a:pt x="313" y="200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5"/>
                  </a:lnTo>
                  <a:lnTo>
                    <a:pt x="313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08" y="205"/>
                  </a:lnTo>
                  <a:lnTo>
                    <a:pt x="308" y="207"/>
                  </a:lnTo>
                  <a:lnTo>
                    <a:pt x="308" y="207"/>
                  </a:lnTo>
                  <a:lnTo>
                    <a:pt x="305" y="210"/>
                  </a:lnTo>
                  <a:lnTo>
                    <a:pt x="302" y="213"/>
                  </a:lnTo>
                  <a:lnTo>
                    <a:pt x="300" y="215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20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5" y="223"/>
                  </a:lnTo>
                  <a:lnTo>
                    <a:pt x="305" y="223"/>
                  </a:lnTo>
                  <a:lnTo>
                    <a:pt x="308" y="223"/>
                  </a:lnTo>
                  <a:lnTo>
                    <a:pt x="310" y="223"/>
                  </a:lnTo>
                  <a:lnTo>
                    <a:pt x="310" y="220"/>
                  </a:lnTo>
                  <a:lnTo>
                    <a:pt x="313" y="220"/>
                  </a:lnTo>
                  <a:lnTo>
                    <a:pt x="315" y="218"/>
                  </a:lnTo>
                  <a:lnTo>
                    <a:pt x="315" y="218"/>
                  </a:lnTo>
                  <a:lnTo>
                    <a:pt x="318" y="218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3"/>
                  </a:lnTo>
                  <a:lnTo>
                    <a:pt x="318" y="223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21" y="226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3" y="228"/>
                  </a:lnTo>
                  <a:lnTo>
                    <a:pt x="323" y="231"/>
                  </a:lnTo>
                  <a:lnTo>
                    <a:pt x="321" y="231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6"/>
                  </a:lnTo>
                  <a:lnTo>
                    <a:pt x="321" y="236"/>
                  </a:lnTo>
                  <a:lnTo>
                    <a:pt x="318" y="239"/>
                  </a:lnTo>
                  <a:lnTo>
                    <a:pt x="318" y="239"/>
                  </a:lnTo>
                  <a:lnTo>
                    <a:pt x="318" y="241"/>
                  </a:lnTo>
                  <a:lnTo>
                    <a:pt x="315" y="241"/>
                  </a:lnTo>
                  <a:lnTo>
                    <a:pt x="315" y="244"/>
                  </a:lnTo>
                  <a:lnTo>
                    <a:pt x="315" y="244"/>
                  </a:lnTo>
                  <a:lnTo>
                    <a:pt x="315" y="246"/>
                  </a:lnTo>
                  <a:lnTo>
                    <a:pt x="318" y="246"/>
                  </a:lnTo>
                  <a:lnTo>
                    <a:pt x="318" y="246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3" y="246"/>
                  </a:lnTo>
                  <a:lnTo>
                    <a:pt x="313" y="246"/>
                  </a:lnTo>
                  <a:lnTo>
                    <a:pt x="313" y="249"/>
                  </a:lnTo>
                  <a:lnTo>
                    <a:pt x="313" y="249"/>
                  </a:lnTo>
                  <a:lnTo>
                    <a:pt x="310" y="249"/>
                  </a:lnTo>
                  <a:lnTo>
                    <a:pt x="308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300" y="249"/>
                  </a:lnTo>
                  <a:lnTo>
                    <a:pt x="300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5" y="249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7" y="257"/>
                  </a:lnTo>
                  <a:lnTo>
                    <a:pt x="295" y="257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7" y="262"/>
                  </a:lnTo>
                  <a:lnTo>
                    <a:pt x="297" y="262"/>
                  </a:lnTo>
                  <a:lnTo>
                    <a:pt x="297" y="264"/>
                  </a:lnTo>
                  <a:lnTo>
                    <a:pt x="295" y="264"/>
                  </a:lnTo>
                  <a:lnTo>
                    <a:pt x="295" y="267"/>
                  </a:lnTo>
                  <a:lnTo>
                    <a:pt x="292" y="267"/>
                  </a:lnTo>
                  <a:lnTo>
                    <a:pt x="292" y="270"/>
                  </a:lnTo>
                  <a:lnTo>
                    <a:pt x="290" y="270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5"/>
                  </a:lnTo>
                  <a:lnTo>
                    <a:pt x="290" y="275"/>
                  </a:lnTo>
                  <a:lnTo>
                    <a:pt x="290" y="277"/>
                  </a:lnTo>
                  <a:lnTo>
                    <a:pt x="290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80"/>
                  </a:lnTo>
                  <a:lnTo>
                    <a:pt x="287" y="280"/>
                  </a:lnTo>
                  <a:lnTo>
                    <a:pt x="284" y="283"/>
                  </a:lnTo>
                  <a:lnTo>
                    <a:pt x="284" y="283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79" y="288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7" y="290"/>
                  </a:lnTo>
                  <a:lnTo>
                    <a:pt x="277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1" y="290"/>
                  </a:lnTo>
                  <a:lnTo>
                    <a:pt x="271" y="290"/>
                  </a:lnTo>
                  <a:lnTo>
                    <a:pt x="271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6" y="288"/>
                  </a:lnTo>
                  <a:lnTo>
                    <a:pt x="266" y="290"/>
                  </a:lnTo>
                  <a:lnTo>
                    <a:pt x="261" y="293"/>
                  </a:lnTo>
                  <a:lnTo>
                    <a:pt x="261" y="293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56" y="298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3" y="303"/>
                  </a:lnTo>
                  <a:lnTo>
                    <a:pt x="251" y="303"/>
                  </a:lnTo>
                  <a:lnTo>
                    <a:pt x="251" y="303"/>
                  </a:lnTo>
                  <a:lnTo>
                    <a:pt x="251" y="306"/>
                  </a:lnTo>
                  <a:lnTo>
                    <a:pt x="251" y="306"/>
                  </a:lnTo>
                  <a:lnTo>
                    <a:pt x="253" y="306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6" y="314"/>
                  </a:lnTo>
                  <a:lnTo>
                    <a:pt x="253" y="316"/>
                  </a:lnTo>
                  <a:lnTo>
                    <a:pt x="253" y="316"/>
                  </a:lnTo>
                  <a:lnTo>
                    <a:pt x="253" y="319"/>
                  </a:lnTo>
                  <a:lnTo>
                    <a:pt x="253" y="319"/>
                  </a:lnTo>
                  <a:lnTo>
                    <a:pt x="251" y="319"/>
                  </a:lnTo>
                  <a:lnTo>
                    <a:pt x="251" y="319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48" y="319"/>
                  </a:lnTo>
                  <a:lnTo>
                    <a:pt x="248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3" y="319"/>
                  </a:lnTo>
                  <a:lnTo>
                    <a:pt x="243" y="319"/>
                  </a:lnTo>
                  <a:lnTo>
                    <a:pt x="243" y="316"/>
                  </a:lnTo>
                  <a:lnTo>
                    <a:pt x="243" y="316"/>
                  </a:lnTo>
                  <a:lnTo>
                    <a:pt x="240" y="314"/>
                  </a:lnTo>
                  <a:lnTo>
                    <a:pt x="238" y="311"/>
                  </a:lnTo>
                  <a:lnTo>
                    <a:pt x="235" y="309"/>
                  </a:lnTo>
                  <a:lnTo>
                    <a:pt x="233" y="306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1"/>
                  </a:lnTo>
                  <a:lnTo>
                    <a:pt x="235" y="298"/>
                  </a:lnTo>
                  <a:lnTo>
                    <a:pt x="235" y="296"/>
                  </a:lnTo>
                  <a:lnTo>
                    <a:pt x="233" y="296"/>
                  </a:lnTo>
                  <a:lnTo>
                    <a:pt x="233" y="296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5" y="290"/>
                  </a:lnTo>
                  <a:lnTo>
                    <a:pt x="225" y="288"/>
                  </a:lnTo>
                  <a:lnTo>
                    <a:pt x="222" y="288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17" y="280"/>
                  </a:lnTo>
                  <a:lnTo>
                    <a:pt x="217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2" y="277"/>
                  </a:lnTo>
                  <a:lnTo>
                    <a:pt x="209" y="280"/>
                  </a:lnTo>
                  <a:lnTo>
                    <a:pt x="209" y="280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12" y="290"/>
                  </a:lnTo>
                  <a:lnTo>
                    <a:pt x="209" y="290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2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8"/>
                  </a:lnTo>
                  <a:lnTo>
                    <a:pt x="201" y="298"/>
                  </a:lnTo>
                  <a:lnTo>
                    <a:pt x="201" y="298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201" y="298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9"/>
                  </a:lnTo>
                  <a:lnTo>
                    <a:pt x="196" y="309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1" y="309"/>
                  </a:lnTo>
                  <a:lnTo>
                    <a:pt x="191" y="311"/>
                  </a:lnTo>
                  <a:lnTo>
                    <a:pt x="191" y="311"/>
                  </a:lnTo>
                  <a:lnTo>
                    <a:pt x="191" y="314"/>
                  </a:lnTo>
                  <a:lnTo>
                    <a:pt x="191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6" y="311"/>
                  </a:lnTo>
                  <a:lnTo>
                    <a:pt x="183" y="311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1" y="314"/>
                  </a:lnTo>
                  <a:lnTo>
                    <a:pt x="181" y="314"/>
                  </a:lnTo>
                  <a:lnTo>
                    <a:pt x="181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0" y="316"/>
                  </a:lnTo>
                  <a:lnTo>
                    <a:pt x="170" y="316"/>
                  </a:lnTo>
                  <a:lnTo>
                    <a:pt x="168" y="316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5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57" y="332"/>
                  </a:lnTo>
                  <a:lnTo>
                    <a:pt x="157" y="332"/>
                  </a:lnTo>
                  <a:lnTo>
                    <a:pt x="155" y="332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29"/>
                  </a:lnTo>
                  <a:lnTo>
                    <a:pt x="150" y="329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7" y="334"/>
                  </a:lnTo>
                  <a:lnTo>
                    <a:pt x="145" y="334"/>
                  </a:lnTo>
                  <a:lnTo>
                    <a:pt x="145" y="334"/>
                  </a:lnTo>
                  <a:lnTo>
                    <a:pt x="142" y="334"/>
                  </a:lnTo>
                  <a:lnTo>
                    <a:pt x="142" y="334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4"/>
                  </a:lnTo>
                  <a:lnTo>
                    <a:pt x="137" y="337"/>
                  </a:lnTo>
                  <a:lnTo>
                    <a:pt x="137" y="337"/>
                  </a:lnTo>
                  <a:lnTo>
                    <a:pt x="137" y="340"/>
                  </a:lnTo>
                  <a:lnTo>
                    <a:pt x="137" y="337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2" y="334"/>
                  </a:lnTo>
                  <a:lnTo>
                    <a:pt x="132" y="334"/>
                  </a:lnTo>
                  <a:lnTo>
                    <a:pt x="132" y="337"/>
                  </a:lnTo>
                  <a:lnTo>
                    <a:pt x="129" y="337"/>
                  </a:lnTo>
                  <a:lnTo>
                    <a:pt x="129" y="340"/>
                  </a:lnTo>
                  <a:lnTo>
                    <a:pt x="126" y="340"/>
                  </a:lnTo>
                  <a:lnTo>
                    <a:pt x="126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5"/>
                  </a:lnTo>
                  <a:lnTo>
                    <a:pt x="124" y="345"/>
                  </a:lnTo>
                  <a:lnTo>
                    <a:pt x="121" y="345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19" y="342"/>
                  </a:lnTo>
                  <a:lnTo>
                    <a:pt x="119" y="342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3" y="347"/>
                  </a:lnTo>
                  <a:lnTo>
                    <a:pt x="113" y="350"/>
                  </a:lnTo>
                  <a:lnTo>
                    <a:pt x="113" y="350"/>
                  </a:lnTo>
                  <a:lnTo>
                    <a:pt x="116" y="350"/>
                  </a:lnTo>
                  <a:lnTo>
                    <a:pt x="113" y="350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6" y="353"/>
                  </a:lnTo>
                  <a:lnTo>
                    <a:pt x="116" y="355"/>
                  </a:lnTo>
                  <a:lnTo>
                    <a:pt x="116" y="355"/>
                  </a:lnTo>
                  <a:lnTo>
                    <a:pt x="116" y="358"/>
                  </a:lnTo>
                  <a:lnTo>
                    <a:pt x="116" y="360"/>
                  </a:lnTo>
                  <a:lnTo>
                    <a:pt x="113" y="360"/>
                  </a:lnTo>
                  <a:lnTo>
                    <a:pt x="113" y="360"/>
                  </a:lnTo>
                  <a:lnTo>
                    <a:pt x="111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6" y="360"/>
                  </a:lnTo>
                  <a:lnTo>
                    <a:pt x="106" y="358"/>
                  </a:lnTo>
                  <a:lnTo>
                    <a:pt x="106" y="358"/>
                  </a:lnTo>
                  <a:lnTo>
                    <a:pt x="106" y="355"/>
                  </a:lnTo>
                  <a:lnTo>
                    <a:pt x="103" y="355"/>
                  </a:lnTo>
                  <a:lnTo>
                    <a:pt x="103" y="355"/>
                  </a:lnTo>
                  <a:lnTo>
                    <a:pt x="101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6"/>
                  </a:lnTo>
                  <a:lnTo>
                    <a:pt x="98" y="366"/>
                  </a:lnTo>
                  <a:lnTo>
                    <a:pt x="101" y="366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3" y="368"/>
                  </a:lnTo>
                  <a:lnTo>
                    <a:pt x="101" y="371"/>
                  </a:lnTo>
                  <a:lnTo>
                    <a:pt x="101" y="373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9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98" y="379"/>
                  </a:lnTo>
                  <a:lnTo>
                    <a:pt x="98" y="379"/>
                  </a:lnTo>
                  <a:lnTo>
                    <a:pt x="95" y="381"/>
                  </a:lnTo>
                  <a:lnTo>
                    <a:pt x="93" y="381"/>
                  </a:lnTo>
                  <a:lnTo>
                    <a:pt x="93" y="381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5" y="381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9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0" y="373"/>
                  </a:lnTo>
                  <a:lnTo>
                    <a:pt x="80" y="373"/>
                  </a:lnTo>
                  <a:lnTo>
                    <a:pt x="77" y="376"/>
                  </a:lnTo>
                  <a:lnTo>
                    <a:pt x="75" y="376"/>
                  </a:lnTo>
                  <a:lnTo>
                    <a:pt x="72" y="376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69" y="381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4" y="381"/>
                  </a:lnTo>
                  <a:lnTo>
                    <a:pt x="64" y="381"/>
                  </a:lnTo>
                  <a:lnTo>
                    <a:pt x="64" y="379"/>
                  </a:lnTo>
                  <a:lnTo>
                    <a:pt x="64" y="376"/>
                  </a:lnTo>
                  <a:lnTo>
                    <a:pt x="64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3"/>
                  </a:lnTo>
                  <a:lnTo>
                    <a:pt x="62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6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81"/>
                  </a:lnTo>
                  <a:lnTo>
                    <a:pt x="59" y="381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1"/>
                  </a:lnTo>
                  <a:lnTo>
                    <a:pt x="57" y="381"/>
                  </a:lnTo>
                  <a:lnTo>
                    <a:pt x="54" y="379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4" y="371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4" y="363"/>
                  </a:lnTo>
                  <a:lnTo>
                    <a:pt x="54" y="363"/>
                  </a:lnTo>
                  <a:lnTo>
                    <a:pt x="54" y="360"/>
                  </a:lnTo>
                  <a:lnTo>
                    <a:pt x="51" y="360"/>
                  </a:lnTo>
                  <a:lnTo>
                    <a:pt x="51" y="360"/>
                  </a:lnTo>
                  <a:lnTo>
                    <a:pt x="51" y="358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49" y="353"/>
                  </a:lnTo>
                  <a:lnTo>
                    <a:pt x="49" y="353"/>
                  </a:lnTo>
                  <a:lnTo>
                    <a:pt x="46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1" y="353"/>
                  </a:lnTo>
                  <a:lnTo>
                    <a:pt x="41" y="353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0"/>
                  </a:lnTo>
                  <a:lnTo>
                    <a:pt x="38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3" y="347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4"/>
                  </a:lnTo>
                  <a:lnTo>
                    <a:pt x="44" y="334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1" y="332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3" y="332"/>
                  </a:lnTo>
                  <a:lnTo>
                    <a:pt x="33" y="332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1" y="324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5" y="316"/>
                  </a:lnTo>
                  <a:lnTo>
                    <a:pt x="25" y="316"/>
                  </a:lnTo>
                  <a:lnTo>
                    <a:pt x="23" y="316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3" y="303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5" y="296"/>
                  </a:lnTo>
                  <a:lnTo>
                    <a:pt x="15" y="296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0" y="290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3" y="293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5" y="288"/>
                  </a:lnTo>
                  <a:lnTo>
                    <a:pt x="23" y="285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5" y="280"/>
                  </a:lnTo>
                  <a:lnTo>
                    <a:pt x="23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8" y="270"/>
                  </a:lnTo>
                  <a:lnTo>
                    <a:pt x="15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7" y="270"/>
                  </a:lnTo>
                  <a:lnTo>
                    <a:pt x="5" y="270"/>
                  </a:lnTo>
                  <a:lnTo>
                    <a:pt x="5" y="272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0" y="25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4" name="Freeform 114"/>
            <p:cNvSpPr>
              <a:spLocks/>
            </p:cNvSpPr>
            <p:nvPr/>
          </p:nvSpPr>
          <p:spPr bwMode="auto">
            <a:xfrm>
              <a:off x="754" y="2784"/>
              <a:ext cx="401" cy="384"/>
            </a:xfrm>
            <a:custGeom>
              <a:avLst/>
              <a:gdLst>
                <a:gd name="T0" fmla="*/ 20 w 401"/>
                <a:gd name="T1" fmla="*/ 249 h 384"/>
                <a:gd name="T2" fmla="*/ 28 w 401"/>
                <a:gd name="T3" fmla="*/ 236 h 384"/>
                <a:gd name="T4" fmla="*/ 41 w 401"/>
                <a:gd name="T5" fmla="*/ 202 h 384"/>
                <a:gd name="T6" fmla="*/ 33 w 401"/>
                <a:gd name="T7" fmla="*/ 168 h 384"/>
                <a:gd name="T8" fmla="*/ 18 w 401"/>
                <a:gd name="T9" fmla="*/ 148 h 384"/>
                <a:gd name="T10" fmla="*/ 10 w 401"/>
                <a:gd name="T11" fmla="*/ 124 h 384"/>
                <a:gd name="T12" fmla="*/ 31 w 401"/>
                <a:gd name="T13" fmla="*/ 109 h 384"/>
                <a:gd name="T14" fmla="*/ 59 w 401"/>
                <a:gd name="T15" fmla="*/ 122 h 384"/>
                <a:gd name="T16" fmla="*/ 82 w 401"/>
                <a:gd name="T17" fmla="*/ 111 h 384"/>
                <a:gd name="T18" fmla="*/ 106 w 401"/>
                <a:gd name="T19" fmla="*/ 93 h 384"/>
                <a:gd name="T20" fmla="*/ 106 w 401"/>
                <a:gd name="T21" fmla="*/ 70 h 384"/>
                <a:gd name="T22" fmla="*/ 160 w 401"/>
                <a:gd name="T23" fmla="*/ 44 h 384"/>
                <a:gd name="T24" fmla="*/ 189 w 401"/>
                <a:gd name="T25" fmla="*/ 26 h 384"/>
                <a:gd name="T26" fmla="*/ 204 w 401"/>
                <a:gd name="T27" fmla="*/ 13 h 384"/>
                <a:gd name="T28" fmla="*/ 233 w 401"/>
                <a:gd name="T29" fmla="*/ 34 h 384"/>
                <a:gd name="T30" fmla="*/ 230 w 401"/>
                <a:gd name="T31" fmla="*/ 60 h 384"/>
                <a:gd name="T32" fmla="*/ 225 w 401"/>
                <a:gd name="T33" fmla="*/ 75 h 384"/>
                <a:gd name="T34" fmla="*/ 251 w 401"/>
                <a:gd name="T35" fmla="*/ 80 h 384"/>
                <a:gd name="T36" fmla="*/ 279 w 401"/>
                <a:gd name="T37" fmla="*/ 70 h 384"/>
                <a:gd name="T38" fmla="*/ 287 w 401"/>
                <a:gd name="T39" fmla="*/ 52 h 384"/>
                <a:gd name="T40" fmla="*/ 277 w 401"/>
                <a:gd name="T41" fmla="*/ 23 h 384"/>
                <a:gd name="T42" fmla="*/ 284 w 401"/>
                <a:gd name="T43" fmla="*/ 16 h 384"/>
                <a:gd name="T44" fmla="*/ 315 w 401"/>
                <a:gd name="T45" fmla="*/ 3 h 384"/>
                <a:gd name="T46" fmla="*/ 318 w 401"/>
                <a:gd name="T47" fmla="*/ 21 h 384"/>
                <a:gd name="T48" fmla="*/ 346 w 401"/>
                <a:gd name="T49" fmla="*/ 16 h 384"/>
                <a:gd name="T50" fmla="*/ 362 w 401"/>
                <a:gd name="T51" fmla="*/ 18 h 384"/>
                <a:gd name="T52" fmla="*/ 349 w 401"/>
                <a:gd name="T53" fmla="*/ 34 h 384"/>
                <a:gd name="T54" fmla="*/ 354 w 401"/>
                <a:gd name="T55" fmla="*/ 54 h 384"/>
                <a:gd name="T56" fmla="*/ 352 w 401"/>
                <a:gd name="T57" fmla="*/ 67 h 384"/>
                <a:gd name="T58" fmla="*/ 365 w 401"/>
                <a:gd name="T59" fmla="*/ 75 h 384"/>
                <a:gd name="T60" fmla="*/ 372 w 401"/>
                <a:gd name="T61" fmla="*/ 98 h 384"/>
                <a:gd name="T62" fmla="*/ 385 w 401"/>
                <a:gd name="T63" fmla="*/ 109 h 384"/>
                <a:gd name="T64" fmla="*/ 398 w 401"/>
                <a:gd name="T65" fmla="*/ 127 h 384"/>
                <a:gd name="T66" fmla="*/ 390 w 401"/>
                <a:gd name="T67" fmla="*/ 150 h 384"/>
                <a:gd name="T68" fmla="*/ 383 w 401"/>
                <a:gd name="T69" fmla="*/ 174 h 384"/>
                <a:gd name="T70" fmla="*/ 365 w 401"/>
                <a:gd name="T71" fmla="*/ 189 h 384"/>
                <a:gd name="T72" fmla="*/ 339 w 401"/>
                <a:gd name="T73" fmla="*/ 189 h 384"/>
                <a:gd name="T74" fmla="*/ 313 w 401"/>
                <a:gd name="T75" fmla="*/ 202 h 384"/>
                <a:gd name="T76" fmla="*/ 310 w 401"/>
                <a:gd name="T77" fmla="*/ 223 h 384"/>
                <a:gd name="T78" fmla="*/ 315 w 401"/>
                <a:gd name="T79" fmla="*/ 244 h 384"/>
                <a:gd name="T80" fmla="*/ 297 w 401"/>
                <a:gd name="T81" fmla="*/ 257 h 384"/>
                <a:gd name="T82" fmla="*/ 284 w 401"/>
                <a:gd name="T83" fmla="*/ 283 h 384"/>
                <a:gd name="T84" fmla="*/ 258 w 401"/>
                <a:gd name="T85" fmla="*/ 296 h 384"/>
                <a:gd name="T86" fmla="*/ 246 w 401"/>
                <a:gd name="T87" fmla="*/ 319 h 384"/>
                <a:gd name="T88" fmla="*/ 225 w 401"/>
                <a:gd name="T89" fmla="*/ 290 h 384"/>
                <a:gd name="T90" fmla="*/ 209 w 401"/>
                <a:gd name="T91" fmla="*/ 290 h 384"/>
                <a:gd name="T92" fmla="*/ 201 w 401"/>
                <a:gd name="T93" fmla="*/ 301 h 384"/>
                <a:gd name="T94" fmla="*/ 186 w 401"/>
                <a:gd name="T95" fmla="*/ 311 h 384"/>
                <a:gd name="T96" fmla="*/ 168 w 401"/>
                <a:gd name="T97" fmla="*/ 321 h 384"/>
                <a:gd name="T98" fmla="*/ 147 w 401"/>
                <a:gd name="T99" fmla="*/ 329 h 384"/>
                <a:gd name="T100" fmla="*/ 124 w 401"/>
                <a:gd name="T101" fmla="*/ 342 h 384"/>
                <a:gd name="T102" fmla="*/ 116 w 401"/>
                <a:gd name="T103" fmla="*/ 353 h 384"/>
                <a:gd name="T104" fmla="*/ 101 w 401"/>
                <a:gd name="T105" fmla="*/ 360 h 384"/>
                <a:gd name="T106" fmla="*/ 88 w 401"/>
                <a:gd name="T107" fmla="*/ 379 h 384"/>
                <a:gd name="T108" fmla="*/ 67 w 401"/>
                <a:gd name="T109" fmla="*/ 381 h 384"/>
                <a:gd name="T110" fmla="*/ 59 w 401"/>
                <a:gd name="T111" fmla="*/ 384 h 384"/>
                <a:gd name="T112" fmla="*/ 51 w 401"/>
                <a:gd name="T113" fmla="*/ 358 h 384"/>
                <a:gd name="T114" fmla="*/ 36 w 401"/>
                <a:gd name="T115" fmla="*/ 347 h 384"/>
                <a:gd name="T116" fmla="*/ 33 w 401"/>
                <a:gd name="T117" fmla="*/ 332 h 384"/>
                <a:gd name="T118" fmla="*/ 18 w 401"/>
                <a:gd name="T119" fmla="*/ 314 h 384"/>
                <a:gd name="T120" fmla="*/ 23 w 401"/>
                <a:gd name="T121" fmla="*/ 290 h 384"/>
                <a:gd name="T122" fmla="*/ 7 w 401"/>
                <a:gd name="T123" fmla="*/ 27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1" h="384">
                  <a:moveTo>
                    <a:pt x="0" y="257"/>
                  </a:moveTo>
                  <a:lnTo>
                    <a:pt x="0" y="257"/>
                  </a:lnTo>
                  <a:lnTo>
                    <a:pt x="2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5" y="257"/>
                  </a:lnTo>
                  <a:lnTo>
                    <a:pt x="7" y="257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7" y="259"/>
                  </a:lnTo>
                  <a:lnTo>
                    <a:pt x="10" y="259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9"/>
                  </a:lnTo>
                  <a:lnTo>
                    <a:pt x="10" y="257"/>
                  </a:lnTo>
                  <a:lnTo>
                    <a:pt x="10" y="257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3" y="254"/>
                  </a:lnTo>
                  <a:lnTo>
                    <a:pt x="15" y="251"/>
                  </a:lnTo>
                  <a:lnTo>
                    <a:pt x="18" y="251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3" y="244"/>
                  </a:lnTo>
                  <a:lnTo>
                    <a:pt x="23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28" y="241"/>
                  </a:lnTo>
                  <a:lnTo>
                    <a:pt x="31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3" y="233"/>
                  </a:lnTo>
                  <a:lnTo>
                    <a:pt x="31" y="233"/>
                  </a:lnTo>
                  <a:lnTo>
                    <a:pt x="28" y="236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3"/>
                  </a:lnTo>
                  <a:lnTo>
                    <a:pt x="23" y="231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6"/>
                  </a:lnTo>
                  <a:lnTo>
                    <a:pt x="25" y="223"/>
                  </a:lnTo>
                  <a:lnTo>
                    <a:pt x="28" y="220"/>
                  </a:lnTo>
                  <a:lnTo>
                    <a:pt x="28" y="218"/>
                  </a:lnTo>
                  <a:lnTo>
                    <a:pt x="28" y="215"/>
                  </a:lnTo>
                  <a:lnTo>
                    <a:pt x="31" y="215"/>
                  </a:lnTo>
                  <a:lnTo>
                    <a:pt x="31" y="213"/>
                  </a:lnTo>
                  <a:lnTo>
                    <a:pt x="33" y="213"/>
                  </a:lnTo>
                  <a:lnTo>
                    <a:pt x="33" y="210"/>
                  </a:lnTo>
                  <a:lnTo>
                    <a:pt x="36" y="210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41" y="202"/>
                  </a:lnTo>
                  <a:lnTo>
                    <a:pt x="41" y="202"/>
                  </a:lnTo>
                  <a:lnTo>
                    <a:pt x="38" y="200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41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6" y="197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41" y="184"/>
                  </a:lnTo>
                  <a:lnTo>
                    <a:pt x="38" y="184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3" y="174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28" y="166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6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0" y="150"/>
                  </a:lnTo>
                  <a:lnTo>
                    <a:pt x="18" y="150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3" y="132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7"/>
                  </a:lnTo>
                  <a:lnTo>
                    <a:pt x="10" y="127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0" y="122"/>
                  </a:lnTo>
                  <a:lnTo>
                    <a:pt x="13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19"/>
                  </a:lnTo>
                  <a:lnTo>
                    <a:pt x="28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1" y="114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5" y="111"/>
                  </a:lnTo>
                  <a:lnTo>
                    <a:pt x="28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4"/>
                  </a:lnTo>
                  <a:lnTo>
                    <a:pt x="38" y="114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9" y="114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9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7" y="119"/>
                  </a:lnTo>
                  <a:lnTo>
                    <a:pt x="57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4"/>
                  </a:lnTo>
                  <a:lnTo>
                    <a:pt x="72" y="114"/>
                  </a:lnTo>
                  <a:lnTo>
                    <a:pt x="75" y="111"/>
                  </a:lnTo>
                  <a:lnTo>
                    <a:pt x="77" y="111"/>
                  </a:lnTo>
                  <a:lnTo>
                    <a:pt x="82" y="111"/>
                  </a:lnTo>
                  <a:lnTo>
                    <a:pt x="85" y="109"/>
                  </a:lnTo>
                  <a:lnTo>
                    <a:pt x="88" y="109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01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96"/>
                  </a:lnTo>
                  <a:lnTo>
                    <a:pt x="108" y="96"/>
                  </a:lnTo>
                  <a:lnTo>
                    <a:pt x="108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1"/>
                  </a:lnTo>
                  <a:lnTo>
                    <a:pt x="103" y="91"/>
                  </a:lnTo>
                  <a:lnTo>
                    <a:pt x="101" y="88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3" y="86"/>
                  </a:lnTo>
                  <a:lnTo>
                    <a:pt x="93" y="83"/>
                  </a:lnTo>
                  <a:lnTo>
                    <a:pt x="90" y="83"/>
                  </a:lnTo>
                  <a:lnTo>
                    <a:pt x="93" y="83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5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11" y="70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3" y="65"/>
                  </a:lnTo>
                  <a:lnTo>
                    <a:pt x="113" y="62"/>
                  </a:lnTo>
                  <a:lnTo>
                    <a:pt x="116" y="62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21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4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4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9" y="47"/>
                  </a:lnTo>
                  <a:lnTo>
                    <a:pt x="142" y="47"/>
                  </a:lnTo>
                  <a:lnTo>
                    <a:pt x="142" y="44"/>
                  </a:lnTo>
                  <a:lnTo>
                    <a:pt x="145" y="47"/>
                  </a:lnTo>
                  <a:lnTo>
                    <a:pt x="152" y="47"/>
                  </a:lnTo>
                  <a:lnTo>
                    <a:pt x="160" y="47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1"/>
                  </a:lnTo>
                  <a:lnTo>
                    <a:pt x="168" y="39"/>
                  </a:lnTo>
                  <a:lnTo>
                    <a:pt x="168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0" y="39"/>
                  </a:lnTo>
                  <a:lnTo>
                    <a:pt x="173" y="39"/>
                  </a:lnTo>
                  <a:lnTo>
                    <a:pt x="173" y="36"/>
                  </a:lnTo>
                  <a:lnTo>
                    <a:pt x="176" y="36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6" y="31"/>
                  </a:lnTo>
                  <a:lnTo>
                    <a:pt x="178" y="31"/>
                  </a:lnTo>
                  <a:lnTo>
                    <a:pt x="181" y="31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89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6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1"/>
                  </a:lnTo>
                  <a:lnTo>
                    <a:pt x="194" y="21"/>
                  </a:lnTo>
                  <a:lnTo>
                    <a:pt x="194" y="21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1" y="13"/>
                  </a:lnTo>
                  <a:lnTo>
                    <a:pt x="194" y="10"/>
                  </a:lnTo>
                  <a:lnTo>
                    <a:pt x="194" y="8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201" y="13"/>
                  </a:lnTo>
                  <a:lnTo>
                    <a:pt x="201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16"/>
                  </a:lnTo>
                  <a:lnTo>
                    <a:pt x="204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9" y="23"/>
                  </a:lnTo>
                  <a:lnTo>
                    <a:pt x="212" y="23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20" y="26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5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30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8" y="36"/>
                  </a:lnTo>
                  <a:lnTo>
                    <a:pt x="238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5" y="39"/>
                  </a:lnTo>
                  <a:lnTo>
                    <a:pt x="233" y="39"/>
                  </a:lnTo>
                  <a:lnTo>
                    <a:pt x="230" y="39"/>
                  </a:lnTo>
                  <a:lnTo>
                    <a:pt x="230" y="41"/>
                  </a:lnTo>
                  <a:lnTo>
                    <a:pt x="230" y="41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9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27" y="54"/>
                  </a:lnTo>
                  <a:lnTo>
                    <a:pt x="227" y="54"/>
                  </a:lnTo>
                  <a:lnTo>
                    <a:pt x="227" y="57"/>
                  </a:lnTo>
                  <a:lnTo>
                    <a:pt x="227" y="57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3" y="60"/>
                  </a:lnTo>
                  <a:lnTo>
                    <a:pt x="233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5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33" y="73"/>
                  </a:lnTo>
                  <a:lnTo>
                    <a:pt x="233" y="75"/>
                  </a:lnTo>
                  <a:lnTo>
                    <a:pt x="230" y="75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7" y="78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27" y="80"/>
                  </a:lnTo>
                  <a:lnTo>
                    <a:pt x="230" y="80"/>
                  </a:lnTo>
                  <a:lnTo>
                    <a:pt x="230" y="80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0" y="83"/>
                  </a:lnTo>
                  <a:lnTo>
                    <a:pt x="233" y="83"/>
                  </a:lnTo>
                  <a:lnTo>
                    <a:pt x="235" y="86"/>
                  </a:lnTo>
                  <a:lnTo>
                    <a:pt x="235" y="86"/>
                  </a:lnTo>
                  <a:lnTo>
                    <a:pt x="238" y="86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3" y="78"/>
                  </a:lnTo>
                  <a:lnTo>
                    <a:pt x="256" y="78"/>
                  </a:lnTo>
                  <a:lnTo>
                    <a:pt x="258" y="78"/>
                  </a:lnTo>
                  <a:lnTo>
                    <a:pt x="258" y="78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4" y="75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3"/>
                  </a:lnTo>
                  <a:lnTo>
                    <a:pt x="264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9" y="70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9" y="70"/>
                  </a:lnTo>
                  <a:lnTo>
                    <a:pt x="269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1" y="70"/>
                  </a:lnTo>
                  <a:lnTo>
                    <a:pt x="274" y="70"/>
                  </a:lnTo>
                  <a:lnTo>
                    <a:pt x="274" y="70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9" y="70"/>
                  </a:lnTo>
                  <a:lnTo>
                    <a:pt x="279" y="70"/>
                  </a:lnTo>
                  <a:lnTo>
                    <a:pt x="279" y="73"/>
                  </a:lnTo>
                  <a:lnTo>
                    <a:pt x="282" y="73"/>
                  </a:lnTo>
                  <a:lnTo>
                    <a:pt x="282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2" y="70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7" y="65"/>
                  </a:lnTo>
                  <a:lnTo>
                    <a:pt x="287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0" y="57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0" y="44"/>
                  </a:lnTo>
                  <a:lnTo>
                    <a:pt x="290" y="41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6"/>
                  </a:lnTo>
                  <a:lnTo>
                    <a:pt x="290" y="36"/>
                  </a:lnTo>
                  <a:lnTo>
                    <a:pt x="290" y="34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7" y="28"/>
                  </a:lnTo>
                  <a:lnTo>
                    <a:pt x="284" y="26"/>
                  </a:lnTo>
                  <a:lnTo>
                    <a:pt x="282" y="23"/>
                  </a:lnTo>
                  <a:lnTo>
                    <a:pt x="279" y="23"/>
                  </a:lnTo>
                  <a:lnTo>
                    <a:pt x="277" y="23"/>
                  </a:lnTo>
                  <a:lnTo>
                    <a:pt x="274" y="21"/>
                  </a:lnTo>
                  <a:lnTo>
                    <a:pt x="271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0"/>
                  </a:lnTo>
                  <a:lnTo>
                    <a:pt x="271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79" y="13"/>
                  </a:lnTo>
                  <a:lnTo>
                    <a:pt x="282" y="16"/>
                  </a:lnTo>
                  <a:lnTo>
                    <a:pt x="282" y="13"/>
                  </a:lnTo>
                  <a:lnTo>
                    <a:pt x="282" y="13"/>
                  </a:lnTo>
                  <a:lnTo>
                    <a:pt x="284" y="13"/>
                  </a:lnTo>
                  <a:lnTo>
                    <a:pt x="284" y="16"/>
                  </a:lnTo>
                  <a:lnTo>
                    <a:pt x="284" y="13"/>
                  </a:lnTo>
                  <a:lnTo>
                    <a:pt x="287" y="13"/>
                  </a:lnTo>
                  <a:lnTo>
                    <a:pt x="287" y="10"/>
                  </a:lnTo>
                  <a:lnTo>
                    <a:pt x="290" y="10"/>
                  </a:lnTo>
                  <a:lnTo>
                    <a:pt x="290" y="8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7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0" y="3"/>
                  </a:lnTo>
                  <a:lnTo>
                    <a:pt x="305" y="3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5" y="0"/>
                  </a:lnTo>
                  <a:lnTo>
                    <a:pt x="315" y="0"/>
                  </a:lnTo>
                  <a:lnTo>
                    <a:pt x="315" y="3"/>
                  </a:lnTo>
                  <a:lnTo>
                    <a:pt x="313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5" y="8"/>
                  </a:lnTo>
                  <a:lnTo>
                    <a:pt x="318" y="10"/>
                  </a:lnTo>
                  <a:lnTo>
                    <a:pt x="318" y="10"/>
                  </a:lnTo>
                  <a:lnTo>
                    <a:pt x="318" y="13"/>
                  </a:lnTo>
                  <a:lnTo>
                    <a:pt x="315" y="13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18" y="23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8" y="23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4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4" y="21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6" y="13"/>
                  </a:lnTo>
                  <a:lnTo>
                    <a:pt x="346" y="13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52" y="10"/>
                  </a:lnTo>
                  <a:lnTo>
                    <a:pt x="352" y="8"/>
                  </a:lnTo>
                  <a:lnTo>
                    <a:pt x="354" y="8"/>
                  </a:lnTo>
                  <a:lnTo>
                    <a:pt x="354" y="8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7" y="5"/>
                  </a:lnTo>
                  <a:lnTo>
                    <a:pt x="359" y="5"/>
                  </a:lnTo>
                  <a:lnTo>
                    <a:pt x="362" y="5"/>
                  </a:lnTo>
                  <a:lnTo>
                    <a:pt x="362" y="5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2" y="10"/>
                  </a:lnTo>
                  <a:lnTo>
                    <a:pt x="362" y="13"/>
                  </a:lnTo>
                  <a:lnTo>
                    <a:pt x="359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5" y="18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62" y="23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8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7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2" y="34"/>
                  </a:lnTo>
                  <a:lnTo>
                    <a:pt x="352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6"/>
                  </a:lnTo>
                  <a:lnTo>
                    <a:pt x="346" y="36"/>
                  </a:lnTo>
                  <a:lnTo>
                    <a:pt x="349" y="39"/>
                  </a:lnTo>
                  <a:lnTo>
                    <a:pt x="346" y="39"/>
                  </a:lnTo>
                  <a:lnTo>
                    <a:pt x="346" y="41"/>
                  </a:lnTo>
                  <a:lnTo>
                    <a:pt x="344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4"/>
                  </a:lnTo>
                  <a:lnTo>
                    <a:pt x="346" y="47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7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7" y="49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2" y="52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7"/>
                  </a:lnTo>
                  <a:lnTo>
                    <a:pt x="354" y="57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6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57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4" y="67"/>
                  </a:lnTo>
                  <a:lnTo>
                    <a:pt x="354" y="67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2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0"/>
                  </a:lnTo>
                  <a:lnTo>
                    <a:pt x="367" y="73"/>
                  </a:lnTo>
                  <a:lnTo>
                    <a:pt x="365" y="73"/>
                  </a:lnTo>
                  <a:lnTo>
                    <a:pt x="365" y="73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5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5"/>
                  </a:lnTo>
                  <a:lnTo>
                    <a:pt x="367" y="78"/>
                  </a:lnTo>
                  <a:lnTo>
                    <a:pt x="370" y="78"/>
                  </a:lnTo>
                  <a:lnTo>
                    <a:pt x="370" y="78"/>
                  </a:lnTo>
                  <a:lnTo>
                    <a:pt x="372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3"/>
                  </a:lnTo>
                  <a:lnTo>
                    <a:pt x="367" y="83"/>
                  </a:lnTo>
                  <a:lnTo>
                    <a:pt x="370" y="86"/>
                  </a:lnTo>
                  <a:lnTo>
                    <a:pt x="370" y="86"/>
                  </a:lnTo>
                  <a:lnTo>
                    <a:pt x="372" y="88"/>
                  </a:lnTo>
                  <a:lnTo>
                    <a:pt x="370" y="88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2" y="91"/>
                  </a:lnTo>
                  <a:lnTo>
                    <a:pt x="370" y="93"/>
                  </a:lnTo>
                  <a:lnTo>
                    <a:pt x="370" y="93"/>
                  </a:lnTo>
                  <a:lnTo>
                    <a:pt x="367" y="93"/>
                  </a:lnTo>
                  <a:lnTo>
                    <a:pt x="370" y="96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5" y="96"/>
                  </a:lnTo>
                  <a:lnTo>
                    <a:pt x="375" y="96"/>
                  </a:lnTo>
                  <a:lnTo>
                    <a:pt x="378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3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6"/>
                  </a:lnTo>
                  <a:lnTo>
                    <a:pt x="385" y="109"/>
                  </a:lnTo>
                  <a:lnTo>
                    <a:pt x="388" y="109"/>
                  </a:lnTo>
                  <a:lnTo>
                    <a:pt x="388" y="111"/>
                  </a:lnTo>
                  <a:lnTo>
                    <a:pt x="388" y="114"/>
                  </a:lnTo>
                  <a:lnTo>
                    <a:pt x="388" y="114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5" y="117"/>
                  </a:lnTo>
                  <a:lnTo>
                    <a:pt x="388" y="117"/>
                  </a:lnTo>
                  <a:lnTo>
                    <a:pt x="390" y="117"/>
                  </a:lnTo>
                  <a:lnTo>
                    <a:pt x="390" y="114"/>
                  </a:lnTo>
                  <a:lnTo>
                    <a:pt x="393" y="117"/>
                  </a:lnTo>
                  <a:lnTo>
                    <a:pt x="393" y="117"/>
                  </a:lnTo>
                  <a:lnTo>
                    <a:pt x="396" y="117"/>
                  </a:lnTo>
                  <a:lnTo>
                    <a:pt x="398" y="117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1" y="117"/>
                  </a:lnTo>
                  <a:lnTo>
                    <a:pt x="398" y="117"/>
                  </a:lnTo>
                  <a:lnTo>
                    <a:pt x="398" y="119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2"/>
                  </a:lnTo>
                  <a:lnTo>
                    <a:pt x="398" y="124"/>
                  </a:lnTo>
                  <a:lnTo>
                    <a:pt x="396" y="124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8" y="130"/>
                  </a:lnTo>
                  <a:lnTo>
                    <a:pt x="396" y="132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0" y="135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0" y="137"/>
                  </a:lnTo>
                  <a:lnTo>
                    <a:pt x="393" y="137"/>
                  </a:lnTo>
                  <a:lnTo>
                    <a:pt x="393" y="137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0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5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3" y="148"/>
                  </a:lnTo>
                  <a:lnTo>
                    <a:pt x="393" y="150"/>
                  </a:lnTo>
                  <a:lnTo>
                    <a:pt x="390" y="150"/>
                  </a:lnTo>
                  <a:lnTo>
                    <a:pt x="390" y="150"/>
                  </a:lnTo>
                  <a:lnTo>
                    <a:pt x="390" y="153"/>
                  </a:lnTo>
                  <a:lnTo>
                    <a:pt x="390" y="153"/>
                  </a:lnTo>
                  <a:lnTo>
                    <a:pt x="393" y="153"/>
                  </a:lnTo>
                  <a:lnTo>
                    <a:pt x="396" y="153"/>
                  </a:lnTo>
                  <a:lnTo>
                    <a:pt x="396" y="153"/>
                  </a:lnTo>
                  <a:lnTo>
                    <a:pt x="398" y="153"/>
                  </a:lnTo>
                  <a:lnTo>
                    <a:pt x="398" y="156"/>
                  </a:lnTo>
                  <a:lnTo>
                    <a:pt x="396" y="156"/>
                  </a:lnTo>
                  <a:lnTo>
                    <a:pt x="396" y="156"/>
                  </a:lnTo>
                  <a:lnTo>
                    <a:pt x="393" y="156"/>
                  </a:lnTo>
                  <a:lnTo>
                    <a:pt x="393" y="156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90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90" y="163"/>
                  </a:lnTo>
                  <a:lnTo>
                    <a:pt x="388" y="163"/>
                  </a:lnTo>
                  <a:lnTo>
                    <a:pt x="388" y="166"/>
                  </a:lnTo>
                  <a:lnTo>
                    <a:pt x="385" y="168"/>
                  </a:lnTo>
                  <a:lnTo>
                    <a:pt x="383" y="168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5" y="171"/>
                  </a:lnTo>
                  <a:lnTo>
                    <a:pt x="383" y="171"/>
                  </a:lnTo>
                  <a:lnTo>
                    <a:pt x="383" y="174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3" y="176"/>
                  </a:lnTo>
                  <a:lnTo>
                    <a:pt x="380" y="176"/>
                  </a:lnTo>
                  <a:lnTo>
                    <a:pt x="380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8" y="179"/>
                  </a:lnTo>
                  <a:lnTo>
                    <a:pt x="375" y="179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5" y="181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72" y="187"/>
                  </a:lnTo>
                  <a:lnTo>
                    <a:pt x="372" y="184"/>
                  </a:lnTo>
                  <a:lnTo>
                    <a:pt x="370" y="184"/>
                  </a:lnTo>
                  <a:lnTo>
                    <a:pt x="370" y="184"/>
                  </a:lnTo>
                  <a:lnTo>
                    <a:pt x="367" y="184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7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5" y="189"/>
                  </a:lnTo>
                  <a:lnTo>
                    <a:pt x="365" y="187"/>
                  </a:lnTo>
                  <a:lnTo>
                    <a:pt x="362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9" y="187"/>
                  </a:lnTo>
                  <a:lnTo>
                    <a:pt x="357" y="184"/>
                  </a:lnTo>
                  <a:lnTo>
                    <a:pt x="359" y="184"/>
                  </a:lnTo>
                  <a:lnTo>
                    <a:pt x="359" y="181"/>
                  </a:lnTo>
                  <a:lnTo>
                    <a:pt x="359" y="179"/>
                  </a:lnTo>
                  <a:lnTo>
                    <a:pt x="357" y="179"/>
                  </a:lnTo>
                  <a:lnTo>
                    <a:pt x="357" y="179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2" y="179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52" y="176"/>
                  </a:lnTo>
                  <a:lnTo>
                    <a:pt x="349" y="179"/>
                  </a:lnTo>
                  <a:lnTo>
                    <a:pt x="339" y="181"/>
                  </a:lnTo>
                  <a:lnTo>
                    <a:pt x="336" y="181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39" y="187"/>
                  </a:lnTo>
                  <a:lnTo>
                    <a:pt x="341" y="189"/>
                  </a:lnTo>
                  <a:lnTo>
                    <a:pt x="339" y="189"/>
                  </a:lnTo>
                  <a:lnTo>
                    <a:pt x="339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1" y="192"/>
                  </a:lnTo>
                  <a:lnTo>
                    <a:pt x="344" y="192"/>
                  </a:lnTo>
                  <a:lnTo>
                    <a:pt x="344" y="192"/>
                  </a:lnTo>
                  <a:lnTo>
                    <a:pt x="344" y="194"/>
                  </a:lnTo>
                  <a:lnTo>
                    <a:pt x="344" y="194"/>
                  </a:lnTo>
                  <a:lnTo>
                    <a:pt x="341" y="197"/>
                  </a:lnTo>
                  <a:lnTo>
                    <a:pt x="339" y="197"/>
                  </a:lnTo>
                  <a:lnTo>
                    <a:pt x="336" y="197"/>
                  </a:lnTo>
                  <a:lnTo>
                    <a:pt x="334" y="200"/>
                  </a:lnTo>
                  <a:lnTo>
                    <a:pt x="334" y="200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200"/>
                  </a:lnTo>
                  <a:lnTo>
                    <a:pt x="328" y="200"/>
                  </a:lnTo>
                  <a:lnTo>
                    <a:pt x="326" y="200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1" y="202"/>
                  </a:lnTo>
                  <a:lnTo>
                    <a:pt x="318" y="202"/>
                  </a:lnTo>
                  <a:lnTo>
                    <a:pt x="315" y="200"/>
                  </a:lnTo>
                  <a:lnTo>
                    <a:pt x="313" y="200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3" y="205"/>
                  </a:lnTo>
                  <a:lnTo>
                    <a:pt x="313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10" y="205"/>
                  </a:lnTo>
                  <a:lnTo>
                    <a:pt x="308" y="205"/>
                  </a:lnTo>
                  <a:lnTo>
                    <a:pt x="308" y="207"/>
                  </a:lnTo>
                  <a:lnTo>
                    <a:pt x="308" y="207"/>
                  </a:lnTo>
                  <a:lnTo>
                    <a:pt x="305" y="210"/>
                  </a:lnTo>
                  <a:lnTo>
                    <a:pt x="302" y="213"/>
                  </a:lnTo>
                  <a:lnTo>
                    <a:pt x="300" y="215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18"/>
                  </a:lnTo>
                  <a:lnTo>
                    <a:pt x="300" y="220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2" y="223"/>
                  </a:lnTo>
                  <a:lnTo>
                    <a:pt x="305" y="223"/>
                  </a:lnTo>
                  <a:lnTo>
                    <a:pt x="305" y="223"/>
                  </a:lnTo>
                  <a:lnTo>
                    <a:pt x="308" y="223"/>
                  </a:lnTo>
                  <a:lnTo>
                    <a:pt x="310" y="223"/>
                  </a:lnTo>
                  <a:lnTo>
                    <a:pt x="310" y="220"/>
                  </a:lnTo>
                  <a:lnTo>
                    <a:pt x="313" y="220"/>
                  </a:lnTo>
                  <a:lnTo>
                    <a:pt x="315" y="218"/>
                  </a:lnTo>
                  <a:lnTo>
                    <a:pt x="315" y="218"/>
                  </a:lnTo>
                  <a:lnTo>
                    <a:pt x="318" y="218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3"/>
                  </a:lnTo>
                  <a:lnTo>
                    <a:pt x="318" y="223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21" y="226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1" y="228"/>
                  </a:lnTo>
                  <a:lnTo>
                    <a:pt x="323" y="228"/>
                  </a:lnTo>
                  <a:lnTo>
                    <a:pt x="323" y="231"/>
                  </a:lnTo>
                  <a:lnTo>
                    <a:pt x="321" y="231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6"/>
                  </a:lnTo>
                  <a:lnTo>
                    <a:pt x="321" y="236"/>
                  </a:lnTo>
                  <a:lnTo>
                    <a:pt x="318" y="239"/>
                  </a:lnTo>
                  <a:lnTo>
                    <a:pt x="318" y="239"/>
                  </a:lnTo>
                  <a:lnTo>
                    <a:pt x="318" y="241"/>
                  </a:lnTo>
                  <a:lnTo>
                    <a:pt x="315" y="241"/>
                  </a:lnTo>
                  <a:lnTo>
                    <a:pt x="315" y="244"/>
                  </a:lnTo>
                  <a:lnTo>
                    <a:pt x="315" y="244"/>
                  </a:lnTo>
                  <a:lnTo>
                    <a:pt x="315" y="246"/>
                  </a:lnTo>
                  <a:lnTo>
                    <a:pt x="318" y="246"/>
                  </a:lnTo>
                  <a:lnTo>
                    <a:pt x="318" y="246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3" y="246"/>
                  </a:lnTo>
                  <a:lnTo>
                    <a:pt x="313" y="246"/>
                  </a:lnTo>
                  <a:lnTo>
                    <a:pt x="313" y="249"/>
                  </a:lnTo>
                  <a:lnTo>
                    <a:pt x="313" y="249"/>
                  </a:lnTo>
                  <a:lnTo>
                    <a:pt x="310" y="249"/>
                  </a:lnTo>
                  <a:lnTo>
                    <a:pt x="308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300" y="249"/>
                  </a:lnTo>
                  <a:lnTo>
                    <a:pt x="300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5" y="249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1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5" y="254"/>
                  </a:lnTo>
                  <a:lnTo>
                    <a:pt x="297" y="257"/>
                  </a:lnTo>
                  <a:lnTo>
                    <a:pt x="295" y="257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5" y="259"/>
                  </a:lnTo>
                  <a:lnTo>
                    <a:pt x="297" y="262"/>
                  </a:lnTo>
                  <a:lnTo>
                    <a:pt x="297" y="262"/>
                  </a:lnTo>
                  <a:lnTo>
                    <a:pt x="297" y="264"/>
                  </a:lnTo>
                  <a:lnTo>
                    <a:pt x="295" y="264"/>
                  </a:lnTo>
                  <a:lnTo>
                    <a:pt x="295" y="267"/>
                  </a:lnTo>
                  <a:lnTo>
                    <a:pt x="292" y="267"/>
                  </a:lnTo>
                  <a:lnTo>
                    <a:pt x="292" y="270"/>
                  </a:lnTo>
                  <a:lnTo>
                    <a:pt x="290" y="270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2"/>
                  </a:lnTo>
                  <a:lnTo>
                    <a:pt x="290" y="275"/>
                  </a:lnTo>
                  <a:lnTo>
                    <a:pt x="290" y="275"/>
                  </a:lnTo>
                  <a:lnTo>
                    <a:pt x="290" y="277"/>
                  </a:lnTo>
                  <a:lnTo>
                    <a:pt x="290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77"/>
                  </a:lnTo>
                  <a:lnTo>
                    <a:pt x="287" y="280"/>
                  </a:lnTo>
                  <a:lnTo>
                    <a:pt x="287" y="280"/>
                  </a:lnTo>
                  <a:lnTo>
                    <a:pt x="284" y="283"/>
                  </a:lnTo>
                  <a:lnTo>
                    <a:pt x="284" y="283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5"/>
                  </a:lnTo>
                  <a:lnTo>
                    <a:pt x="282" y="288"/>
                  </a:lnTo>
                  <a:lnTo>
                    <a:pt x="282" y="288"/>
                  </a:lnTo>
                  <a:lnTo>
                    <a:pt x="279" y="288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9" y="290"/>
                  </a:lnTo>
                  <a:lnTo>
                    <a:pt x="277" y="290"/>
                  </a:lnTo>
                  <a:lnTo>
                    <a:pt x="277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4" y="290"/>
                  </a:lnTo>
                  <a:lnTo>
                    <a:pt x="271" y="290"/>
                  </a:lnTo>
                  <a:lnTo>
                    <a:pt x="271" y="290"/>
                  </a:lnTo>
                  <a:lnTo>
                    <a:pt x="271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6" y="288"/>
                  </a:lnTo>
                  <a:lnTo>
                    <a:pt x="266" y="290"/>
                  </a:lnTo>
                  <a:lnTo>
                    <a:pt x="261" y="293"/>
                  </a:lnTo>
                  <a:lnTo>
                    <a:pt x="261" y="293"/>
                  </a:lnTo>
                  <a:lnTo>
                    <a:pt x="258" y="296"/>
                  </a:lnTo>
                  <a:lnTo>
                    <a:pt x="258" y="296"/>
                  </a:lnTo>
                  <a:lnTo>
                    <a:pt x="256" y="298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3" y="303"/>
                  </a:lnTo>
                  <a:lnTo>
                    <a:pt x="251" y="303"/>
                  </a:lnTo>
                  <a:lnTo>
                    <a:pt x="251" y="303"/>
                  </a:lnTo>
                  <a:lnTo>
                    <a:pt x="251" y="306"/>
                  </a:lnTo>
                  <a:lnTo>
                    <a:pt x="251" y="306"/>
                  </a:lnTo>
                  <a:lnTo>
                    <a:pt x="253" y="306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6" y="314"/>
                  </a:lnTo>
                  <a:lnTo>
                    <a:pt x="253" y="316"/>
                  </a:lnTo>
                  <a:lnTo>
                    <a:pt x="253" y="316"/>
                  </a:lnTo>
                  <a:lnTo>
                    <a:pt x="253" y="319"/>
                  </a:lnTo>
                  <a:lnTo>
                    <a:pt x="253" y="319"/>
                  </a:lnTo>
                  <a:lnTo>
                    <a:pt x="251" y="319"/>
                  </a:lnTo>
                  <a:lnTo>
                    <a:pt x="251" y="319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48" y="319"/>
                  </a:lnTo>
                  <a:lnTo>
                    <a:pt x="248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3" y="319"/>
                  </a:lnTo>
                  <a:lnTo>
                    <a:pt x="243" y="319"/>
                  </a:lnTo>
                  <a:lnTo>
                    <a:pt x="243" y="316"/>
                  </a:lnTo>
                  <a:lnTo>
                    <a:pt x="243" y="316"/>
                  </a:lnTo>
                  <a:lnTo>
                    <a:pt x="240" y="314"/>
                  </a:lnTo>
                  <a:lnTo>
                    <a:pt x="238" y="311"/>
                  </a:lnTo>
                  <a:lnTo>
                    <a:pt x="235" y="309"/>
                  </a:lnTo>
                  <a:lnTo>
                    <a:pt x="233" y="306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3"/>
                  </a:lnTo>
                  <a:lnTo>
                    <a:pt x="233" y="301"/>
                  </a:lnTo>
                  <a:lnTo>
                    <a:pt x="235" y="298"/>
                  </a:lnTo>
                  <a:lnTo>
                    <a:pt x="235" y="296"/>
                  </a:lnTo>
                  <a:lnTo>
                    <a:pt x="233" y="296"/>
                  </a:lnTo>
                  <a:lnTo>
                    <a:pt x="233" y="296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3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30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7" y="293"/>
                  </a:lnTo>
                  <a:lnTo>
                    <a:pt x="225" y="290"/>
                  </a:lnTo>
                  <a:lnTo>
                    <a:pt x="225" y="288"/>
                  </a:lnTo>
                  <a:lnTo>
                    <a:pt x="222" y="288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88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20" y="280"/>
                  </a:lnTo>
                  <a:lnTo>
                    <a:pt x="217" y="280"/>
                  </a:lnTo>
                  <a:lnTo>
                    <a:pt x="217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2" y="277"/>
                  </a:lnTo>
                  <a:lnTo>
                    <a:pt x="209" y="280"/>
                  </a:lnTo>
                  <a:lnTo>
                    <a:pt x="209" y="280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12" y="290"/>
                  </a:lnTo>
                  <a:lnTo>
                    <a:pt x="209" y="290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2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7" y="293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8"/>
                  </a:lnTo>
                  <a:lnTo>
                    <a:pt x="201" y="298"/>
                  </a:lnTo>
                  <a:lnTo>
                    <a:pt x="201" y="298"/>
                  </a:lnTo>
                  <a:lnTo>
                    <a:pt x="199" y="298"/>
                  </a:lnTo>
                  <a:lnTo>
                    <a:pt x="199" y="298"/>
                  </a:lnTo>
                  <a:lnTo>
                    <a:pt x="201" y="298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1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3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201" y="306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6"/>
                  </a:lnTo>
                  <a:lnTo>
                    <a:pt x="199" y="309"/>
                  </a:lnTo>
                  <a:lnTo>
                    <a:pt x="196" y="309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1" y="309"/>
                  </a:lnTo>
                  <a:lnTo>
                    <a:pt x="191" y="311"/>
                  </a:lnTo>
                  <a:lnTo>
                    <a:pt x="191" y="311"/>
                  </a:lnTo>
                  <a:lnTo>
                    <a:pt x="191" y="314"/>
                  </a:lnTo>
                  <a:lnTo>
                    <a:pt x="191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6" y="311"/>
                  </a:lnTo>
                  <a:lnTo>
                    <a:pt x="183" y="311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3" y="314"/>
                  </a:lnTo>
                  <a:lnTo>
                    <a:pt x="181" y="314"/>
                  </a:lnTo>
                  <a:lnTo>
                    <a:pt x="181" y="314"/>
                  </a:lnTo>
                  <a:lnTo>
                    <a:pt x="181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0" y="316"/>
                  </a:lnTo>
                  <a:lnTo>
                    <a:pt x="170" y="316"/>
                  </a:lnTo>
                  <a:lnTo>
                    <a:pt x="168" y="316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5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8" y="324"/>
                  </a:lnTo>
                  <a:lnTo>
                    <a:pt x="165" y="324"/>
                  </a:lnTo>
                  <a:lnTo>
                    <a:pt x="165" y="327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29"/>
                  </a:lnTo>
                  <a:lnTo>
                    <a:pt x="163" y="329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57" y="332"/>
                  </a:lnTo>
                  <a:lnTo>
                    <a:pt x="157" y="332"/>
                  </a:lnTo>
                  <a:lnTo>
                    <a:pt x="155" y="332"/>
                  </a:lnTo>
                  <a:lnTo>
                    <a:pt x="152" y="332"/>
                  </a:lnTo>
                  <a:lnTo>
                    <a:pt x="152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29"/>
                  </a:lnTo>
                  <a:lnTo>
                    <a:pt x="150" y="329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29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7" y="334"/>
                  </a:lnTo>
                  <a:lnTo>
                    <a:pt x="145" y="334"/>
                  </a:lnTo>
                  <a:lnTo>
                    <a:pt x="145" y="334"/>
                  </a:lnTo>
                  <a:lnTo>
                    <a:pt x="142" y="334"/>
                  </a:lnTo>
                  <a:lnTo>
                    <a:pt x="142" y="334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9" y="334"/>
                  </a:lnTo>
                  <a:lnTo>
                    <a:pt x="137" y="334"/>
                  </a:lnTo>
                  <a:lnTo>
                    <a:pt x="137" y="337"/>
                  </a:lnTo>
                  <a:lnTo>
                    <a:pt x="137" y="337"/>
                  </a:lnTo>
                  <a:lnTo>
                    <a:pt x="137" y="340"/>
                  </a:lnTo>
                  <a:lnTo>
                    <a:pt x="137" y="337"/>
                  </a:lnTo>
                  <a:lnTo>
                    <a:pt x="134" y="337"/>
                  </a:lnTo>
                  <a:lnTo>
                    <a:pt x="134" y="337"/>
                  </a:lnTo>
                  <a:lnTo>
                    <a:pt x="132" y="334"/>
                  </a:lnTo>
                  <a:lnTo>
                    <a:pt x="132" y="334"/>
                  </a:lnTo>
                  <a:lnTo>
                    <a:pt x="132" y="337"/>
                  </a:lnTo>
                  <a:lnTo>
                    <a:pt x="129" y="337"/>
                  </a:lnTo>
                  <a:lnTo>
                    <a:pt x="129" y="340"/>
                  </a:lnTo>
                  <a:lnTo>
                    <a:pt x="126" y="340"/>
                  </a:lnTo>
                  <a:lnTo>
                    <a:pt x="126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5"/>
                  </a:lnTo>
                  <a:lnTo>
                    <a:pt x="124" y="345"/>
                  </a:lnTo>
                  <a:lnTo>
                    <a:pt x="121" y="345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19" y="342"/>
                  </a:lnTo>
                  <a:lnTo>
                    <a:pt x="119" y="342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3" y="347"/>
                  </a:lnTo>
                  <a:lnTo>
                    <a:pt x="113" y="350"/>
                  </a:lnTo>
                  <a:lnTo>
                    <a:pt x="113" y="350"/>
                  </a:lnTo>
                  <a:lnTo>
                    <a:pt x="116" y="350"/>
                  </a:lnTo>
                  <a:lnTo>
                    <a:pt x="113" y="350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3" y="353"/>
                  </a:lnTo>
                  <a:lnTo>
                    <a:pt x="116" y="353"/>
                  </a:lnTo>
                  <a:lnTo>
                    <a:pt x="116" y="355"/>
                  </a:lnTo>
                  <a:lnTo>
                    <a:pt x="116" y="355"/>
                  </a:lnTo>
                  <a:lnTo>
                    <a:pt x="116" y="358"/>
                  </a:lnTo>
                  <a:lnTo>
                    <a:pt x="116" y="360"/>
                  </a:lnTo>
                  <a:lnTo>
                    <a:pt x="113" y="360"/>
                  </a:lnTo>
                  <a:lnTo>
                    <a:pt x="113" y="360"/>
                  </a:lnTo>
                  <a:lnTo>
                    <a:pt x="111" y="363"/>
                  </a:lnTo>
                  <a:lnTo>
                    <a:pt x="108" y="363"/>
                  </a:lnTo>
                  <a:lnTo>
                    <a:pt x="108" y="363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6" y="360"/>
                  </a:lnTo>
                  <a:lnTo>
                    <a:pt x="106" y="358"/>
                  </a:lnTo>
                  <a:lnTo>
                    <a:pt x="106" y="358"/>
                  </a:lnTo>
                  <a:lnTo>
                    <a:pt x="106" y="355"/>
                  </a:lnTo>
                  <a:lnTo>
                    <a:pt x="103" y="355"/>
                  </a:lnTo>
                  <a:lnTo>
                    <a:pt x="103" y="355"/>
                  </a:lnTo>
                  <a:lnTo>
                    <a:pt x="101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98" y="358"/>
                  </a:lnTo>
                  <a:lnTo>
                    <a:pt x="98" y="360"/>
                  </a:lnTo>
                  <a:lnTo>
                    <a:pt x="98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6"/>
                  </a:lnTo>
                  <a:lnTo>
                    <a:pt x="98" y="366"/>
                  </a:lnTo>
                  <a:lnTo>
                    <a:pt x="101" y="366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3" y="368"/>
                  </a:lnTo>
                  <a:lnTo>
                    <a:pt x="101" y="371"/>
                  </a:lnTo>
                  <a:lnTo>
                    <a:pt x="101" y="373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6"/>
                  </a:lnTo>
                  <a:lnTo>
                    <a:pt x="103" y="379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98" y="379"/>
                  </a:lnTo>
                  <a:lnTo>
                    <a:pt x="98" y="379"/>
                  </a:lnTo>
                  <a:lnTo>
                    <a:pt x="95" y="381"/>
                  </a:lnTo>
                  <a:lnTo>
                    <a:pt x="93" y="381"/>
                  </a:lnTo>
                  <a:lnTo>
                    <a:pt x="93" y="381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6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5" y="381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9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5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6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0" y="373"/>
                  </a:lnTo>
                  <a:lnTo>
                    <a:pt x="80" y="373"/>
                  </a:lnTo>
                  <a:lnTo>
                    <a:pt x="77" y="376"/>
                  </a:lnTo>
                  <a:lnTo>
                    <a:pt x="75" y="376"/>
                  </a:lnTo>
                  <a:lnTo>
                    <a:pt x="72" y="376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69" y="381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4" y="381"/>
                  </a:lnTo>
                  <a:lnTo>
                    <a:pt x="64" y="381"/>
                  </a:lnTo>
                  <a:lnTo>
                    <a:pt x="64" y="379"/>
                  </a:lnTo>
                  <a:lnTo>
                    <a:pt x="64" y="376"/>
                  </a:lnTo>
                  <a:lnTo>
                    <a:pt x="64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6"/>
                  </a:lnTo>
                  <a:lnTo>
                    <a:pt x="62" y="373"/>
                  </a:lnTo>
                  <a:lnTo>
                    <a:pt x="62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3"/>
                  </a:lnTo>
                  <a:lnTo>
                    <a:pt x="59" y="376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79"/>
                  </a:lnTo>
                  <a:lnTo>
                    <a:pt x="59" y="381"/>
                  </a:lnTo>
                  <a:lnTo>
                    <a:pt x="59" y="381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62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1"/>
                  </a:lnTo>
                  <a:lnTo>
                    <a:pt x="57" y="381"/>
                  </a:lnTo>
                  <a:lnTo>
                    <a:pt x="54" y="379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4" y="371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8"/>
                  </a:lnTo>
                  <a:lnTo>
                    <a:pt x="54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6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7" y="363"/>
                  </a:lnTo>
                  <a:lnTo>
                    <a:pt x="54" y="363"/>
                  </a:lnTo>
                  <a:lnTo>
                    <a:pt x="54" y="363"/>
                  </a:lnTo>
                  <a:lnTo>
                    <a:pt x="54" y="360"/>
                  </a:lnTo>
                  <a:lnTo>
                    <a:pt x="51" y="360"/>
                  </a:lnTo>
                  <a:lnTo>
                    <a:pt x="51" y="360"/>
                  </a:lnTo>
                  <a:lnTo>
                    <a:pt x="51" y="358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51" y="355"/>
                  </a:lnTo>
                  <a:lnTo>
                    <a:pt x="49" y="353"/>
                  </a:lnTo>
                  <a:lnTo>
                    <a:pt x="49" y="353"/>
                  </a:lnTo>
                  <a:lnTo>
                    <a:pt x="46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1" y="353"/>
                  </a:lnTo>
                  <a:lnTo>
                    <a:pt x="41" y="353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41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0"/>
                  </a:lnTo>
                  <a:lnTo>
                    <a:pt x="38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50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6" y="347"/>
                  </a:lnTo>
                  <a:lnTo>
                    <a:pt x="33" y="347"/>
                  </a:lnTo>
                  <a:lnTo>
                    <a:pt x="33" y="345"/>
                  </a:lnTo>
                  <a:lnTo>
                    <a:pt x="33" y="345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7"/>
                  </a:lnTo>
                  <a:lnTo>
                    <a:pt x="41" y="334"/>
                  </a:lnTo>
                  <a:lnTo>
                    <a:pt x="44" y="334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1" y="332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3" y="332"/>
                  </a:lnTo>
                  <a:lnTo>
                    <a:pt x="33" y="332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3" y="327"/>
                  </a:lnTo>
                  <a:lnTo>
                    <a:pt x="31" y="324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5" y="316"/>
                  </a:lnTo>
                  <a:lnTo>
                    <a:pt x="25" y="316"/>
                  </a:lnTo>
                  <a:lnTo>
                    <a:pt x="23" y="316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5" y="309"/>
                  </a:lnTo>
                  <a:lnTo>
                    <a:pt x="18" y="309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3" y="303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5" y="296"/>
                  </a:lnTo>
                  <a:lnTo>
                    <a:pt x="15" y="296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0" y="290"/>
                  </a:lnTo>
                  <a:lnTo>
                    <a:pt x="20" y="293"/>
                  </a:lnTo>
                  <a:lnTo>
                    <a:pt x="20" y="293"/>
                  </a:lnTo>
                  <a:lnTo>
                    <a:pt x="23" y="293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3" y="290"/>
                  </a:lnTo>
                  <a:lnTo>
                    <a:pt x="25" y="288"/>
                  </a:lnTo>
                  <a:lnTo>
                    <a:pt x="23" y="285"/>
                  </a:lnTo>
                  <a:lnTo>
                    <a:pt x="23" y="283"/>
                  </a:lnTo>
                  <a:lnTo>
                    <a:pt x="23" y="283"/>
                  </a:lnTo>
                  <a:lnTo>
                    <a:pt x="25" y="280"/>
                  </a:lnTo>
                  <a:lnTo>
                    <a:pt x="23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5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8" y="270"/>
                  </a:lnTo>
                  <a:lnTo>
                    <a:pt x="15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7" y="270"/>
                  </a:lnTo>
                  <a:lnTo>
                    <a:pt x="5" y="270"/>
                  </a:lnTo>
                  <a:lnTo>
                    <a:pt x="5" y="272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2" y="264"/>
                  </a:lnTo>
                  <a:lnTo>
                    <a:pt x="2" y="264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0" y="25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5" name="Freeform 115"/>
            <p:cNvSpPr>
              <a:spLocks/>
            </p:cNvSpPr>
            <p:nvPr/>
          </p:nvSpPr>
          <p:spPr bwMode="auto">
            <a:xfrm>
              <a:off x="966" y="2934"/>
              <a:ext cx="277" cy="397"/>
            </a:xfrm>
            <a:custGeom>
              <a:avLst/>
              <a:gdLst>
                <a:gd name="T0" fmla="*/ 10 w 277"/>
                <a:gd name="T1" fmla="*/ 270 h 397"/>
                <a:gd name="T2" fmla="*/ 15 w 277"/>
                <a:gd name="T3" fmla="*/ 257 h 397"/>
                <a:gd name="T4" fmla="*/ 31 w 277"/>
                <a:gd name="T5" fmla="*/ 252 h 397"/>
                <a:gd name="T6" fmla="*/ 39 w 277"/>
                <a:gd name="T7" fmla="*/ 241 h 397"/>
                <a:gd name="T8" fmla="*/ 31 w 277"/>
                <a:gd name="T9" fmla="*/ 223 h 397"/>
                <a:gd name="T10" fmla="*/ 23 w 277"/>
                <a:gd name="T11" fmla="*/ 216 h 397"/>
                <a:gd name="T12" fmla="*/ 34 w 277"/>
                <a:gd name="T13" fmla="*/ 195 h 397"/>
                <a:gd name="T14" fmla="*/ 41 w 277"/>
                <a:gd name="T15" fmla="*/ 184 h 397"/>
                <a:gd name="T16" fmla="*/ 41 w 277"/>
                <a:gd name="T17" fmla="*/ 159 h 397"/>
                <a:gd name="T18" fmla="*/ 62 w 277"/>
                <a:gd name="T19" fmla="*/ 140 h 397"/>
                <a:gd name="T20" fmla="*/ 78 w 277"/>
                <a:gd name="T21" fmla="*/ 122 h 397"/>
                <a:gd name="T22" fmla="*/ 83 w 277"/>
                <a:gd name="T23" fmla="*/ 101 h 397"/>
                <a:gd name="T24" fmla="*/ 103 w 277"/>
                <a:gd name="T25" fmla="*/ 91 h 397"/>
                <a:gd name="T26" fmla="*/ 103 w 277"/>
                <a:gd name="T27" fmla="*/ 68 h 397"/>
                <a:gd name="T28" fmla="*/ 96 w 277"/>
                <a:gd name="T29" fmla="*/ 57 h 397"/>
                <a:gd name="T30" fmla="*/ 111 w 277"/>
                <a:gd name="T31" fmla="*/ 50 h 397"/>
                <a:gd name="T32" fmla="*/ 127 w 277"/>
                <a:gd name="T33" fmla="*/ 37 h 397"/>
                <a:gd name="T34" fmla="*/ 147 w 277"/>
                <a:gd name="T35" fmla="*/ 26 h 397"/>
                <a:gd name="T36" fmla="*/ 163 w 277"/>
                <a:gd name="T37" fmla="*/ 31 h 397"/>
                <a:gd name="T38" fmla="*/ 176 w 277"/>
                <a:gd name="T39" fmla="*/ 8 h 397"/>
                <a:gd name="T40" fmla="*/ 194 w 277"/>
                <a:gd name="T41" fmla="*/ 6 h 397"/>
                <a:gd name="T42" fmla="*/ 212 w 277"/>
                <a:gd name="T43" fmla="*/ 16 h 397"/>
                <a:gd name="T44" fmla="*/ 207 w 277"/>
                <a:gd name="T45" fmla="*/ 24 h 397"/>
                <a:gd name="T46" fmla="*/ 204 w 277"/>
                <a:gd name="T47" fmla="*/ 47 h 397"/>
                <a:gd name="T48" fmla="*/ 207 w 277"/>
                <a:gd name="T49" fmla="*/ 60 h 397"/>
                <a:gd name="T50" fmla="*/ 222 w 277"/>
                <a:gd name="T51" fmla="*/ 57 h 397"/>
                <a:gd name="T52" fmla="*/ 228 w 277"/>
                <a:gd name="T53" fmla="*/ 50 h 397"/>
                <a:gd name="T54" fmla="*/ 233 w 277"/>
                <a:gd name="T55" fmla="*/ 44 h 397"/>
                <a:gd name="T56" fmla="*/ 241 w 277"/>
                <a:gd name="T57" fmla="*/ 47 h 397"/>
                <a:gd name="T58" fmla="*/ 256 w 277"/>
                <a:gd name="T59" fmla="*/ 68 h 397"/>
                <a:gd name="T60" fmla="*/ 269 w 277"/>
                <a:gd name="T61" fmla="*/ 78 h 397"/>
                <a:gd name="T62" fmla="*/ 272 w 277"/>
                <a:gd name="T63" fmla="*/ 96 h 397"/>
                <a:gd name="T64" fmla="*/ 266 w 277"/>
                <a:gd name="T65" fmla="*/ 104 h 397"/>
                <a:gd name="T66" fmla="*/ 261 w 277"/>
                <a:gd name="T67" fmla="*/ 114 h 397"/>
                <a:gd name="T68" fmla="*/ 254 w 277"/>
                <a:gd name="T69" fmla="*/ 127 h 397"/>
                <a:gd name="T70" fmla="*/ 246 w 277"/>
                <a:gd name="T71" fmla="*/ 133 h 397"/>
                <a:gd name="T72" fmla="*/ 248 w 277"/>
                <a:gd name="T73" fmla="*/ 146 h 397"/>
                <a:gd name="T74" fmla="*/ 241 w 277"/>
                <a:gd name="T75" fmla="*/ 159 h 397"/>
                <a:gd name="T76" fmla="*/ 243 w 277"/>
                <a:gd name="T77" fmla="*/ 182 h 397"/>
                <a:gd name="T78" fmla="*/ 259 w 277"/>
                <a:gd name="T79" fmla="*/ 184 h 397"/>
                <a:gd name="T80" fmla="*/ 254 w 277"/>
                <a:gd name="T81" fmla="*/ 197 h 397"/>
                <a:gd name="T82" fmla="*/ 235 w 277"/>
                <a:gd name="T83" fmla="*/ 221 h 397"/>
                <a:gd name="T84" fmla="*/ 222 w 277"/>
                <a:gd name="T85" fmla="*/ 218 h 397"/>
                <a:gd name="T86" fmla="*/ 210 w 277"/>
                <a:gd name="T87" fmla="*/ 249 h 397"/>
                <a:gd name="T88" fmla="*/ 194 w 277"/>
                <a:gd name="T89" fmla="*/ 254 h 397"/>
                <a:gd name="T90" fmla="*/ 184 w 277"/>
                <a:gd name="T91" fmla="*/ 275 h 397"/>
                <a:gd name="T92" fmla="*/ 158 w 277"/>
                <a:gd name="T93" fmla="*/ 265 h 397"/>
                <a:gd name="T94" fmla="*/ 140 w 277"/>
                <a:gd name="T95" fmla="*/ 273 h 397"/>
                <a:gd name="T96" fmla="*/ 142 w 277"/>
                <a:gd name="T97" fmla="*/ 293 h 397"/>
                <a:gd name="T98" fmla="*/ 142 w 277"/>
                <a:gd name="T99" fmla="*/ 317 h 397"/>
                <a:gd name="T100" fmla="*/ 150 w 277"/>
                <a:gd name="T101" fmla="*/ 327 h 397"/>
                <a:gd name="T102" fmla="*/ 147 w 277"/>
                <a:gd name="T103" fmla="*/ 345 h 397"/>
                <a:gd name="T104" fmla="*/ 150 w 277"/>
                <a:gd name="T105" fmla="*/ 374 h 397"/>
                <a:gd name="T106" fmla="*/ 134 w 277"/>
                <a:gd name="T107" fmla="*/ 379 h 397"/>
                <a:gd name="T108" fmla="*/ 119 w 277"/>
                <a:gd name="T109" fmla="*/ 394 h 397"/>
                <a:gd name="T110" fmla="*/ 119 w 277"/>
                <a:gd name="T111" fmla="*/ 384 h 397"/>
                <a:gd name="T112" fmla="*/ 116 w 277"/>
                <a:gd name="T113" fmla="*/ 376 h 397"/>
                <a:gd name="T114" fmla="*/ 103 w 277"/>
                <a:gd name="T115" fmla="*/ 361 h 397"/>
                <a:gd name="T116" fmla="*/ 93 w 277"/>
                <a:gd name="T117" fmla="*/ 361 h 397"/>
                <a:gd name="T118" fmla="*/ 80 w 277"/>
                <a:gd name="T119" fmla="*/ 366 h 397"/>
                <a:gd name="T120" fmla="*/ 78 w 277"/>
                <a:gd name="T121" fmla="*/ 337 h 397"/>
                <a:gd name="T122" fmla="*/ 65 w 277"/>
                <a:gd name="T123" fmla="*/ 311 h 397"/>
                <a:gd name="T124" fmla="*/ 10 w 277"/>
                <a:gd name="T125" fmla="*/ 29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397">
                  <a:moveTo>
                    <a:pt x="0" y="280"/>
                  </a:moveTo>
                  <a:lnTo>
                    <a:pt x="0" y="280"/>
                  </a:lnTo>
                  <a:lnTo>
                    <a:pt x="2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3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5"/>
                  </a:lnTo>
                  <a:lnTo>
                    <a:pt x="15" y="265"/>
                  </a:lnTo>
                  <a:lnTo>
                    <a:pt x="15" y="262"/>
                  </a:lnTo>
                  <a:lnTo>
                    <a:pt x="13" y="262"/>
                  </a:lnTo>
                  <a:lnTo>
                    <a:pt x="13" y="262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4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28" y="249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4"/>
                  </a:lnTo>
                  <a:lnTo>
                    <a:pt x="39" y="244"/>
                  </a:lnTo>
                  <a:lnTo>
                    <a:pt x="39" y="241"/>
                  </a:lnTo>
                  <a:lnTo>
                    <a:pt x="39" y="241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6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3"/>
                  </a:lnTo>
                  <a:lnTo>
                    <a:pt x="31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1" y="218"/>
                  </a:lnTo>
                  <a:lnTo>
                    <a:pt x="23" y="218"/>
                  </a:lnTo>
                  <a:lnTo>
                    <a:pt x="23" y="221"/>
                  </a:lnTo>
                  <a:lnTo>
                    <a:pt x="23" y="218"/>
                  </a:lnTo>
                  <a:lnTo>
                    <a:pt x="23" y="218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6" y="216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3" y="208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6" y="205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6" y="203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8" y="197"/>
                  </a:lnTo>
                  <a:lnTo>
                    <a:pt x="28" y="19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4" y="195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39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79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39" y="174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9" y="143"/>
                  </a:lnTo>
                  <a:lnTo>
                    <a:pt x="52" y="140"/>
                  </a:lnTo>
                  <a:lnTo>
                    <a:pt x="54" y="140"/>
                  </a:lnTo>
                  <a:lnTo>
                    <a:pt x="54" y="138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2" y="135"/>
                  </a:lnTo>
                  <a:lnTo>
                    <a:pt x="72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78" y="122"/>
                  </a:lnTo>
                  <a:lnTo>
                    <a:pt x="78" y="122"/>
                  </a:lnTo>
                  <a:lnTo>
                    <a:pt x="80" y="122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2"/>
                  </a:lnTo>
                  <a:lnTo>
                    <a:pt x="85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5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6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1"/>
                  </a:lnTo>
                  <a:lnTo>
                    <a:pt x="106" y="89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1" y="86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78"/>
                  </a:lnTo>
                  <a:lnTo>
                    <a:pt x="111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3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6" y="70"/>
                  </a:lnTo>
                  <a:lnTo>
                    <a:pt x="106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6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93" y="60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0"/>
                  </a:lnTo>
                  <a:lnTo>
                    <a:pt x="103" y="50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7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9" y="29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7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7" y="29"/>
                  </a:lnTo>
                  <a:lnTo>
                    <a:pt x="147" y="26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4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7"/>
                  </a:lnTo>
                  <a:lnTo>
                    <a:pt x="158" y="37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6" y="16"/>
                  </a:lnTo>
                  <a:lnTo>
                    <a:pt x="178" y="13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6" y="6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3"/>
                  </a:lnTo>
                  <a:lnTo>
                    <a:pt x="191" y="6"/>
                  </a:lnTo>
                  <a:lnTo>
                    <a:pt x="194" y="6"/>
                  </a:lnTo>
                  <a:lnTo>
                    <a:pt x="194" y="6"/>
                  </a:lnTo>
                  <a:lnTo>
                    <a:pt x="197" y="6"/>
                  </a:lnTo>
                  <a:lnTo>
                    <a:pt x="197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2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10" y="8"/>
                  </a:lnTo>
                  <a:lnTo>
                    <a:pt x="210" y="11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5" y="13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0" y="16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21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7"/>
                  </a:lnTo>
                  <a:lnTo>
                    <a:pt x="207" y="37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4"/>
                  </a:lnTo>
                  <a:lnTo>
                    <a:pt x="202" y="47"/>
                  </a:lnTo>
                  <a:lnTo>
                    <a:pt x="202" y="47"/>
                  </a:lnTo>
                  <a:lnTo>
                    <a:pt x="199" y="50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199" y="52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4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7" y="63"/>
                  </a:lnTo>
                  <a:lnTo>
                    <a:pt x="217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60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7" y="55"/>
                  </a:lnTo>
                  <a:lnTo>
                    <a:pt x="217" y="55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2" y="50"/>
                  </a:lnTo>
                  <a:lnTo>
                    <a:pt x="222" y="50"/>
                  </a:lnTo>
                  <a:lnTo>
                    <a:pt x="225" y="50"/>
                  </a:lnTo>
                  <a:lnTo>
                    <a:pt x="225" y="47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4"/>
                  </a:lnTo>
                  <a:lnTo>
                    <a:pt x="228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3" y="47"/>
                  </a:lnTo>
                  <a:lnTo>
                    <a:pt x="230" y="47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2"/>
                  </a:lnTo>
                  <a:lnTo>
                    <a:pt x="235" y="52"/>
                  </a:lnTo>
                  <a:lnTo>
                    <a:pt x="233" y="50"/>
                  </a:lnTo>
                  <a:lnTo>
                    <a:pt x="235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2"/>
                  </a:lnTo>
                  <a:lnTo>
                    <a:pt x="238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50"/>
                  </a:lnTo>
                  <a:lnTo>
                    <a:pt x="241" y="52"/>
                  </a:lnTo>
                  <a:lnTo>
                    <a:pt x="241" y="52"/>
                  </a:lnTo>
                  <a:lnTo>
                    <a:pt x="243" y="55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51" y="65"/>
                  </a:lnTo>
                  <a:lnTo>
                    <a:pt x="254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6" y="70"/>
                  </a:lnTo>
                  <a:lnTo>
                    <a:pt x="256" y="73"/>
                  </a:lnTo>
                  <a:lnTo>
                    <a:pt x="256" y="73"/>
                  </a:lnTo>
                  <a:lnTo>
                    <a:pt x="259" y="73"/>
                  </a:lnTo>
                  <a:lnTo>
                    <a:pt x="256" y="73"/>
                  </a:lnTo>
                  <a:lnTo>
                    <a:pt x="256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6" y="81"/>
                  </a:lnTo>
                  <a:lnTo>
                    <a:pt x="266" y="81"/>
                  </a:lnTo>
                  <a:lnTo>
                    <a:pt x="269" y="78"/>
                  </a:lnTo>
                  <a:lnTo>
                    <a:pt x="269" y="78"/>
                  </a:lnTo>
                  <a:lnTo>
                    <a:pt x="269" y="81"/>
                  </a:lnTo>
                  <a:lnTo>
                    <a:pt x="269" y="81"/>
                  </a:lnTo>
                  <a:lnTo>
                    <a:pt x="272" y="81"/>
                  </a:lnTo>
                  <a:lnTo>
                    <a:pt x="272" y="81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7" y="83"/>
                  </a:lnTo>
                  <a:lnTo>
                    <a:pt x="277" y="86"/>
                  </a:lnTo>
                  <a:lnTo>
                    <a:pt x="274" y="86"/>
                  </a:lnTo>
                  <a:lnTo>
                    <a:pt x="274" y="89"/>
                  </a:lnTo>
                  <a:lnTo>
                    <a:pt x="272" y="89"/>
                  </a:lnTo>
                  <a:lnTo>
                    <a:pt x="272" y="91"/>
                  </a:lnTo>
                  <a:lnTo>
                    <a:pt x="272" y="91"/>
                  </a:lnTo>
                  <a:lnTo>
                    <a:pt x="274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4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4" y="96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69" y="94"/>
                  </a:lnTo>
                  <a:lnTo>
                    <a:pt x="269" y="94"/>
                  </a:lnTo>
                  <a:lnTo>
                    <a:pt x="272" y="91"/>
                  </a:lnTo>
                  <a:lnTo>
                    <a:pt x="269" y="91"/>
                  </a:lnTo>
                  <a:lnTo>
                    <a:pt x="266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6" y="96"/>
                  </a:lnTo>
                  <a:lnTo>
                    <a:pt x="266" y="99"/>
                  </a:lnTo>
                  <a:lnTo>
                    <a:pt x="266" y="99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4" y="107"/>
                  </a:lnTo>
                  <a:lnTo>
                    <a:pt x="266" y="107"/>
                  </a:lnTo>
                  <a:lnTo>
                    <a:pt x="269" y="107"/>
                  </a:lnTo>
                  <a:lnTo>
                    <a:pt x="272" y="109"/>
                  </a:lnTo>
                  <a:lnTo>
                    <a:pt x="274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69" y="117"/>
                  </a:lnTo>
                  <a:lnTo>
                    <a:pt x="266" y="117"/>
                  </a:lnTo>
                  <a:lnTo>
                    <a:pt x="264" y="117"/>
                  </a:lnTo>
                  <a:lnTo>
                    <a:pt x="264" y="117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59" y="114"/>
                  </a:lnTo>
                  <a:lnTo>
                    <a:pt x="259" y="114"/>
                  </a:lnTo>
                  <a:lnTo>
                    <a:pt x="256" y="114"/>
                  </a:lnTo>
                  <a:lnTo>
                    <a:pt x="256" y="114"/>
                  </a:lnTo>
                  <a:lnTo>
                    <a:pt x="254" y="114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48" y="127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3" y="125"/>
                  </a:lnTo>
                  <a:lnTo>
                    <a:pt x="246" y="127"/>
                  </a:lnTo>
                  <a:lnTo>
                    <a:pt x="243" y="130"/>
                  </a:lnTo>
                  <a:lnTo>
                    <a:pt x="246" y="130"/>
                  </a:lnTo>
                  <a:lnTo>
                    <a:pt x="246" y="130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6" y="130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48" y="133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4" y="133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8"/>
                  </a:lnTo>
                  <a:lnTo>
                    <a:pt x="254" y="140"/>
                  </a:lnTo>
                  <a:lnTo>
                    <a:pt x="254" y="140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6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6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9"/>
                  </a:lnTo>
                  <a:lnTo>
                    <a:pt x="243" y="159"/>
                  </a:lnTo>
                  <a:lnTo>
                    <a:pt x="243" y="159"/>
                  </a:lnTo>
                  <a:lnTo>
                    <a:pt x="243" y="161"/>
                  </a:lnTo>
                  <a:lnTo>
                    <a:pt x="243" y="164"/>
                  </a:lnTo>
                  <a:lnTo>
                    <a:pt x="241" y="164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4"/>
                  </a:lnTo>
                  <a:lnTo>
                    <a:pt x="238" y="174"/>
                  </a:lnTo>
                  <a:lnTo>
                    <a:pt x="238" y="177"/>
                  </a:lnTo>
                  <a:lnTo>
                    <a:pt x="238" y="177"/>
                  </a:lnTo>
                  <a:lnTo>
                    <a:pt x="238" y="179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6" y="182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7"/>
                  </a:lnTo>
                  <a:lnTo>
                    <a:pt x="246" y="177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4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8" y="174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7"/>
                  </a:lnTo>
                  <a:lnTo>
                    <a:pt x="259" y="177"/>
                  </a:lnTo>
                  <a:lnTo>
                    <a:pt x="259" y="179"/>
                  </a:lnTo>
                  <a:lnTo>
                    <a:pt x="259" y="182"/>
                  </a:lnTo>
                  <a:lnTo>
                    <a:pt x="259" y="182"/>
                  </a:lnTo>
                  <a:lnTo>
                    <a:pt x="259" y="184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7"/>
                  </a:lnTo>
                  <a:lnTo>
                    <a:pt x="256" y="190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7"/>
                  </a:lnTo>
                  <a:lnTo>
                    <a:pt x="256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200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4" y="208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6" y="213"/>
                  </a:lnTo>
                  <a:lnTo>
                    <a:pt x="246" y="213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3" y="216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0" y="221"/>
                  </a:lnTo>
                  <a:lnTo>
                    <a:pt x="228" y="218"/>
                  </a:lnTo>
                  <a:lnTo>
                    <a:pt x="228" y="218"/>
                  </a:lnTo>
                  <a:lnTo>
                    <a:pt x="228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2" y="221"/>
                  </a:lnTo>
                  <a:lnTo>
                    <a:pt x="222" y="221"/>
                  </a:lnTo>
                  <a:lnTo>
                    <a:pt x="222" y="223"/>
                  </a:lnTo>
                  <a:lnTo>
                    <a:pt x="222" y="226"/>
                  </a:lnTo>
                  <a:lnTo>
                    <a:pt x="220" y="226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31"/>
                  </a:lnTo>
                  <a:lnTo>
                    <a:pt x="222" y="231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6"/>
                  </a:lnTo>
                  <a:lnTo>
                    <a:pt x="220" y="239"/>
                  </a:lnTo>
                  <a:lnTo>
                    <a:pt x="220" y="239"/>
                  </a:lnTo>
                  <a:lnTo>
                    <a:pt x="217" y="241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0" y="249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49"/>
                  </a:lnTo>
                  <a:lnTo>
                    <a:pt x="199" y="249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4" y="249"/>
                  </a:lnTo>
                  <a:lnTo>
                    <a:pt x="194" y="247"/>
                  </a:lnTo>
                  <a:lnTo>
                    <a:pt x="194" y="249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5"/>
                  </a:lnTo>
                  <a:lnTo>
                    <a:pt x="194" y="267"/>
                  </a:lnTo>
                  <a:lnTo>
                    <a:pt x="194" y="267"/>
                  </a:lnTo>
                  <a:lnTo>
                    <a:pt x="194" y="270"/>
                  </a:lnTo>
                  <a:lnTo>
                    <a:pt x="197" y="273"/>
                  </a:lnTo>
                  <a:lnTo>
                    <a:pt x="194" y="273"/>
                  </a:lnTo>
                  <a:lnTo>
                    <a:pt x="194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1" y="273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68" y="267"/>
                  </a:lnTo>
                  <a:lnTo>
                    <a:pt x="166" y="267"/>
                  </a:lnTo>
                  <a:lnTo>
                    <a:pt x="166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58" y="265"/>
                  </a:lnTo>
                  <a:lnTo>
                    <a:pt x="158" y="267"/>
                  </a:lnTo>
                  <a:lnTo>
                    <a:pt x="158" y="267"/>
                  </a:lnTo>
                  <a:lnTo>
                    <a:pt x="158" y="270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3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2" y="270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4" y="280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40" y="28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2" y="286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91"/>
                  </a:lnTo>
                  <a:lnTo>
                    <a:pt x="142" y="291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6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301"/>
                  </a:lnTo>
                  <a:lnTo>
                    <a:pt x="140" y="301"/>
                  </a:lnTo>
                  <a:lnTo>
                    <a:pt x="140" y="304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9"/>
                  </a:lnTo>
                  <a:lnTo>
                    <a:pt x="142" y="311"/>
                  </a:lnTo>
                  <a:lnTo>
                    <a:pt x="142" y="314"/>
                  </a:lnTo>
                  <a:lnTo>
                    <a:pt x="145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9"/>
                  </a:lnTo>
                  <a:lnTo>
                    <a:pt x="142" y="319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5" y="317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22"/>
                  </a:lnTo>
                  <a:lnTo>
                    <a:pt x="147" y="324"/>
                  </a:lnTo>
                  <a:lnTo>
                    <a:pt x="147" y="327"/>
                  </a:lnTo>
                  <a:lnTo>
                    <a:pt x="147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3" y="327"/>
                  </a:lnTo>
                  <a:lnTo>
                    <a:pt x="153" y="327"/>
                  </a:lnTo>
                  <a:lnTo>
                    <a:pt x="153" y="330"/>
                  </a:lnTo>
                  <a:lnTo>
                    <a:pt x="153" y="330"/>
                  </a:lnTo>
                  <a:lnTo>
                    <a:pt x="150" y="330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3" y="335"/>
                  </a:lnTo>
                  <a:lnTo>
                    <a:pt x="153" y="335"/>
                  </a:lnTo>
                  <a:lnTo>
                    <a:pt x="153" y="337"/>
                  </a:lnTo>
                  <a:lnTo>
                    <a:pt x="153" y="340"/>
                  </a:lnTo>
                  <a:lnTo>
                    <a:pt x="153" y="340"/>
                  </a:lnTo>
                  <a:lnTo>
                    <a:pt x="150" y="340"/>
                  </a:lnTo>
                  <a:lnTo>
                    <a:pt x="153" y="343"/>
                  </a:lnTo>
                  <a:lnTo>
                    <a:pt x="153" y="343"/>
                  </a:lnTo>
                  <a:lnTo>
                    <a:pt x="150" y="343"/>
                  </a:lnTo>
                  <a:lnTo>
                    <a:pt x="150" y="343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8"/>
                  </a:lnTo>
                  <a:lnTo>
                    <a:pt x="147" y="350"/>
                  </a:lnTo>
                  <a:lnTo>
                    <a:pt x="147" y="350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6"/>
                  </a:lnTo>
                  <a:lnTo>
                    <a:pt x="145" y="358"/>
                  </a:lnTo>
                  <a:lnTo>
                    <a:pt x="145" y="361"/>
                  </a:lnTo>
                  <a:lnTo>
                    <a:pt x="145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3"/>
                  </a:lnTo>
                  <a:lnTo>
                    <a:pt x="147" y="363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71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47" y="374"/>
                  </a:lnTo>
                  <a:lnTo>
                    <a:pt x="147" y="374"/>
                  </a:lnTo>
                  <a:lnTo>
                    <a:pt x="145" y="374"/>
                  </a:lnTo>
                  <a:lnTo>
                    <a:pt x="145" y="374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2" y="379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4" y="376"/>
                  </a:lnTo>
                  <a:lnTo>
                    <a:pt x="134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2" y="387"/>
                  </a:lnTo>
                  <a:lnTo>
                    <a:pt x="129" y="387"/>
                  </a:lnTo>
                  <a:lnTo>
                    <a:pt x="129" y="389"/>
                  </a:lnTo>
                  <a:lnTo>
                    <a:pt x="129" y="389"/>
                  </a:lnTo>
                  <a:lnTo>
                    <a:pt x="127" y="389"/>
                  </a:lnTo>
                  <a:lnTo>
                    <a:pt x="127" y="389"/>
                  </a:lnTo>
                  <a:lnTo>
                    <a:pt x="127" y="392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7"/>
                  </a:lnTo>
                  <a:lnTo>
                    <a:pt x="119" y="397"/>
                  </a:lnTo>
                  <a:lnTo>
                    <a:pt x="116" y="397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89"/>
                  </a:lnTo>
                  <a:lnTo>
                    <a:pt x="119" y="389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4" y="381"/>
                  </a:lnTo>
                  <a:lnTo>
                    <a:pt x="124" y="384"/>
                  </a:lnTo>
                  <a:lnTo>
                    <a:pt x="122" y="384"/>
                  </a:lnTo>
                  <a:lnTo>
                    <a:pt x="124" y="384"/>
                  </a:lnTo>
                  <a:lnTo>
                    <a:pt x="124" y="384"/>
                  </a:lnTo>
                  <a:lnTo>
                    <a:pt x="127" y="381"/>
                  </a:lnTo>
                  <a:lnTo>
                    <a:pt x="127" y="381"/>
                  </a:lnTo>
                  <a:lnTo>
                    <a:pt x="127" y="379"/>
                  </a:lnTo>
                  <a:lnTo>
                    <a:pt x="124" y="376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19" y="381"/>
                  </a:lnTo>
                  <a:lnTo>
                    <a:pt x="119" y="379"/>
                  </a:lnTo>
                  <a:lnTo>
                    <a:pt x="116" y="379"/>
                  </a:lnTo>
                  <a:lnTo>
                    <a:pt x="116" y="376"/>
                  </a:lnTo>
                  <a:lnTo>
                    <a:pt x="119" y="374"/>
                  </a:lnTo>
                  <a:lnTo>
                    <a:pt x="116" y="374"/>
                  </a:lnTo>
                  <a:lnTo>
                    <a:pt x="116" y="374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4" y="376"/>
                  </a:lnTo>
                  <a:lnTo>
                    <a:pt x="111" y="374"/>
                  </a:lnTo>
                  <a:lnTo>
                    <a:pt x="109" y="374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6" y="374"/>
                  </a:lnTo>
                  <a:lnTo>
                    <a:pt x="106" y="371"/>
                  </a:lnTo>
                  <a:lnTo>
                    <a:pt x="103" y="369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1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6"/>
                  </a:lnTo>
                  <a:lnTo>
                    <a:pt x="101" y="356"/>
                  </a:lnTo>
                  <a:lnTo>
                    <a:pt x="101" y="356"/>
                  </a:lnTo>
                  <a:lnTo>
                    <a:pt x="98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3"/>
                  </a:lnTo>
                  <a:lnTo>
                    <a:pt x="93" y="363"/>
                  </a:lnTo>
                  <a:lnTo>
                    <a:pt x="96" y="366"/>
                  </a:lnTo>
                  <a:lnTo>
                    <a:pt x="96" y="369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0" y="374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4"/>
                  </a:lnTo>
                  <a:lnTo>
                    <a:pt x="88" y="374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3"/>
                  </a:lnTo>
                  <a:lnTo>
                    <a:pt x="80" y="363"/>
                  </a:lnTo>
                  <a:lnTo>
                    <a:pt x="78" y="363"/>
                  </a:lnTo>
                  <a:lnTo>
                    <a:pt x="78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2" y="363"/>
                  </a:lnTo>
                  <a:lnTo>
                    <a:pt x="72" y="363"/>
                  </a:lnTo>
                  <a:lnTo>
                    <a:pt x="72" y="361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6"/>
                  </a:lnTo>
                  <a:lnTo>
                    <a:pt x="67" y="353"/>
                  </a:lnTo>
                  <a:lnTo>
                    <a:pt x="67" y="353"/>
                  </a:lnTo>
                  <a:lnTo>
                    <a:pt x="67" y="350"/>
                  </a:lnTo>
                  <a:lnTo>
                    <a:pt x="65" y="348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2" y="340"/>
                  </a:lnTo>
                  <a:lnTo>
                    <a:pt x="75" y="337"/>
                  </a:lnTo>
                  <a:lnTo>
                    <a:pt x="78" y="337"/>
                  </a:lnTo>
                  <a:lnTo>
                    <a:pt x="78" y="335"/>
                  </a:lnTo>
                  <a:lnTo>
                    <a:pt x="78" y="335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78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2" y="332"/>
                  </a:lnTo>
                  <a:lnTo>
                    <a:pt x="72" y="330"/>
                  </a:lnTo>
                  <a:lnTo>
                    <a:pt x="70" y="327"/>
                  </a:lnTo>
                  <a:lnTo>
                    <a:pt x="70" y="322"/>
                  </a:lnTo>
                  <a:lnTo>
                    <a:pt x="70" y="322"/>
                  </a:lnTo>
                  <a:lnTo>
                    <a:pt x="67" y="319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67" y="317"/>
                  </a:lnTo>
                  <a:lnTo>
                    <a:pt x="67" y="317"/>
                  </a:lnTo>
                  <a:lnTo>
                    <a:pt x="67" y="314"/>
                  </a:lnTo>
                  <a:lnTo>
                    <a:pt x="65" y="314"/>
                  </a:lnTo>
                  <a:lnTo>
                    <a:pt x="65" y="314"/>
                  </a:lnTo>
                  <a:lnTo>
                    <a:pt x="65" y="311"/>
                  </a:lnTo>
                  <a:lnTo>
                    <a:pt x="65" y="311"/>
                  </a:lnTo>
                  <a:lnTo>
                    <a:pt x="65" y="309"/>
                  </a:lnTo>
                  <a:lnTo>
                    <a:pt x="65" y="306"/>
                  </a:lnTo>
                  <a:lnTo>
                    <a:pt x="65" y="304"/>
                  </a:lnTo>
                  <a:lnTo>
                    <a:pt x="65" y="301"/>
                  </a:lnTo>
                  <a:lnTo>
                    <a:pt x="62" y="296"/>
                  </a:lnTo>
                  <a:lnTo>
                    <a:pt x="57" y="291"/>
                  </a:lnTo>
                  <a:lnTo>
                    <a:pt x="54" y="288"/>
                  </a:lnTo>
                  <a:lnTo>
                    <a:pt x="52" y="288"/>
                  </a:lnTo>
                  <a:lnTo>
                    <a:pt x="49" y="286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1" y="286"/>
                  </a:lnTo>
                  <a:lnTo>
                    <a:pt x="36" y="288"/>
                  </a:lnTo>
                  <a:lnTo>
                    <a:pt x="34" y="291"/>
                  </a:lnTo>
                  <a:lnTo>
                    <a:pt x="31" y="291"/>
                  </a:lnTo>
                  <a:lnTo>
                    <a:pt x="28" y="293"/>
                  </a:lnTo>
                  <a:lnTo>
                    <a:pt x="26" y="293"/>
                  </a:lnTo>
                  <a:lnTo>
                    <a:pt x="23" y="296"/>
                  </a:lnTo>
                  <a:lnTo>
                    <a:pt x="21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0" y="293"/>
                  </a:lnTo>
                  <a:lnTo>
                    <a:pt x="10" y="291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5" y="288"/>
                  </a:lnTo>
                  <a:lnTo>
                    <a:pt x="5" y="286"/>
                  </a:lnTo>
                  <a:lnTo>
                    <a:pt x="2" y="283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6" name="Freeform 116"/>
            <p:cNvSpPr>
              <a:spLocks/>
            </p:cNvSpPr>
            <p:nvPr/>
          </p:nvSpPr>
          <p:spPr bwMode="auto">
            <a:xfrm>
              <a:off x="966" y="2934"/>
              <a:ext cx="277" cy="397"/>
            </a:xfrm>
            <a:custGeom>
              <a:avLst/>
              <a:gdLst>
                <a:gd name="T0" fmla="*/ 10 w 277"/>
                <a:gd name="T1" fmla="*/ 270 h 397"/>
                <a:gd name="T2" fmla="*/ 15 w 277"/>
                <a:gd name="T3" fmla="*/ 257 h 397"/>
                <a:gd name="T4" fmla="*/ 31 w 277"/>
                <a:gd name="T5" fmla="*/ 252 h 397"/>
                <a:gd name="T6" fmla="*/ 39 w 277"/>
                <a:gd name="T7" fmla="*/ 241 h 397"/>
                <a:gd name="T8" fmla="*/ 31 w 277"/>
                <a:gd name="T9" fmla="*/ 223 h 397"/>
                <a:gd name="T10" fmla="*/ 23 w 277"/>
                <a:gd name="T11" fmla="*/ 216 h 397"/>
                <a:gd name="T12" fmla="*/ 34 w 277"/>
                <a:gd name="T13" fmla="*/ 195 h 397"/>
                <a:gd name="T14" fmla="*/ 41 w 277"/>
                <a:gd name="T15" fmla="*/ 184 h 397"/>
                <a:gd name="T16" fmla="*/ 41 w 277"/>
                <a:gd name="T17" fmla="*/ 159 h 397"/>
                <a:gd name="T18" fmla="*/ 62 w 277"/>
                <a:gd name="T19" fmla="*/ 140 h 397"/>
                <a:gd name="T20" fmla="*/ 78 w 277"/>
                <a:gd name="T21" fmla="*/ 122 h 397"/>
                <a:gd name="T22" fmla="*/ 83 w 277"/>
                <a:gd name="T23" fmla="*/ 101 h 397"/>
                <a:gd name="T24" fmla="*/ 103 w 277"/>
                <a:gd name="T25" fmla="*/ 91 h 397"/>
                <a:gd name="T26" fmla="*/ 103 w 277"/>
                <a:gd name="T27" fmla="*/ 68 h 397"/>
                <a:gd name="T28" fmla="*/ 96 w 277"/>
                <a:gd name="T29" fmla="*/ 57 h 397"/>
                <a:gd name="T30" fmla="*/ 111 w 277"/>
                <a:gd name="T31" fmla="*/ 50 h 397"/>
                <a:gd name="T32" fmla="*/ 127 w 277"/>
                <a:gd name="T33" fmla="*/ 37 h 397"/>
                <a:gd name="T34" fmla="*/ 147 w 277"/>
                <a:gd name="T35" fmla="*/ 26 h 397"/>
                <a:gd name="T36" fmla="*/ 163 w 277"/>
                <a:gd name="T37" fmla="*/ 31 h 397"/>
                <a:gd name="T38" fmla="*/ 176 w 277"/>
                <a:gd name="T39" fmla="*/ 8 h 397"/>
                <a:gd name="T40" fmla="*/ 194 w 277"/>
                <a:gd name="T41" fmla="*/ 6 h 397"/>
                <a:gd name="T42" fmla="*/ 212 w 277"/>
                <a:gd name="T43" fmla="*/ 16 h 397"/>
                <a:gd name="T44" fmla="*/ 207 w 277"/>
                <a:gd name="T45" fmla="*/ 24 h 397"/>
                <a:gd name="T46" fmla="*/ 204 w 277"/>
                <a:gd name="T47" fmla="*/ 47 h 397"/>
                <a:gd name="T48" fmla="*/ 207 w 277"/>
                <a:gd name="T49" fmla="*/ 60 h 397"/>
                <a:gd name="T50" fmla="*/ 222 w 277"/>
                <a:gd name="T51" fmla="*/ 57 h 397"/>
                <a:gd name="T52" fmla="*/ 228 w 277"/>
                <a:gd name="T53" fmla="*/ 50 h 397"/>
                <a:gd name="T54" fmla="*/ 233 w 277"/>
                <a:gd name="T55" fmla="*/ 44 h 397"/>
                <a:gd name="T56" fmla="*/ 241 w 277"/>
                <a:gd name="T57" fmla="*/ 47 h 397"/>
                <a:gd name="T58" fmla="*/ 256 w 277"/>
                <a:gd name="T59" fmla="*/ 68 h 397"/>
                <a:gd name="T60" fmla="*/ 269 w 277"/>
                <a:gd name="T61" fmla="*/ 78 h 397"/>
                <a:gd name="T62" fmla="*/ 272 w 277"/>
                <a:gd name="T63" fmla="*/ 96 h 397"/>
                <a:gd name="T64" fmla="*/ 266 w 277"/>
                <a:gd name="T65" fmla="*/ 104 h 397"/>
                <a:gd name="T66" fmla="*/ 261 w 277"/>
                <a:gd name="T67" fmla="*/ 114 h 397"/>
                <a:gd name="T68" fmla="*/ 254 w 277"/>
                <a:gd name="T69" fmla="*/ 127 h 397"/>
                <a:gd name="T70" fmla="*/ 246 w 277"/>
                <a:gd name="T71" fmla="*/ 133 h 397"/>
                <a:gd name="T72" fmla="*/ 248 w 277"/>
                <a:gd name="T73" fmla="*/ 146 h 397"/>
                <a:gd name="T74" fmla="*/ 241 w 277"/>
                <a:gd name="T75" fmla="*/ 159 h 397"/>
                <a:gd name="T76" fmla="*/ 243 w 277"/>
                <a:gd name="T77" fmla="*/ 182 h 397"/>
                <a:gd name="T78" fmla="*/ 259 w 277"/>
                <a:gd name="T79" fmla="*/ 184 h 397"/>
                <a:gd name="T80" fmla="*/ 254 w 277"/>
                <a:gd name="T81" fmla="*/ 197 h 397"/>
                <a:gd name="T82" fmla="*/ 235 w 277"/>
                <a:gd name="T83" fmla="*/ 221 h 397"/>
                <a:gd name="T84" fmla="*/ 222 w 277"/>
                <a:gd name="T85" fmla="*/ 218 h 397"/>
                <a:gd name="T86" fmla="*/ 210 w 277"/>
                <a:gd name="T87" fmla="*/ 249 h 397"/>
                <a:gd name="T88" fmla="*/ 194 w 277"/>
                <a:gd name="T89" fmla="*/ 254 h 397"/>
                <a:gd name="T90" fmla="*/ 184 w 277"/>
                <a:gd name="T91" fmla="*/ 275 h 397"/>
                <a:gd name="T92" fmla="*/ 158 w 277"/>
                <a:gd name="T93" fmla="*/ 265 h 397"/>
                <a:gd name="T94" fmla="*/ 140 w 277"/>
                <a:gd name="T95" fmla="*/ 273 h 397"/>
                <a:gd name="T96" fmla="*/ 142 w 277"/>
                <a:gd name="T97" fmla="*/ 293 h 397"/>
                <a:gd name="T98" fmla="*/ 142 w 277"/>
                <a:gd name="T99" fmla="*/ 317 h 397"/>
                <a:gd name="T100" fmla="*/ 150 w 277"/>
                <a:gd name="T101" fmla="*/ 327 h 397"/>
                <a:gd name="T102" fmla="*/ 147 w 277"/>
                <a:gd name="T103" fmla="*/ 345 h 397"/>
                <a:gd name="T104" fmla="*/ 150 w 277"/>
                <a:gd name="T105" fmla="*/ 374 h 397"/>
                <a:gd name="T106" fmla="*/ 134 w 277"/>
                <a:gd name="T107" fmla="*/ 379 h 397"/>
                <a:gd name="T108" fmla="*/ 119 w 277"/>
                <a:gd name="T109" fmla="*/ 394 h 397"/>
                <a:gd name="T110" fmla="*/ 119 w 277"/>
                <a:gd name="T111" fmla="*/ 384 h 397"/>
                <a:gd name="T112" fmla="*/ 116 w 277"/>
                <a:gd name="T113" fmla="*/ 376 h 397"/>
                <a:gd name="T114" fmla="*/ 103 w 277"/>
                <a:gd name="T115" fmla="*/ 361 h 397"/>
                <a:gd name="T116" fmla="*/ 93 w 277"/>
                <a:gd name="T117" fmla="*/ 361 h 397"/>
                <a:gd name="T118" fmla="*/ 80 w 277"/>
                <a:gd name="T119" fmla="*/ 366 h 397"/>
                <a:gd name="T120" fmla="*/ 78 w 277"/>
                <a:gd name="T121" fmla="*/ 337 h 397"/>
                <a:gd name="T122" fmla="*/ 65 w 277"/>
                <a:gd name="T123" fmla="*/ 311 h 397"/>
                <a:gd name="T124" fmla="*/ 10 w 277"/>
                <a:gd name="T125" fmla="*/ 29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397">
                  <a:moveTo>
                    <a:pt x="0" y="280"/>
                  </a:moveTo>
                  <a:lnTo>
                    <a:pt x="0" y="280"/>
                  </a:lnTo>
                  <a:lnTo>
                    <a:pt x="2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3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5"/>
                  </a:lnTo>
                  <a:lnTo>
                    <a:pt x="15" y="265"/>
                  </a:lnTo>
                  <a:lnTo>
                    <a:pt x="15" y="262"/>
                  </a:lnTo>
                  <a:lnTo>
                    <a:pt x="13" y="262"/>
                  </a:lnTo>
                  <a:lnTo>
                    <a:pt x="13" y="262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4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28" y="249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4"/>
                  </a:lnTo>
                  <a:lnTo>
                    <a:pt x="39" y="244"/>
                  </a:lnTo>
                  <a:lnTo>
                    <a:pt x="39" y="241"/>
                  </a:lnTo>
                  <a:lnTo>
                    <a:pt x="39" y="241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6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3"/>
                  </a:lnTo>
                  <a:lnTo>
                    <a:pt x="31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1" y="218"/>
                  </a:lnTo>
                  <a:lnTo>
                    <a:pt x="23" y="218"/>
                  </a:lnTo>
                  <a:lnTo>
                    <a:pt x="23" y="221"/>
                  </a:lnTo>
                  <a:lnTo>
                    <a:pt x="23" y="218"/>
                  </a:lnTo>
                  <a:lnTo>
                    <a:pt x="23" y="218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6" y="216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3" y="208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6" y="205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6" y="203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8" y="197"/>
                  </a:lnTo>
                  <a:lnTo>
                    <a:pt x="28" y="19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4" y="195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39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79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39" y="174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9" y="143"/>
                  </a:lnTo>
                  <a:lnTo>
                    <a:pt x="52" y="140"/>
                  </a:lnTo>
                  <a:lnTo>
                    <a:pt x="54" y="140"/>
                  </a:lnTo>
                  <a:lnTo>
                    <a:pt x="54" y="138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2" y="135"/>
                  </a:lnTo>
                  <a:lnTo>
                    <a:pt x="72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78" y="122"/>
                  </a:lnTo>
                  <a:lnTo>
                    <a:pt x="78" y="122"/>
                  </a:lnTo>
                  <a:lnTo>
                    <a:pt x="80" y="122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2"/>
                  </a:lnTo>
                  <a:lnTo>
                    <a:pt x="85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5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6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1"/>
                  </a:lnTo>
                  <a:lnTo>
                    <a:pt x="106" y="89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1" y="86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78"/>
                  </a:lnTo>
                  <a:lnTo>
                    <a:pt x="111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3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6" y="70"/>
                  </a:lnTo>
                  <a:lnTo>
                    <a:pt x="106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6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93" y="60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0"/>
                  </a:lnTo>
                  <a:lnTo>
                    <a:pt x="103" y="50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7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9" y="29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7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7" y="29"/>
                  </a:lnTo>
                  <a:lnTo>
                    <a:pt x="147" y="26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4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7"/>
                  </a:lnTo>
                  <a:lnTo>
                    <a:pt x="158" y="37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6" y="16"/>
                  </a:lnTo>
                  <a:lnTo>
                    <a:pt x="178" y="13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6" y="6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3"/>
                  </a:lnTo>
                  <a:lnTo>
                    <a:pt x="191" y="6"/>
                  </a:lnTo>
                  <a:lnTo>
                    <a:pt x="194" y="6"/>
                  </a:lnTo>
                  <a:lnTo>
                    <a:pt x="194" y="6"/>
                  </a:lnTo>
                  <a:lnTo>
                    <a:pt x="197" y="6"/>
                  </a:lnTo>
                  <a:lnTo>
                    <a:pt x="197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2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10" y="8"/>
                  </a:lnTo>
                  <a:lnTo>
                    <a:pt x="210" y="11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5" y="13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0" y="16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21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7"/>
                  </a:lnTo>
                  <a:lnTo>
                    <a:pt x="207" y="37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4"/>
                  </a:lnTo>
                  <a:lnTo>
                    <a:pt x="202" y="47"/>
                  </a:lnTo>
                  <a:lnTo>
                    <a:pt x="202" y="47"/>
                  </a:lnTo>
                  <a:lnTo>
                    <a:pt x="199" y="50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199" y="52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4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7" y="63"/>
                  </a:lnTo>
                  <a:lnTo>
                    <a:pt x="217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60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7" y="55"/>
                  </a:lnTo>
                  <a:lnTo>
                    <a:pt x="217" y="55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2" y="50"/>
                  </a:lnTo>
                  <a:lnTo>
                    <a:pt x="222" y="50"/>
                  </a:lnTo>
                  <a:lnTo>
                    <a:pt x="225" y="50"/>
                  </a:lnTo>
                  <a:lnTo>
                    <a:pt x="225" y="47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4"/>
                  </a:lnTo>
                  <a:lnTo>
                    <a:pt x="228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3" y="47"/>
                  </a:lnTo>
                  <a:lnTo>
                    <a:pt x="230" y="47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2"/>
                  </a:lnTo>
                  <a:lnTo>
                    <a:pt x="235" y="52"/>
                  </a:lnTo>
                  <a:lnTo>
                    <a:pt x="233" y="50"/>
                  </a:lnTo>
                  <a:lnTo>
                    <a:pt x="235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2"/>
                  </a:lnTo>
                  <a:lnTo>
                    <a:pt x="238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50"/>
                  </a:lnTo>
                  <a:lnTo>
                    <a:pt x="241" y="52"/>
                  </a:lnTo>
                  <a:lnTo>
                    <a:pt x="241" y="52"/>
                  </a:lnTo>
                  <a:lnTo>
                    <a:pt x="243" y="55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51" y="65"/>
                  </a:lnTo>
                  <a:lnTo>
                    <a:pt x="254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6" y="70"/>
                  </a:lnTo>
                  <a:lnTo>
                    <a:pt x="256" y="73"/>
                  </a:lnTo>
                  <a:lnTo>
                    <a:pt x="256" y="73"/>
                  </a:lnTo>
                  <a:lnTo>
                    <a:pt x="259" y="73"/>
                  </a:lnTo>
                  <a:lnTo>
                    <a:pt x="256" y="73"/>
                  </a:lnTo>
                  <a:lnTo>
                    <a:pt x="256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6" y="81"/>
                  </a:lnTo>
                  <a:lnTo>
                    <a:pt x="266" y="81"/>
                  </a:lnTo>
                  <a:lnTo>
                    <a:pt x="269" y="78"/>
                  </a:lnTo>
                  <a:lnTo>
                    <a:pt x="269" y="78"/>
                  </a:lnTo>
                  <a:lnTo>
                    <a:pt x="269" y="81"/>
                  </a:lnTo>
                  <a:lnTo>
                    <a:pt x="269" y="81"/>
                  </a:lnTo>
                  <a:lnTo>
                    <a:pt x="272" y="81"/>
                  </a:lnTo>
                  <a:lnTo>
                    <a:pt x="272" y="81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7" y="83"/>
                  </a:lnTo>
                  <a:lnTo>
                    <a:pt x="277" y="86"/>
                  </a:lnTo>
                  <a:lnTo>
                    <a:pt x="274" y="86"/>
                  </a:lnTo>
                  <a:lnTo>
                    <a:pt x="274" y="89"/>
                  </a:lnTo>
                  <a:lnTo>
                    <a:pt x="272" y="89"/>
                  </a:lnTo>
                  <a:lnTo>
                    <a:pt x="272" y="91"/>
                  </a:lnTo>
                  <a:lnTo>
                    <a:pt x="272" y="91"/>
                  </a:lnTo>
                  <a:lnTo>
                    <a:pt x="274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4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4" y="96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69" y="94"/>
                  </a:lnTo>
                  <a:lnTo>
                    <a:pt x="269" y="94"/>
                  </a:lnTo>
                  <a:lnTo>
                    <a:pt x="272" y="91"/>
                  </a:lnTo>
                  <a:lnTo>
                    <a:pt x="269" y="91"/>
                  </a:lnTo>
                  <a:lnTo>
                    <a:pt x="266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6" y="96"/>
                  </a:lnTo>
                  <a:lnTo>
                    <a:pt x="266" y="99"/>
                  </a:lnTo>
                  <a:lnTo>
                    <a:pt x="266" y="99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4" y="107"/>
                  </a:lnTo>
                  <a:lnTo>
                    <a:pt x="266" y="107"/>
                  </a:lnTo>
                  <a:lnTo>
                    <a:pt x="269" y="107"/>
                  </a:lnTo>
                  <a:lnTo>
                    <a:pt x="272" y="109"/>
                  </a:lnTo>
                  <a:lnTo>
                    <a:pt x="274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69" y="117"/>
                  </a:lnTo>
                  <a:lnTo>
                    <a:pt x="266" y="117"/>
                  </a:lnTo>
                  <a:lnTo>
                    <a:pt x="264" y="117"/>
                  </a:lnTo>
                  <a:lnTo>
                    <a:pt x="264" y="117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59" y="114"/>
                  </a:lnTo>
                  <a:lnTo>
                    <a:pt x="259" y="114"/>
                  </a:lnTo>
                  <a:lnTo>
                    <a:pt x="256" y="114"/>
                  </a:lnTo>
                  <a:lnTo>
                    <a:pt x="256" y="114"/>
                  </a:lnTo>
                  <a:lnTo>
                    <a:pt x="254" y="114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48" y="127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3" y="125"/>
                  </a:lnTo>
                  <a:lnTo>
                    <a:pt x="246" y="127"/>
                  </a:lnTo>
                  <a:lnTo>
                    <a:pt x="243" y="130"/>
                  </a:lnTo>
                  <a:lnTo>
                    <a:pt x="246" y="130"/>
                  </a:lnTo>
                  <a:lnTo>
                    <a:pt x="246" y="130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6" y="130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48" y="133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4" y="133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8"/>
                  </a:lnTo>
                  <a:lnTo>
                    <a:pt x="254" y="140"/>
                  </a:lnTo>
                  <a:lnTo>
                    <a:pt x="254" y="140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6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6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9"/>
                  </a:lnTo>
                  <a:lnTo>
                    <a:pt x="243" y="159"/>
                  </a:lnTo>
                  <a:lnTo>
                    <a:pt x="243" y="159"/>
                  </a:lnTo>
                  <a:lnTo>
                    <a:pt x="243" y="161"/>
                  </a:lnTo>
                  <a:lnTo>
                    <a:pt x="243" y="164"/>
                  </a:lnTo>
                  <a:lnTo>
                    <a:pt x="241" y="164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4"/>
                  </a:lnTo>
                  <a:lnTo>
                    <a:pt x="238" y="174"/>
                  </a:lnTo>
                  <a:lnTo>
                    <a:pt x="238" y="177"/>
                  </a:lnTo>
                  <a:lnTo>
                    <a:pt x="238" y="177"/>
                  </a:lnTo>
                  <a:lnTo>
                    <a:pt x="238" y="179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6" y="182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7"/>
                  </a:lnTo>
                  <a:lnTo>
                    <a:pt x="246" y="177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4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8" y="174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7"/>
                  </a:lnTo>
                  <a:lnTo>
                    <a:pt x="259" y="177"/>
                  </a:lnTo>
                  <a:lnTo>
                    <a:pt x="259" y="179"/>
                  </a:lnTo>
                  <a:lnTo>
                    <a:pt x="259" y="182"/>
                  </a:lnTo>
                  <a:lnTo>
                    <a:pt x="259" y="182"/>
                  </a:lnTo>
                  <a:lnTo>
                    <a:pt x="259" y="184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7"/>
                  </a:lnTo>
                  <a:lnTo>
                    <a:pt x="256" y="190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7"/>
                  </a:lnTo>
                  <a:lnTo>
                    <a:pt x="256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200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4" y="208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6" y="213"/>
                  </a:lnTo>
                  <a:lnTo>
                    <a:pt x="246" y="213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3" y="216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0" y="221"/>
                  </a:lnTo>
                  <a:lnTo>
                    <a:pt x="228" y="218"/>
                  </a:lnTo>
                  <a:lnTo>
                    <a:pt x="228" y="218"/>
                  </a:lnTo>
                  <a:lnTo>
                    <a:pt x="228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2" y="221"/>
                  </a:lnTo>
                  <a:lnTo>
                    <a:pt x="222" y="221"/>
                  </a:lnTo>
                  <a:lnTo>
                    <a:pt x="222" y="223"/>
                  </a:lnTo>
                  <a:lnTo>
                    <a:pt x="222" y="226"/>
                  </a:lnTo>
                  <a:lnTo>
                    <a:pt x="220" y="226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31"/>
                  </a:lnTo>
                  <a:lnTo>
                    <a:pt x="222" y="231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6"/>
                  </a:lnTo>
                  <a:lnTo>
                    <a:pt x="220" y="239"/>
                  </a:lnTo>
                  <a:lnTo>
                    <a:pt x="220" y="239"/>
                  </a:lnTo>
                  <a:lnTo>
                    <a:pt x="217" y="241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0" y="249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49"/>
                  </a:lnTo>
                  <a:lnTo>
                    <a:pt x="199" y="249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4" y="249"/>
                  </a:lnTo>
                  <a:lnTo>
                    <a:pt x="194" y="247"/>
                  </a:lnTo>
                  <a:lnTo>
                    <a:pt x="194" y="249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5"/>
                  </a:lnTo>
                  <a:lnTo>
                    <a:pt x="194" y="267"/>
                  </a:lnTo>
                  <a:lnTo>
                    <a:pt x="194" y="267"/>
                  </a:lnTo>
                  <a:lnTo>
                    <a:pt x="194" y="270"/>
                  </a:lnTo>
                  <a:lnTo>
                    <a:pt x="197" y="273"/>
                  </a:lnTo>
                  <a:lnTo>
                    <a:pt x="194" y="273"/>
                  </a:lnTo>
                  <a:lnTo>
                    <a:pt x="194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1" y="273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68" y="267"/>
                  </a:lnTo>
                  <a:lnTo>
                    <a:pt x="166" y="267"/>
                  </a:lnTo>
                  <a:lnTo>
                    <a:pt x="166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58" y="265"/>
                  </a:lnTo>
                  <a:lnTo>
                    <a:pt x="158" y="267"/>
                  </a:lnTo>
                  <a:lnTo>
                    <a:pt x="158" y="267"/>
                  </a:lnTo>
                  <a:lnTo>
                    <a:pt x="158" y="270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3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2" y="270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4" y="280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40" y="28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2" y="286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91"/>
                  </a:lnTo>
                  <a:lnTo>
                    <a:pt x="142" y="291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6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301"/>
                  </a:lnTo>
                  <a:lnTo>
                    <a:pt x="140" y="301"/>
                  </a:lnTo>
                  <a:lnTo>
                    <a:pt x="140" y="304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9"/>
                  </a:lnTo>
                  <a:lnTo>
                    <a:pt x="142" y="311"/>
                  </a:lnTo>
                  <a:lnTo>
                    <a:pt x="142" y="314"/>
                  </a:lnTo>
                  <a:lnTo>
                    <a:pt x="145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9"/>
                  </a:lnTo>
                  <a:lnTo>
                    <a:pt x="142" y="319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5" y="317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22"/>
                  </a:lnTo>
                  <a:lnTo>
                    <a:pt x="147" y="324"/>
                  </a:lnTo>
                  <a:lnTo>
                    <a:pt x="147" y="327"/>
                  </a:lnTo>
                  <a:lnTo>
                    <a:pt x="147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3" y="327"/>
                  </a:lnTo>
                  <a:lnTo>
                    <a:pt x="153" y="327"/>
                  </a:lnTo>
                  <a:lnTo>
                    <a:pt x="153" y="330"/>
                  </a:lnTo>
                  <a:lnTo>
                    <a:pt x="153" y="330"/>
                  </a:lnTo>
                  <a:lnTo>
                    <a:pt x="150" y="330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3" y="335"/>
                  </a:lnTo>
                  <a:lnTo>
                    <a:pt x="153" y="335"/>
                  </a:lnTo>
                  <a:lnTo>
                    <a:pt x="153" y="337"/>
                  </a:lnTo>
                  <a:lnTo>
                    <a:pt x="153" y="340"/>
                  </a:lnTo>
                  <a:lnTo>
                    <a:pt x="153" y="340"/>
                  </a:lnTo>
                  <a:lnTo>
                    <a:pt x="150" y="340"/>
                  </a:lnTo>
                  <a:lnTo>
                    <a:pt x="153" y="343"/>
                  </a:lnTo>
                  <a:lnTo>
                    <a:pt x="153" y="343"/>
                  </a:lnTo>
                  <a:lnTo>
                    <a:pt x="150" y="343"/>
                  </a:lnTo>
                  <a:lnTo>
                    <a:pt x="150" y="343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8"/>
                  </a:lnTo>
                  <a:lnTo>
                    <a:pt x="147" y="350"/>
                  </a:lnTo>
                  <a:lnTo>
                    <a:pt x="147" y="350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6"/>
                  </a:lnTo>
                  <a:lnTo>
                    <a:pt x="145" y="358"/>
                  </a:lnTo>
                  <a:lnTo>
                    <a:pt x="145" y="361"/>
                  </a:lnTo>
                  <a:lnTo>
                    <a:pt x="145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3"/>
                  </a:lnTo>
                  <a:lnTo>
                    <a:pt x="147" y="363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71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47" y="374"/>
                  </a:lnTo>
                  <a:lnTo>
                    <a:pt x="147" y="374"/>
                  </a:lnTo>
                  <a:lnTo>
                    <a:pt x="145" y="374"/>
                  </a:lnTo>
                  <a:lnTo>
                    <a:pt x="145" y="374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2" y="379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4" y="376"/>
                  </a:lnTo>
                  <a:lnTo>
                    <a:pt x="134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2" y="387"/>
                  </a:lnTo>
                  <a:lnTo>
                    <a:pt x="129" y="387"/>
                  </a:lnTo>
                  <a:lnTo>
                    <a:pt x="129" y="389"/>
                  </a:lnTo>
                  <a:lnTo>
                    <a:pt x="129" y="389"/>
                  </a:lnTo>
                  <a:lnTo>
                    <a:pt x="127" y="389"/>
                  </a:lnTo>
                  <a:lnTo>
                    <a:pt x="127" y="389"/>
                  </a:lnTo>
                  <a:lnTo>
                    <a:pt x="127" y="392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7"/>
                  </a:lnTo>
                  <a:lnTo>
                    <a:pt x="119" y="397"/>
                  </a:lnTo>
                  <a:lnTo>
                    <a:pt x="116" y="397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89"/>
                  </a:lnTo>
                  <a:lnTo>
                    <a:pt x="119" y="389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4" y="381"/>
                  </a:lnTo>
                  <a:lnTo>
                    <a:pt x="124" y="384"/>
                  </a:lnTo>
                  <a:lnTo>
                    <a:pt x="122" y="384"/>
                  </a:lnTo>
                  <a:lnTo>
                    <a:pt x="124" y="384"/>
                  </a:lnTo>
                  <a:lnTo>
                    <a:pt x="124" y="384"/>
                  </a:lnTo>
                  <a:lnTo>
                    <a:pt x="127" y="381"/>
                  </a:lnTo>
                  <a:lnTo>
                    <a:pt x="127" y="381"/>
                  </a:lnTo>
                  <a:lnTo>
                    <a:pt x="127" y="379"/>
                  </a:lnTo>
                  <a:lnTo>
                    <a:pt x="124" y="376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19" y="381"/>
                  </a:lnTo>
                  <a:lnTo>
                    <a:pt x="119" y="379"/>
                  </a:lnTo>
                  <a:lnTo>
                    <a:pt x="116" y="379"/>
                  </a:lnTo>
                  <a:lnTo>
                    <a:pt x="116" y="376"/>
                  </a:lnTo>
                  <a:lnTo>
                    <a:pt x="119" y="374"/>
                  </a:lnTo>
                  <a:lnTo>
                    <a:pt x="116" y="374"/>
                  </a:lnTo>
                  <a:lnTo>
                    <a:pt x="116" y="374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4" y="376"/>
                  </a:lnTo>
                  <a:lnTo>
                    <a:pt x="111" y="374"/>
                  </a:lnTo>
                  <a:lnTo>
                    <a:pt x="109" y="374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6" y="374"/>
                  </a:lnTo>
                  <a:lnTo>
                    <a:pt x="106" y="371"/>
                  </a:lnTo>
                  <a:lnTo>
                    <a:pt x="103" y="369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1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6"/>
                  </a:lnTo>
                  <a:lnTo>
                    <a:pt x="101" y="356"/>
                  </a:lnTo>
                  <a:lnTo>
                    <a:pt x="101" y="356"/>
                  </a:lnTo>
                  <a:lnTo>
                    <a:pt x="98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3"/>
                  </a:lnTo>
                  <a:lnTo>
                    <a:pt x="93" y="363"/>
                  </a:lnTo>
                  <a:lnTo>
                    <a:pt x="96" y="366"/>
                  </a:lnTo>
                  <a:lnTo>
                    <a:pt x="96" y="369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0" y="374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4"/>
                  </a:lnTo>
                  <a:lnTo>
                    <a:pt x="88" y="374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3"/>
                  </a:lnTo>
                  <a:lnTo>
                    <a:pt x="80" y="363"/>
                  </a:lnTo>
                  <a:lnTo>
                    <a:pt x="78" y="363"/>
                  </a:lnTo>
                  <a:lnTo>
                    <a:pt x="78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2" y="363"/>
                  </a:lnTo>
                  <a:lnTo>
                    <a:pt x="72" y="363"/>
                  </a:lnTo>
                  <a:lnTo>
                    <a:pt x="72" y="361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6"/>
                  </a:lnTo>
                  <a:lnTo>
                    <a:pt x="67" y="353"/>
                  </a:lnTo>
                  <a:lnTo>
                    <a:pt x="67" y="353"/>
                  </a:lnTo>
                  <a:lnTo>
                    <a:pt x="67" y="350"/>
                  </a:lnTo>
                  <a:lnTo>
                    <a:pt x="65" y="348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2" y="340"/>
                  </a:lnTo>
                  <a:lnTo>
                    <a:pt x="75" y="337"/>
                  </a:lnTo>
                  <a:lnTo>
                    <a:pt x="78" y="337"/>
                  </a:lnTo>
                  <a:lnTo>
                    <a:pt x="78" y="335"/>
                  </a:lnTo>
                  <a:lnTo>
                    <a:pt x="78" y="335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78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2" y="332"/>
                  </a:lnTo>
                  <a:lnTo>
                    <a:pt x="72" y="330"/>
                  </a:lnTo>
                  <a:lnTo>
                    <a:pt x="70" y="327"/>
                  </a:lnTo>
                  <a:lnTo>
                    <a:pt x="70" y="322"/>
                  </a:lnTo>
                  <a:lnTo>
                    <a:pt x="70" y="322"/>
                  </a:lnTo>
                  <a:lnTo>
                    <a:pt x="67" y="319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67" y="317"/>
                  </a:lnTo>
                  <a:lnTo>
                    <a:pt x="67" y="317"/>
                  </a:lnTo>
                  <a:lnTo>
                    <a:pt x="67" y="314"/>
                  </a:lnTo>
                  <a:lnTo>
                    <a:pt x="65" y="314"/>
                  </a:lnTo>
                  <a:lnTo>
                    <a:pt x="65" y="314"/>
                  </a:lnTo>
                  <a:lnTo>
                    <a:pt x="65" y="311"/>
                  </a:lnTo>
                  <a:lnTo>
                    <a:pt x="65" y="311"/>
                  </a:lnTo>
                  <a:lnTo>
                    <a:pt x="65" y="309"/>
                  </a:lnTo>
                  <a:lnTo>
                    <a:pt x="65" y="306"/>
                  </a:lnTo>
                  <a:lnTo>
                    <a:pt x="65" y="304"/>
                  </a:lnTo>
                  <a:lnTo>
                    <a:pt x="65" y="301"/>
                  </a:lnTo>
                  <a:lnTo>
                    <a:pt x="62" y="296"/>
                  </a:lnTo>
                  <a:lnTo>
                    <a:pt x="57" y="291"/>
                  </a:lnTo>
                  <a:lnTo>
                    <a:pt x="54" y="288"/>
                  </a:lnTo>
                  <a:lnTo>
                    <a:pt x="52" y="288"/>
                  </a:lnTo>
                  <a:lnTo>
                    <a:pt x="49" y="286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1" y="286"/>
                  </a:lnTo>
                  <a:lnTo>
                    <a:pt x="36" y="288"/>
                  </a:lnTo>
                  <a:lnTo>
                    <a:pt x="34" y="291"/>
                  </a:lnTo>
                  <a:lnTo>
                    <a:pt x="31" y="291"/>
                  </a:lnTo>
                  <a:lnTo>
                    <a:pt x="28" y="293"/>
                  </a:lnTo>
                  <a:lnTo>
                    <a:pt x="26" y="293"/>
                  </a:lnTo>
                  <a:lnTo>
                    <a:pt x="23" y="296"/>
                  </a:lnTo>
                  <a:lnTo>
                    <a:pt x="21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0" y="293"/>
                  </a:lnTo>
                  <a:lnTo>
                    <a:pt x="10" y="291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5" y="288"/>
                  </a:lnTo>
                  <a:lnTo>
                    <a:pt x="5" y="286"/>
                  </a:lnTo>
                  <a:lnTo>
                    <a:pt x="2" y="283"/>
                  </a:lnTo>
                  <a:lnTo>
                    <a:pt x="0" y="28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7" name="Freeform 117"/>
            <p:cNvSpPr>
              <a:spLocks/>
            </p:cNvSpPr>
            <p:nvPr/>
          </p:nvSpPr>
          <p:spPr bwMode="auto">
            <a:xfrm>
              <a:off x="966" y="2934"/>
              <a:ext cx="277" cy="397"/>
            </a:xfrm>
            <a:custGeom>
              <a:avLst/>
              <a:gdLst>
                <a:gd name="T0" fmla="*/ 10 w 277"/>
                <a:gd name="T1" fmla="*/ 270 h 397"/>
                <a:gd name="T2" fmla="*/ 15 w 277"/>
                <a:gd name="T3" fmla="*/ 257 h 397"/>
                <a:gd name="T4" fmla="*/ 31 w 277"/>
                <a:gd name="T5" fmla="*/ 252 h 397"/>
                <a:gd name="T6" fmla="*/ 39 w 277"/>
                <a:gd name="T7" fmla="*/ 241 h 397"/>
                <a:gd name="T8" fmla="*/ 31 w 277"/>
                <a:gd name="T9" fmla="*/ 223 h 397"/>
                <a:gd name="T10" fmla="*/ 23 w 277"/>
                <a:gd name="T11" fmla="*/ 216 h 397"/>
                <a:gd name="T12" fmla="*/ 34 w 277"/>
                <a:gd name="T13" fmla="*/ 195 h 397"/>
                <a:gd name="T14" fmla="*/ 41 w 277"/>
                <a:gd name="T15" fmla="*/ 184 h 397"/>
                <a:gd name="T16" fmla="*/ 41 w 277"/>
                <a:gd name="T17" fmla="*/ 159 h 397"/>
                <a:gd name="T18" fmla="*/ 62 w 277"/>
                <a:gd name="T19" fmla="*/ 140 h 397"/>
                <a:gd name="T20" fmla="*/ 78 w 277"/>
                <a:gd name="T21" fmla="*/ 122 h 397"/>
                <a:gd name="T22" fmla="*/ 83 w 277"/>
                <a:gd name="T23" fmla="*/ 101 h 397"/>
                <a:gd name="T24" fmla="*/ 103 w 277"/>
                <a:gd name="T25" fmla="*/ 91 h 397"/>
                <a:gd name="T26" fmla="*/ 103 w 277"/>
                <a:gd name="T27" fmla="*/ 68 h 397"/>
                <a:gd name="T28" fmla="*/ 96 w 277"/>
                <a:gd name="T29" fmla="*/ 57 h 397"/>
                <a:gd name="T30" fmla="*/ 111 w 277"/>
                <a:gd name="T31" fmla="*/ 50 h 397"/>
                <a:gd name="T32" fmla="*/ 127 w 277"/>
                <a:gd name="T33" fmla="*/ 37 h 397"/>
                <a:gd name="T34" fmla="*/ 147 w 277"/>
                <a:gd name="T35" fmla="*/ 26 h 397"/>
                <a:gd name="T36" fmla="*/ 163 w 277"/>
                <a:gd name="T37" fmla="*/ 31 h 397"/>
                <a:gd name="T38" fmla="*/ 176 w 277"/>
                <a:gd name="T39" fmla="*/ 8 h 397"/>
                <a:gd name="T40" fmla="*/ 194 w 277"/>
                <a:gd name="T41" fmla="*/ 6 h 397"/>
                <a:gd name="T42" fmla="*/ 212 w 277"/>
                <a:gd name="T43" fmla="*/ 16 h 397"/>
                <a:gd name="T44" fmla="*/ 207 w 277"/>
                <a:gd name="T45" fmla="*/ 24 h 397"/>
                <a:gd name="T46" fmla="*/ 204 w 277"/>
                <a:gd name="T47" fmla="*/ 47 h 397"/>
                <a:gd name="T48" fmla="*/ 207 w 277"/>
                <a:gd name="T49" fmla="*/ 60 h 397"/>
                <a:gd name="T50" fmla="*/ 222 w 277"/>
                <a:gd name="T51" fmla="*/ 57 h 397"/>
                <a:gd name="T52" fmla="*/ 228 w 277"/>
                <a:gd name="T53" fmla="*/ 50 h 397"/>
                <a:gd name="T54" fmla="*/ 233 w 277"/>
                <a:gd name="T55" fmla="*/ 44 h 397"/>
                <a:gd name="T56" fmla="*/ 241 w 277"/>
                <a:gd name="T57" fmla="*/ 47 h 397"/>
                <a:gd name="T58" fmla="*/ 256 w 277"/>
                <a:gd name="T59" fmla="*/ 68 h 397"/>
                <a:gd name="T60" fmla="*/ 269 w 277"/>
                <a:gd name="T61" fmla="*/ 78 h 397"/>
                <a:gd name="T62" fmla="*/ 272 w 277"/>
                <a:gd name="T63" fmla="*/ 96 h 397"/>
                <a:gd name="T64" fmla="*/ 266 w 277"/>
                <a:gd name="T65" fmla="*/ 104 h 397"/>
                <a:gd name="T66" fmla="*/ 261 w 277"/>
                <a:gd name="T67" fmla="*/ 114 h 397"/>
                <a:gd name="T68" fmla="*/ 254 w 277"/>
                <a:gd name="T69" fmla="*/ 127 h 397"/>
                <a:gd name="T70" fmla="*/ 246 w 277"/>
                <a:gd name="T71" fmla="*/ 133 h 397"/>
                <a:gd name="T72" fmla="*/ 248 w 277"/>
                <a:gd name="T73" fmla="*/ 146 h 397"/>
                <a:gd name="T74" fmla="*/ 241 w 277"/>
                <a:gd name="T75" fmla="*/ 159 h 397"/>
                <a:gd name="T76" fmla="*/ 243 w 277"/>
                <a:gd name="T77" fmla="*/ 182 h 397"/>
                <a:gd name="T78" fmla="*/ 259 w 277"/>
                <a:gd name="T79" fmla="*/ 184 h 397"/>
                <a:gd name="T80" fmla="*/ 254 w 277"/>
                <a:gd name="T81" fmla="*/ 197 h 397"/>
                <a:gd name="T82" fmla="*/ 235 w 277"/>
                <a:gd name="T83" fmla="*/ 221 h 397"/>
                <a:gd name="T84" fmla="*/ 222 w 277"/>
                <a:gd name="T85" fmla="*/ 218 h 397"/>
                <a:gd name="T86" fmla="*/ 210 w 277"/>
                <a:gd name="T87" fmla="*/ 249 h 397"/>
                <a:gd name="T88" fmla="*/ 194 w 277"/>
                <a:gd name="T89" fmla="*/ 254 h 397"/>
                <a:gd name="T90" fmla="*/ 184 w 277"/>
                <a:gd name="T91" fmla="*/ 275 h 397"/>
                <a:gd name="T92" fmla="*/ 158 w 277"/>
                <a:gd name="T93" fmla="*/ 265 h 397"/>
                <a:gd name="T94" fmla="*/ 140 w 277"/>
                <a:gd name="T95" fmla="*/ 273 h 397"/>
                <a:gd name="T96" fmla="*/ 142 w 277"/>
                <a:gd name="T97" fmla="*/ 293 h 397"/>
                <a:gd name="T98" fmla="*/ 142 w 277"/>
                <a:gd name="T99" fmla="*/ 317 h 397"/>
                <a:gd name="T100" fmla="*/ 150 w 277"/>
                <a:gd name="T101" fmla="*/ 327 h 397"/>
                <a:gd name="T102" fmla="*/ 147 w 277"/>
                <a:gd name="T103" fmla="*/ 345 h 397"/>
                <a:gd name="T104" fmla="*/ 150 w 277"/>
                <a:gd name="T105" fmla="*/ 374 h 397"/>
                <a:gd name="T106" fmla="*/ 134 w 277"/>
                <a:gd name="T107" fmla="*/ 379 h 397"/>
                <a:gd name="T108" fmla="*/ 119 w 277"/>
                <a:gd name="T109" fmla="*/ 394 h 397"/>
                <a:gd name="T110" fmla="*/ 119 w 277"/>
                <a:gd name="T111" fmla="*/ 384 h 397"/>
                <a:gd name="T112" fmla="*/ 116 w 277"/>
                <a:gd name="T113" fmla="*/ 376 h 397"/>
                <a:gd name="T114" fmla="*/ 103 w 277"/>
                <a:gd name="T115" fmla="*/ 361 h 397"/>
                <a:gd name="T116" fmla="*/ 93 w 277"/>
                <a:gd name="T117" fmla="*/ 361 h 397"/>
                <a:gd name="T118" fmla="*/ 80 w 277"/>
                <a:gd name="T119" fmla="*/ 366 h 397"/>
                <a:gd name="T120" fmla="*/ 78 w 277"/>
                <a:gd name="T121" fmla="*/ 337 h 397"/>
                <a:gd name="T122" fmla="*/ 65 w 277"/>
                <a:gd name="T123" fmla="*/ 311 h 397"/>
                <a:gd name="T124" fmla="*/ 10 w 277"/>
                <a:gd name="T125" fmla="*/ 29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397">
                  <a:moveTo>
                    <a:pt x="0" y="280"/>
                  </a:moveTo>
                  <a:lnTo>
                    <a:pt x="0" y="280"/>
                  </a:lnTo>
                  <a:lnTo>
                    <a:pt x="2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3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5"/>
                  </a:lnTo>
                  <a:lnTo>
                    <a:pt x="15" y="265"/>
                  </a:lnTo>
                  <a:lnTo>
                    <a:pt x="15" y="262"/>
                  </a:lnTo>
                  <a:lnTo>
                    <a:pt x="13" y="262"/>
                  </a:lnTo>
                  <a:lnTo>
                    <a:pt x="13" y="262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4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28" y="249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4"/>
                  </a:lnTo>
                  <a:lnTo>
                    <a:pt x="39" y="244"/>
                  </a:lnTo>
                  <a:lnTo>
                    <a:pt x="39" y="241"/>
                  </a:lnTo>
                  <a:lnTo>
                    <a:pt x="39" y="241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6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3"/>
                  </a:lnTo>
                  <a:lnTo>
                    <a:pt x="31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1" y="218"/>
                  </a:lnTo>
                  <a:lnTo>
                    <a:pt x="23" y="218"/>
                  </a:lnTo>
                  <a:lnTo>
                    <a:pt x="23" y="221"/>
                  </a:lnTo>
                  <a:lnTo>
                    <a:pt x="23" y="218"/>
                  </a:lnTo>
                  <a:lnTo>
                    <a:pt x="23" y="218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6" y="216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3" y="208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6" y="205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6" y="203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8" y="197"/>
                  </a:lnTo>
                  <a:lnTo>
                    <a:pt x="28" y="19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4" y="195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39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79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39" y="174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9" y="143"/>
                  </a:lnTo>
                  <a:lnTo>
                    <a:pt x="52" y="140"/>
                  </a:lnTo>
                  <a:lnTo>
                    <a:pt x="54" y="140"/>
                  </a:lnTo>
                  <a:lnTo>
                    <a:pt x="54" y="138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2" y="135"/>
                  </a:lnTo>
                  <a:lnTo>
                    <a:pt x="72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78" y="122"/>
                  </a:lnTo>
                  <a:lnTo>
                    <a:pt x="78" y="122"/>
                  </a:lnTo>
                  <a:lnTo>
                    <a:pt x="80" y="122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2"/>
                  </a:lnTo>
                  <a:lnTo>
                    <a:pt x="85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5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6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1"/>
                  </a:lnTo>
                  <a:lnTo>
                    <a:pt x="106" y="89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1" y="86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78"/>
                  </a:lnTo>
                  <a:lnTo>
                    <a:pt x="111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3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6" y="70"/>
                  </a:lnTo>
                  <a:lnTo>
                    <a:pt x="106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6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93" y="60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0"/>
                  </a:lnTo>
                  <a:lnTo>
                    <a:pt x="103" y="50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7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9" y="29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7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7" y="29"/>
                  </a:lnTo>
                  <a:lnTo>
                    <a:pt x="147" y="26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4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7"/>
                  </a:lnTo>
                  <a:lnTo>
                    <a:pt x="158" y="37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6" y="16"/>
                  </a:lnTo>
                  <a:lnTo>
                    <a:pt x="178" y="13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6" y="6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3"/>
                  </a:lnTo>
                  <a:lnTo>
                    <a:pt x="191" y="6"/>
                  </a:lnTo>
                  <a:lnTo>
                    <a:pt x="194" y="6"/>
                  </a:lnTo>
                  <a:lnTo>
                    <a:pt x="194" y="6"/>
                  </a:lnTo>
                  <a:lnTo>
                    <a:pt x="197" y="6"/>
                  </a:lnTo>
                  <a:lnTo>
                    <a:pt x="197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2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10" y="8"/>
                  </a:lnTo>
                  <a:lnTo>
                    <a:pt x="210" y="11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5" y="13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0" y="16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21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7"/>
                  </a:lnTo>
                  <a:lnTo>
                    <a:pt x="207" y="37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4"/>
                  </a:lnTo>
                  <a:lnTo>
                    <a:pt x="202" y="47"/>
                  </a:lnTo>
                  <a:lnTo>
                    <a:pt x="202" y="47"/>
                  </a:lnTo>
                  <a:lnTo>
                    <a:pt x="199" y="50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199" y="52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4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7" y="63"/>
                  </a:lnTo>
                  <a:lnTo>
                    <a:pt x="217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60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7" y="55"/>
                  </a:lnTo>
                  <a:lnTo>
                    <a:pt x="217" y="55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2" y="50"/>
                  </a:lnTo>
                  <a:lnTo>
                    <a:pt x="222" y="50"/>
                  </a:lnTo>
                  <a:lnTo>
                    <a:pt x="225" y="50"/>
                  </a:lnTo>
                  <a:lnTo>
                    <a:pt x="225" y="47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4"/>
                  </a:lnTo>
                  <a:lnTo>
                    <a:pt x="228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3" y="47"/>
                  </a:lnTo>
                  <a:lnTo>
                    <a:pt x="230" y="47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2"/>
                  </a:lnTo>
                  <a:lnTo>
                    <a:pt x="235" y="52"/>
                  </a:lnTo>
                  <a:lnTo>
                    <a:pt x="233" y="50"/>
                  </a:lnTo>
                  <a:lnTo>
                    <a:pt x="235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2"/>
                  </a:lnTo>
                  <a:lnTo>
                    <a:pt x="238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50"/>
                  </a:lnTo>
                  <a:lnTo>
                    <a:pt x="241" y="52"/>
                  </a:lnTo>
                  <a:lnTo>
                    <a:pt x="241" y="52"/>
                  </a:lnTo>
                  <a:lnTo>
                    <a:pt x="243" y="55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51" y="65"/>
                  </a:lnTo>
                  <a:lnTo>
                    <a:pt x="254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6" y="70"/>
                  </a:lnTo>
                  <a:lnTo>
                    <a:pt x="256" y="73"/>
                  </a:lnTo>
                  <a:lnTo>
                    <a:pt x="256" y="73"/>
                  </a:lnTo>
                  <a:lnTo>
                    <a:pt x="259" y="73"/>
                  </a:lnTo>
                  <a:lnTo>
                    <a:pt x="256" y="73"/>
                  </a:lnTo>
                  <a:lnTo>
                    <a:pt x="256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6" y="81"/>
                  </a:lnTo>
                  <a:lnTo>
                    <a:pt x="266" y="81"/>
                  </a:lnTo>
                  <a:lnTo>
                    <a:pt x="269" y="78"/>
                  </a:lnTo>
                  <a:lnTo>
                    <a:pt x="269" y="78"/>
                  </a:lnTo>
                  <a:lnTo>
                    <a:pt x="269" y="81"/>
                  </a:lnTo>
                  <a:lnTo>
                    <a:pt x="269" y="81"/>
                  </a:lnTo>
                  <a:lnTo>
                    <a:pt x="272" y="81"/>
                  </a:lnTo>
                  <a:lnTo>
                    <a:pt x="272" y="81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7" y="83"/>
                  </a:lnTo>
                  <a:lnTo>
                    <a:pt x="277" y="86"/>
                  </a:lnTo>
                  <a:lnTo>
                    <a:pt x="274" y="86"/>
                  </a:lnTo>
                  <a:lnTo>
                    <a:pt x="274" y="89"/>
                  </a:lnTo>
                  <a:lnTo>
                    <a:pt x="272" y="89"/>
                  </a:lnTo>
                  <a:lnTo>
                    <a:pt x="272" y="91"/>
                  </a:lnTo>
                  <a:lnTo>
                    <a:pt x="272" y="91"/>
                  </a:lnTo>
                  <a:lnTo>
                    <a:pt x="274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4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4" y="96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69" y="94"/>
                  </a:lnTo>
                  <a:lnTo>
                    <a:pt x="269" y="94"/>
                  </a:lnTo>
                  <a:lnTo>
                    <a:pt x="272" y="91"/>
                  </a:lnTo>
                  <a:lnTo>
                    <a:pt x="269" y="91"/>
                  </a:lnTo>
                  <a:lnTo>
                    <a:pt x="266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6" y="96"/>
                  </a:lnTo>
                  <a:lnTo>
                    <a:pt x="266" y="99"/>
                  </a:lnTo>
                  <a:lnTo>
                    <a:pt x="266" y="99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4" y="107"/>
                  </a:lnTo>
                  <a:lnTo>
                    <a:pt x="266" y="107"/>
                  </a:lnTo>
                  <a:lnTo>
                    <a:pt x="269" y="107"/>
                  </a:lnTo>
                  <a:lnTo>
                    <a:pt x="272" y="109"/>
                  </a:lnTo>
                  <a:lnTo>
                    <a:pt x="274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69" y="117"/>
                  </a:lnTo>
                  <a:lnTo>
                    <a:pt x="266" y="117"/>
                  </a:lnTo>
                  <a:lnTo>
                    <a:pt x="264" y="117"/>
                  </a:lnTo>
                  <a:lnTo>
                    <a:pt x="264" y="117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59" y="114"/>
                  </a:lnTo>
                  <a:lnTo>
                    <a:pt x="259" y="114"/>
                  </a:lnTo>
                  <a:lnTo>
                    <a:pt x="256" y="114"/>
                  </a:lnTo>
                  <a:lnTo>
                    <a:pt x="256" y="114"/>
                  </a:lnTo>
                  <a:lnTo>
                    <a:pt x="254" y="114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48" y="127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3" y="125"/>
                  </a:lnTo>
                  <a:lnTo>
                    <a:pt x="246" y="127"/>
                  </a:lnTo>
                  <a:lnTo>
                    <a:pt x="243" y="130"/>
                  </a:lnTo>
                  <a:lnTo>
                    <a:pt x="246" y="130"/>
                  </a:lnTo>
                  <a:lnTo>
                    <a:pt x="246" y="130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6" y="130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48" y="133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4" y="133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8"/>
                  </a:lnTo>
                  <a:lnTo>
                    <a:pt x="254" y="140"/>
                  </a:lnTo>
                  <a:lnTo>
                    <a:pt x="254" y="140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6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6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9"/>
                  </a:lnTo>
                  <a:lnTo>
                    <a:pt x="243" y="159"/>
                  </a:lnTo>
                  <a:lnTo>
                    <a:pt x="243" y="159"/>
                  </a:lnTo>
                  <a:lnTo>
                    <a:pt x="243" y="161"/>
                  </a:lnTo>
                  <a:lnTo>
                    <a:pt x="243" y="164"/>
                  </a:lnTo>
                  <a:lnTo>
                    <a:pt x="241" y="164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4"/>
                  </a:lnTo>
                  <a:lnTo>
                    <a:pt x="238" y="174"/>
                  </a:lnTo>
                  <a:lnTo>
                    <a:pt x="238" y="177"/>
                  </a:lnTo>
                  <a:lnTo>
                    <a:pt x="238" y="177"/>
                  </a:lnTo>
                  <a:lnTo>
                    <a:pt x="238" y="179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6" y="182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7"/>
                  </a:lnTo>
                  <a:lnTo>
                    <a:pt x="246" y="177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4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8" y="174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7"/>
                  </a:lnTo>
                  <a:lnTo>
                    <a:pt x="259" y="177"/>
                  </a:lnTo>
                  <a:lnTo>
                    <a:pt x="259" y="179"/>
                  </a:lnTo>
                  <a:lnTo>
                    <a:pt x="259" y="182"/>
                  </a:lnTo>
                  <a:lnTo>
                    <a:pt x="259" y="182"/>
                  </a:lnTo>
                  <a:lnTo>
                    <a:pt x="259" y="184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7"/>
                  </a:lnTo>
                  <a:lnTo>
                    <a:pt x="256" y="190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7"/>
                  </a:lnTo>
                  <a:lnTo>
                    <a:pt x="256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200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4" y="208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6" y="213"/>
                  </a:lnTo>
                  <a:lnTo>
                    <a:pt x="246" y="213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3" y="216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0" y="221"/>
                  </a:lnTo>
                  <a:lnTo>
                    <a:pt x="228" y="218"/>
                  </a:lnTo>
                  <a:lnTo>
                    <a:pt x="228" y="218"/>
                  </a:lnTo>
                  <a:lnTo>
                    <a:pt x="228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2" y="221"/>
                  </a:lnTo>
                  <a:lnTo>
                    <a:pt x="222" y="221"/>
                  </a:lnTo>
                  <a:lnTo>
                    <a:pt x="222" y="223"/>
                  </a:lnTo>
                  <a:lnTo>
                    <a:pt x="222" y="226"/>
                  </a:lnTo>
                  <a:lnTo>
                    <a:pt x="220" y="226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31"/>
                  </a:lnTo>
                  <a:lnTo>
                    <a:pt x="222" y="231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6"/>
                  </a:lnTo>
                  <a:lnTo>
                    <a:pt x="220" y="239"/>
                  </a:lnTo>
                  <a:lnTo>
                    <a:pt x="220" y="239"/>
                  </a:lnTo>
                  <a:lnTo>
                    <a:pt x="217" y="241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0" y="249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49"/>
                  </a:lnTo>
                  <a:lnTo>
                    <a:pt x="199" y="249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4" y="249"/>
                  </a:lnTo>
                  <a:lnTo>
                    <a:pt x="194" y="247"/>
                  </a:lnTo>
                  <a:lnTo>
                    <a:pt x="194" y="249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5"/>
                  </a:lnTo>
                  <a:lnTo>
                    <a:pt x="194" y="267"/>
                  </a:lnTo>
                  <a:lnTo>
                    <a:pt x="194" y="267"/>
                  </a:lnTo>
                  <a:lnTo>
                    <a:pt x="194" y="270"/>
                  </a:lnTo>
                  <a:lnTo>
                    <a:pt x="197" y="273"/>
                  </a:lnTo>
                  <a:lnTo>
                    <a:pt x="194" y="273"/>
                  </a:lnTo>
                  <a:lnTo>
                    <a:pt x="194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1" y="273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68" y="267"/>
                  </a:lnTo>
                  <a:lnTo>
                    <a:pt x="166" y="267"/>
                  </a:lnTo>
                  <a:lnTo>
                    <a:pt x="166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58" y="265"/>
                  </a:lnTo>
                  <a:lnTo>
                    <a:pt x="158" y="267"/>
                  </a:lnTo>
                  <a:lnTo>
                    <a:pt x="158" y="267"/>
                  </a:lnTo>
                  <a:lnTo>
                    <a:pt x="158" y="270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3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2" y="270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4" y="280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40" y="28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2" y="286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91"/>
                  </a:lnTo>
                  <a:lnTo>
                    <a:pt x="142" y="291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6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301"/>
                  </a:lnTo>
                  <a:lnTo>
                    <a:pt x="140" y="301"/>
                  </a:lnTo>
                  <a:lnTo>
                    <a:pt x="140" y="304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9"/>
                  </a:lnTo>
                  <a:lnTo>
                    <a:pt x="142" y="311"/>
                  </a:lnTo>
                  <a:lnTo>
                    <a:pt x="142" y="314"/>
                  </a:lnTo>
                  <a:lnTo>
                    <a:pt x="145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9"/>
                  </a:lnTo>
                  <a:lnTo>
                    <a:pt x="142" y="319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5" y="317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22"/>
                  </a:lnTo>
                  <a:lnTo>
                    <a:pt x="147" y="324"/>
                  </a:lnTo>
                  <a:lnTo>
                    <a:pt x="147" y="327"/>
                  </a:lnTo>
                  <a:lnTo>
                    <a:pt x="147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3" y="327"/>
                  </a:lnTo>
                  <a:lnTo>
                    <a:pt x="153" y="327"/>
                  </a:lnTo>
                  <a:lnTo>
                    <a:pt x="153" y="330"/>
                  </a:lnTo>
                  <a:lnTo>
                    <a:pt x="153" y="330"/>
                  </a:lnTo>
                  <a:lnTo>
                    <a:pt x="150" y="330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3" y="335"/>
                  </a:lnTo>
                  <a:lnTo>
                    <a:pt x="153" y="335"/>
                  </a:lnTo>
                  <a:lnTo>
                    <a:pt x="153" y="337"/>
                  </a:lnTo>
                  <a:lnTo>
                    <a:pt x="153" y="340"/>
                  </a:lnTo>
                  <a:lnTo>
                    <a:pt x="153" y="340"/>
                  </a:lnTo>
                  <a:lnTo>
                    <a:pt x="150" y="340"/>
                  </a:lnTo>
                  <a:lnTo>
                    <a:pt x="153" y="343"/>
                  </a:lnTo>
                  <a:lnTo>
                    <a:pt x="153" y="343"/>
                  </a:lnTo>
                  <a:lnTo>
                    <a:pt x="150" y="343"/>
                  </a:lnTo>
                  <a:lnTo>
                    <a:pt x="150" y="343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8"/>
                  </a:lnTo>
                  <a:lnTo>
                    <a:pt x="147" y="350"/>
                  </a:lnTo>
                  <a:lnTo>
                    <a:pt x="147" y="350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6"/>
                  </a:lnTo>
                  <a:lnTo>
                    <a:pt x="145" y="358"/>
                  </a:lnTo>
                  <a:lnTo>
                    <a:pt x="145" y="361"/>
                  </a:lnTo>
                  <a:lnTo>
                    <a:pt x="145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3"/>
                  </a:lnTo>
                  <a:lnTo>
                    <a:pt x="147" y="363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71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47" y="374"/>
                  </a:lnTo>
                  <a:lnTo>
                    <a:pt x="147" y="374"/>
                  </a:lnTo>
                  <a:lnTo>
                    <a:pt x="145" y="374"/>
                  </a:lnTo>
                  <a:lnTo>
                    <a:pt x="145" y="374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2" y="379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4" y="376"/>
                  </a:lnTo>
                  <a:lnTo>
                    <a:pt x="134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2" y="387"/>
                  </a:lnTo>
                  <a:lnTo>
                    <a:pt x="129" y="387"/>
                  </a:lnTo>
                  <a:lnTo>
                    <a:pt x="129" y="389"/>
                  </a:lnTo>
                  <a:lnTo>
                    <a:pt x="129" y="389"/>
                  </a:lnTo>
                  <a:lnTo>
                    <a:pt x="127" y="389"/>
                  </a:lnTo>
                  <a:lnTo>
                    <a:pt x="127" y="389"/>
                  </a:lnTo>
                  <a:lnTo>
                    <a:pt x="127" y="392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7"/>
                  </a:lnTo>
                  <a:lnTo>
                    <a:pt x="119" y="397"/>
                  </a:lnTo>
                  <a:lnTo>
                    <a:pt x="116" y="397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89"/>
                  </a:lnTo>
                  <a:lnTo>
                    <a:pt x="119" y="389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4" y="381"/>
                  </a:lnTo>
                  <a:lnTo>
                    <a:pt x="124" y="384"/>
                  </a:lnTo>
                  <a:lnTo>
                    <a:pt x="122" y="384"/>
                  </a:lnTo>
                  <a:lnTo>
                    <a:pt x="124" y="384"/>
                  </a:lnTo>
                  <a:lnTo>
                    <a:pt x="124" y="384"/>
                  </a:lnTo>
                  <a:lnTo>
                    <a:pt x="127" y="381"/>
                  </a:lnTo>
                  <a:lnTo>
                    <a:pt x="127" y="381"/>
                  </a:lnTo>
                  <a:lnTo>
                    <a:pt x="127" y="379"/>
                  </a:lnTo>
                  <a:lnTo>
                    <a:pt x="124" y="376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19" y="381"/>
                  </a:lnTo>
                  <a:lnTo>
                    <a:pt x="119" y="379"/>
                  </a:lnTo>
                  <a:lnTo>
                    <a:pt x="116" y="379"/>
                  </a:lnTo>
                  <a:lnTo>
                    <a:pt x="116" y="376"/>
                  </a:lnTo>
                  <a:lnTo>
                    <a:pt x="119" y="374"/>
                  </a:lnTo>
                  <a:lnTo>
                    <a:pt x="116" y="374"/>
                  </a:lnTo>
                  <a:lnTo>
                    <a:pt x="116" y="374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4" y="376"/>
                  </a:lnTo>
                  <a:lnTo>
                    <a:pt x="111" y="374"/>
                  </a:lnTo>
                  <a:lnTo>
                    <a:pt x="109" y="374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6" y="374"/>
                  </a:lnTo>
                  <a:lnTo>
                    <a:pt x="106" y="371"/>
                  </a:lnTo>
                  <a:lnTo>
                    <a:pt x="103" y="369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1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6"/>
                  </a:lnTo>
                  <a:lnTo>
                    <a:pt x="101" y="356"/>
                  </a:lnTo>
                  <a:lnTo>
                    <a:pt x="101" y="356"/>
                  </a:lnTo>
                  <a:lnTo>
                    <a:pt x="98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3"/>
                  </a:lnTo>
                  <a:lnTo>
                    <a:pt x="93" y="363"/>
                  </a:lnTo>
                  <a:lnTo>
                    <a:pt x="96" y="366"/>
                  </a:lnTo>
                  <a:lnTo>
                    <a:pt x="96" y="369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0" y="374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4"/>
                  </a:lnTo>
                  <a:lnTo>
                    <a:pt x="88" y="374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3"/>
                  </a:lnTo>
                  <a:lnTo>
                    <a:pt x="80" y="363"/>
                  </a:lnTo>
                  <a:lnTo>
                    <a:pt x="78" y="363"/>
                  </a:lnTo>
                  <a:lnTo>
                    <a:pt x="78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2" y="363"/>
                  </a:lnTo>
                  <a:lnTo>
                    <a:pt x="72" y="363"/>
                  </a:lnTo>
                  <a:lnTo>
                    <a:pt x="72" y="361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6"/>
                  </a:lnTo>
                  <a:lnTo>
                    <a:pt x="67" y="353"/>
                  </a:lnTo>
                  <a:lnTo>
                    <a:pt x="67" y="353"/>
                  </a:lnTo>
                  <a:lnTo>
                    <a:pt x="67" y="350"/>
                  </a:lnTo>
                  <a:lnTo>
                    <a:pt x="65" y="348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2" y="340"/>
                  </a:lnTo>
                  <a:lnTo>
                    <a:pt x="75" y="337"/>
                  </a:lnTo>
                  <a:lnTo>
                    <a:pt x="78" y="337"/>
                  </a:lnTo>
                  <a:lnTo>
                    <a:pt x="78" y="335"/>
                  </a:lnTo>
                  <a:lnTo>
                    <a:pt x="78" y="335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78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2" y="332"/>
                  </a:lnTo>
                  <a:lnTo>
                    <a:pt x="72" y="330"/>
                  </a:lnTo>
                  <a:lnTo>
                    <a:pt x="70" y="327"/>
                  </a:lnTo>
                  <a:lnTo>
                    <a:pt x="70" y="322"/>
                  </a:lnTo>
                  <a:lnTo>
                    <a:pt x="70" y="322"/>
                  </a:lnTo>
                  <a:lnTo>
                    <a:pt x="67" y="319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67" y="317"/>
                  </a:lnTo>
                  <a:lnTo>
                    <a:pt x="67" y="317"/>
                  </a:lnTo>
                  <a:lnTo>
                    <a:pt x="67" y="314"/>
                  </a:lnTo>
                  <a:lnTo>
                    <a:pt x="65" y="314"/>
                  </a:lnTo>
                  <a:lnTo>
                    <a:pt x="65" y="314"/>
                  </a:lnTo>
                  <a:lnTo>
                    <a:pt x="65" y="311"/>
                  </a:lnTo>
                  <a:lnTo>
                    <a:pt x="65" y="311"/>
                  </a:lnTo>
                  <a:lnTo>
                    <a:pt x="65" y="309"/>
                  </a:lnTo>
                  <a:lnTo>
                    <a:pt x="65" y="306"/>
                  </a:lnTo>
                  <a:lnTo>
                    <a:pt x="65" y="304"/>
                  </a:lnTo>
                  <a:lnTo>
                    <a:pt x="65" y="301"/>
                  </a:lnTo>
                  <a:lnTo>
                    <a:pt x="62" y="296"/>
                  </a:lnTo>
                  <a:lnTo>
                    <a:pt x="57" y="291"/>
                  </a:lnTo>
                  <a:lnTo>
                    <a:pt x="54" y="288"/>
                  </a:lnTo>
                  <a:lnTo>
                    <a:pt x="52" y="288"/>
                  </a:lnTo>
                  <a:lnTo>
                    <a:pt x="49" y="286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1" y="286"/>
                  </a:lnTo>
                  <a:lnTo>
                    <a:pt x="36" y="288"/>
                  </a:lnTo>
                  <a:lnTo>
                    <a:pt x="34" y="291"/>
                  </a:lnTo>
                  <a:lnTo>
                    <a:pt x="31" y="291"/>
                  </a:lnTo>
                  <a:lnTo>
                    <a:pt x="28" y="293"/>
                  </a:lnTo>
                  <a:lnTo>
                    <a:pt x="26" y="293"/>
                  </a:lnTo>
                  <a:lnTo>
                    <a:pt x="23" y="296"/>
                  </a:lnTo>
                  <a:lnTo>
                    <a:pt x="21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0" y="293"/>
                  </a:lnTo>
                  <a:lnTo>
                    <a:pt x="10" y="291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5" y="288"/>
                  </a:lnTo>
                  <a:lnTo>
                    <a:pt x="5" y="286"/>
                  </a:lnTo>
                  <a:lnTo>
                    <a:pt x="2" y="283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8" name="Freeform 118"/>
            <p:cNvSpPr>
              <a:spLocks/>
            </p:cNvSpPr>
            <p:nvPr/>
          </p:nvSpPr>
          <p:spPr bwMode="auto">
            <a:xfrm>
              <a:off x="966" y="2934"/>
              <a:ext cx="277" cy="397"/>
            </a:xfrm>
            <a:custGeom>
              <a:avLst/>
              <a:gdLst>
                <a:gd name="T0" fmla="*/ 10 w 277"/>
                <a:gd name="T1" fmla="*/ 270 h 397"/>
                <a:gd name="T2" fmla="*/ 15 w 277"/>
                <a:gd name="T3" fmla="*/ 257 h 397"/>
                <a:gd name="T4" fmla="*/ 31 w 277"/>
                <a:gd name="T5" fmla="*/ 252 h 397"/>
                <a:gd name="T6" fmla="*/ 39 w 277"/>
                <a:gd name="T7" fmla="*/ 241 h 397"/>
                <a:gd name="T8" fmla="*/ 31 w 277"/>
                <a:gd name="T9" fmla="*/ 223 h 397"/>
                <a:gd name="T10" fmla="*/ 23 w 277"/>
                <a:gd name="T11" fmla="*/ 216 h 397"/>
                <a:gd name="T12" fmla="*/ 34 w 277"/>
                <a:gd name="T13" fmla="*/ 195 h 397"/>
                <a:gd name="T14" fmla="*/ 41 w 277"/>
                <a:gd name="T15" fmla="*/ 184 h 397"/>
                <a:gd name="T16" fmla="*/ 41 w 277"/>
                <a:gd name="T17" fmla="*/ 159 h 397"/>
                <a:gd name="T18" fmla="*/ 62 w 277"/>
                <a:gd name="T19" fmla="*/ 140 h 397"/>
                <a:gd name="T20" fmla="*/ 78 w 277"/>
                <a:gd name="T21" fmla="*/ 122 h 397"/>
                <a:gd name="T22" fmla="*/ 83 w 277"/>
                <a:gd name="T23" fmla="*/ 101 h 397"/>
                <a:gd name="T24" fmla="*/ 103 w 277"/>
                <a:gd name="T25" fmla="*/ 91 h 397"/>
                <a:gd name="T26" fmla="*/ 103 w 277"/>
                <a:gd name="T27" fmla="*/ 68 h 397"/>
                <a:gd name="T28" fmla="*/ 96 w 277"/>
                <a:gd name="T29" fmla="*/ 57 h 397"/>
                <a:gd name="T30" fmla="*/ 111 w 277"/>
                <a:gd name="T31" fmla="*/ 50 h 397"/>
                <a:gd name="T32" fmla="*/ 127 w 277"/>
                <a:gd name="T33" fmla="*/ 37 h 397"/>
                <a:gd name="T34" fmla="*/ 147 w 277"/>
                <a:gd name="T35" fmla="*/ 26 h 397"/>
                <a:gd name="T36" fmla="*/ 163 w 277"/>
                <a:gd name="T37" fmla="*/ 31 h 397"/>
                <a:gd name="T38" fmla="*/ 176 w 277"/>
                <a:gd name="T39" fmla="*/ 8 h 397"/>
                <a:gd name="T40" fmla="*/ 194 w 277"/>
                <a:gd name="T41" fmla="*/ 6 h 397"/>
                <a:gd name="T42" fmla="*/ 212 w 277"/>
                <a:gd name="T43" fmla="*/ 16 h 397"/>
                <a:gd name="T44" fmla="*/ 207 w 277"/>
                <a:gd name="T45" fmla="*/ 24 h 397"/>
                <a:gd name="T46" fmla="*/ 204 w 277"/>
                <a:gd name="T47" fmla="*/ 47 h 397"/>
                <a:gd name="T48" fmla="*/ 207 w 277"/>
                <a:gd name="T49" fmla="*/ 60 h 397"/>
                <a:gd name="T50" fmla="*/ 222 w 277"/>
                <a:gd name="T51" fmla="*/ 57 h 397"/>
                <a:gd name="T52" fmla="*/ 228 w 277"/>
                <a:gd name="T53" fmla="*/ 50 h 397"/>
                <a:gd name="T54" fmla="*/ 233 w 277"/>
                <a:gd name="T55" fmla="*/ 44 h 397"/>
                <a:gd name="T56" fmla="*/ 241 w 277"/>
                <a:gd name="T57" fmla="*/ 47 h 397"/>
                <a:gd name="T58" fmla="*/ 256 w 277"/>
                <a:gd name="T59" fmla="*/ 68 h 397"/>
                <a:gd name="T60" fmla="*/ 269 w 277"/>
                <a:gd name="T61" fmla="*/ 78 h 397"/>
                <a:gd name="T62" fmla="*/ 272 w 277"/>
                <a:gd name="T63" fmla="*/ 96 h 397"/>
                <a:gd name="T64" fmla="*/ 266 w 277"/>
                <a:gd name="T65" fmla="*/ 104 h 397"/>
                <a:gd name="T66" fmla="*/ 261 w 277"/>
                <a:gd name="T67" fmla="*/ 114 h 397"/>
                <a:gd name="T68" fmla="*/ 254 w 277"/>
                <a:gd name="T69" fmla="*/ 127 h 397"/>
                <a:gd name="T70" fmla="*/ 246 w 277"/>
                <a:gd name="T71" fmla="*/ 133 h 397"/>
                <a:gd name="T72" fmla="*/ 248 w 277"/>
                <a:gd name="T73" fmla="*/ 146 h 397"/>
                <a:gd name="T74" fmla="*/ 241 w 277"/>
                <a:gd name="T75" fmla="*/ 159 h 397"/>
                <a:gd name="T76" fmla="*/ 243 w 277"/>
                <a:gd name="T77" fmla="*/ 182 h 397"/>
                <a:gd name="T78" fmla="*/ 259 w 277"/>
                <a:gd name="T79" fmla="*/ 184 h 397"/>
                <a:gd name="T80" fmla="*/ 254 w 277"/>
                <a:gd name="T81" fmla="*/ 197 h 397"/>
                <a:gd name="T82" fmla="*/ 235 w 277"/>
                <a:gd name="T83" fmla="*/ 221 h 397"/>
                <a:gd name="T84" fmla="*/ 222 w 277"/>
                <a:gd name="T85" fmla="*/ 218 h 397"/>
                <a:gd name="T86" fmla="*/ 210 w 277"/>
                <a:gd name="T87" fmla="*/ 249 h 397"/>
                <a:gd name="T88" fmla="*/ 194 w 277"/>
                <a:gd name="T89" fmla="*/ 254 h 397"/>
                <a:gd name="T90" fmla="*/ 184 w 277"/>
                <a:gd name="T91" fmla="*/ 275 h 397"/>
                <a:gd name="T92" fmla="*/ 158 w 277"/>
                <a:gd name="T93" fmla="*/ 265 h 397"/>
                <a:gd name="T94" fmla="*/ 140 w 277"/>
                <a:gd name="T95" fmla="*/ 273 h 397"/>
                <a:gd name="T96" fmla="*/ 142 w 277"/>
                <a:gd name="T97" fmla="*/ 293 h 397"/>
                <a:gd name="T98" fmla="*/ 142 w 277"/>
                <a:gd name="T99" fmla="*/ 317 h 397"/>
                <a:gd name="T100" fmla="*/ 150 w 277"/>
                <a:gd name="T101" fmla="*/ 327 h 397"/>
                <a:gd name="T102" fmla="*/ 147 w 277"/>
                <a:gd name="T103" fmla="*/ 345 h 397"/>
                <a:gd name="T104" fmla="*/ 150 w 277"/>
                <a:gd name="T105" fmla="*/ 374 h 397"/>
                <a:gd name="T106" fmla="*/ 134 w 277"/>
                <a:gd name="T107" fmla="*/ 379 h 397"/>
                <a:gd name="T108" fmla="*/ 119 w 277"/>
                <a:gd name="T109" fmla="*/ 394 h 397"/>
                <a:gd name="T110" fmla="*/ 119 w 277"/>
                <a:gd name="T111" fmla="*/ 384 h 397"/>
                <a:gd name="T112" fmla="*/ 116 w 277"/>
                <a:gd name="T113" fmla="*/ 376 h 397"/>
                <a:gd name="T114" fmla="*/ 103 w 277"/>
                <a:gd name="T115" fmla="*/ 361 h 397"/>
                <a:gd name="T116" fmla="*/ 93 w 277"/>
                <a:gd name="T117" fmla="*/ 361 h 397"/>
                <a:gd name="T118" fmla="*/ 80 w 277"/>
                <a:gd name="T119" fmla="*/ 366 h 397"/>
                <a:gd name="T120" fmla="*/ 78 w 277"/>
                <a:gd name="T121" fmla="*/ 337 h 397"/>
                <a:gd name="T122" fmla="*/ 65 w 277"/>
                <a:gd name="T123" fmla="*/ 311 h 397"/>
                <a:gd name="T124" fmla="*/ 10 w 277"/>
                <a:gd name="T125" fmla="*/ 29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397">
                  <a:moveTo>
                    <a:pt x="0" y="280"/>
                  </a:moveTo>
                  <a:lnTo>
                    <a:pt x="0" y="280"/>
                  </a:lnTo>
                  <a:lnTo>
                    <a:pt x="2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0" y="270"/>
                  </a:lnTo>
                  <a:lnTo>
                    <a:pt x="13" y="270"/>
                  </a:lnTo>
                  <a:lnTo>
                    <a:pt x="15" y="270"/>
                  </a:lnTo>
                  <a:lnTo>
                    <a:pt x="15" y="270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5"/>
                  </a:lnTo>
                  <a:lnTo>
                    <a:pt x="15" y="265"/>
                  </a:lnTo>
                  <a:lnTo>
                    <a:pt x="15" y="262"/>
                  </a:lnTo>
                  <a:lnTo>
                    <a:pt x="13" y="262"/>
                  </a:lnTo>
                  <a:lnTo>
                    <a:pt x="13" y="262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3" y="260"/>
                  </a:lnTo>
                  <a:lnTo>
                    <a:pt x="15" y="260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4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31" y="249"/>
                  </a:lnTo>
                  <a:lnTo>
                    <a:pt x="28" y="249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28" y="247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1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7"/>
                  </a:lnTo>
                  <a:lnTo>
                    <a:pt x="36" y="244"/>
                  </a:lnTo>
                  <a:lnTo>
                    <a:pt x="39" y="244"/>
                  </a:lnTo>
                  <a:lnTo>
                    <a:pt x="39" y="241"/>
                  </a:lnTo>
                  <a:lnTo>
                    <a:pt x="39" y="241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9" y="239"/>
                  </a:lnTo>
                  <a:lnTo>
                    <a:pt x="36" y="236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4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23"/>
                  </a:lnTo>
                  <a:lnTo>
                    <a:pt x="31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3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6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1" y="218"/>
                  </a:lnTo>
                  <a:lnTo>
                    <a:pt x="23" y="218"/>
                  </a:lnTo>
                  <a:lnTo>
                    <a:pt x="23" y="221"/>
                  </a:lnTo>
                  <a:lnTo>
                    <a:pt x="23" y="218"/>
                  </a:lnTo>
                  <a:lnTo>
                    <a:pt x="23" y="218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26" y="216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08"/>
                  </a:lnTo>
                  <a:lnTo>
                    <a:pt x="23" y="208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6" y="205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6" y="203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8" y="197"/>
                  </a:lnTo>
                  <a:lnTo>
                    <a:pt x="28" y="19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4" y="195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39" y="184"/>
                  </a:lnTo>
                  <a:lnTo>
                    <a:pt x="41" y="184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79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39" y="174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9" y="143"/>
                  </a:lnTo>
                  <a:lnTo>
                    <a:pt x="52" y="140"/>
                  </a:lnTo>
                  <a:lnTo>
                    <a:pt x="54" y="140"/>
                  </a:lnTo>
                  <a:lnTo>
                    <a:pt x="54" y="138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2" y="135"/>
                  </a:lnTo>
                  <a:lnTo>
                    <a:pt x="72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7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78" y="122"/>
                  </a:lnTo>
                  <a:lnTo>
                    <a:pt x="78" y="122"/>
                  </a:lnTo>
                  <a:lnTo>
                    <a:pt x="80" y="122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2"/>
                  </a:lnTo>
                  <a:lnTo>
                    <a:pt x="85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5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6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4"/>
                  </a:lnTo>
                  <a:lnTo>
                    <a:pt x="103" y="91"/>
                  </a:lnTo>
                  <a:lnTo>
                    <a:pt x="106" y="89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1" y="86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78"/>
                  </a:lnTo>
                  <a:lnTo>
                    <a:pt x="111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3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6" y="70"/>
                  </a:lnTo>
                  <a:lnTo>
                    <a:pt x="106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6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93" y="60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0"/>
                  </a:lnTo>
                  <a:lnTo>
                    <a:pt x="103" y="50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9"/>
                  </a:lnTo>
                  <a:lnTo>
                    <a:pt x="129" y="37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9" y="29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7" y="26"/>
                  </a:lnTo>
                  <a:lnTo>
                    <a:pt x="137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7" y="29"/>
                  </a:lnTo>
                  <a:lnTo>
                    <a:pt x="147" y="26"/>
                  </a:lnTo>
                  <a:lnTo>
                    <a:pt x="147" y="29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4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3" y="37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7"/>
                  </a:lnTo>
                  <a:lnTo>
                    <a:pt x="158" y="37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6" y="16"/>
                  </a:lnTo>
                  <a:lnTo>
                    <a:pt x="178" y="13"/>
                  </a:lnTo>
                  <a:lnTo>
                    <a:pt x="178" y="11"/>
                  </a:lnTo>
                  <a:lnTo>
                    <a:pt x="176" y="11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6" y="6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6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3"/>
                  </a:lnTo>
                  <a:lnTo>
                    <a:pt x="191" y="6"/>
                  </a:lnTo>
                  <a:lnTo>
                    <a:pt x="194" y="6"/>
                  </a:lnTo>
                  <a:lnTo>
                    <a:pt x="194" y="6"/>
                  </a:lnTo>
                  <a:lnTo>
                    <a:pt x="197" y="6"/>
                  </a:lnTo>
                  <a:lnTo>
                    <a:pt x="197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2" y="6"/>
                  </a:lnTo>
                  <a:lnTo>
                    <a:pt x="199" y="6"/>
                  </a:lnTo>
                  <a:lnTo>
                    <a:pt x="202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10" y="8"/>
                  </a:lnTo>
                  <a:lnTo>
                    <a:pt x="210" y="11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5" y="13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0" y="16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21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4" y="24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7"/>
                  </a:lnTo>
                  <a:lnTo>
                    <a:pt x="207" y="37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7" y="44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7"/>
                  </a:lnTo>
                  <a:lnTo>
                    <a:pt x="204" y="44"/>
                  </a:lnTo>
                  <a:lnTo>
                    <a:pt x="202" y="47"/>
                  </a:lnTo>
                  <a:lnTo>
                    <a:pt x="202" y="47"/>
                  </a:lnTo>
                  <a:lnTo>
                    <a:pt x="199" y="50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199" y="52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199" y="55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4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7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7" y="63"/>
                  </a:lnTo>
                  <a:lnTo>
                    <a:pt x="217" y="63"/>
                  </a:lnTo>
                  <a:lnTo>
                    <a:pt x="220" y="63"/>
                  </a:lnTo>
                  <a:lnTo>
                    <a:pt x="22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60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60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0" y="57"/>
                  </a:lnTo>
                  <a:lnTo>
                    <a:pt x="217" y="55"/>
                  </a:lnTo>
                  <a:lnTo>
                    <a:pt x="217" y="55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2" y="50"/>
                  </a:lnTo>
                  <a:lnTo>
                    <a:pt x="222" y="50"/>
                  </a:lnTo>
                  <a:lnTo>
                    <a:pt x="225" y="50"/>
                  </a:lnTo>
                  <a:lnTo>
                    <a:pt x="225" y="47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5" y="47"/>
                  </a:lnTo>
                  <a:lnTo>
                    <a:pt x="225" y="44"/>
                  </a:lnTo>
                  <a:lnTo>
                    <a:pt x="225" y="44"/>
                  </a:lnTo>
                  <a:lnTo>
                    <a:pt x="228" y="44"/>
                  </a:lnTo>
                  <a:lnTo>
                    <a:pt x="230" y="44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3" y="47"/>
                  </a:lnTo>
                  <a:lnTo>
                    <a:pt x="230" y="47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2"/>
                  </a:lnTo>
                  <a:lnTo>
                    <a:pt x="235" y="52"/>
                  </a:lnTo>
                  <a:lnTo>
                    <a:pt x="233" y="50"/>
                  </a:lnTo>
                  <a:lnTo>
                    <a:pt x="235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3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4"/>
                  </a:lnTo>
                  <a:lnTo>
                    <a:pt x="238" y="42"/>
                  </a:lnTo>
                  <a:lnTo>
                    <a:pt x="238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50"/>
                  </a:lnTo>
                  <a:lnTo>
                    <a:pt x="241" y="52"/>
                  </a:lnTo>
                  <a:lnTo>
                    <a:pt x="241" y="52"/>
                  </a:lnTo>
                  <a:lnTo>
                    <a:pt x="243" y="55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6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48" y="65"/>
                  </a:lnTo>
                  <a:lnTo>
                    <a:pt x="251" y="65"/>
                  </a:lnTo>
                  <a:lnTo>
                    <a:pt x="254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6" y="70"/>
                  </a:lnTo>
                  <a:lnTo>
                    <a:pt x="256" y="73"/>
                  </a:lnTo>
                  <a:lnTo>
                    <a:pt x="256" y="73"/>
                  </a:lnTo>
                  <a:lnTo>
                    <a:pt x="259" y="73"/>
                  </a:lnTo>
                  <a:lnTo>
                    <a:pt x="256" y="73"/>
                  </a:lnTo>
                  <a:lnTo>
                    <a:pt x="256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4" y="78"/>
                  </a:lnTo>
                  <a:lnTo>
                    <a:pt x="266" y="81"/>
                  </a:lnTo>
                  <a:lnTo>
                    <a:pt x="266" y="81"/>
                  </a:lnTo>
                  <a:lnTo>
                    <a:pt x="269" y="78"/>
                  </a:lnTo>
                  <a:lnTo>
                    <a:pt x="269" y="78"/>
                  </a:lnTo>
                  <a:lnTo>
                    <a:pt x="269" y="81"/>
                  </a:lnTo>
                  <a:lnTo>
                    <a:pt x="269" y="81"/>
                  </a:lnTo>
                  <a:lnTo>
                    <a:pt x="272" y="81"/>
                  </a:lnTo>
                  <a:lnTo>
                    <a:pt x="272" y="81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4" y="83"/>
                  </a:lnTo>
                  <a:lnTo>
                    <a:pt x="277" y="83"/>
                  </a:lnTo>
                  <a:lnTo>
                    <a:pt x="277" y="86"/>
                  </a:lnTo>
                  <a:lnTo>
                    <a:pt x="274" y="86"/>
                  </a:lnTo>
                  <a:lnTo>
                    <a:pt x="274" y="89"/>
                  </a:lnTo>
                  <a:lnTo>
                    <a:pt x="272" y="89"/>
                  </a:lnTo>
                  <a:lnTo>
                    <a:pt x="272" y="91"/>
                  </a:lnTo>
                  <a:lnTo>
                    <a:pt x="272" y="91"/>
                  </a:lnTo>
                  <a:lnTo>
                    <a:pt x="274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4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4" y="96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69" y="94"/>
                  </a:lnTo>
                  <a:lnTo>
                    <a:pt x="269" y="94"/>
                  </a:lnTo>
                  <a:lnTo>
                    <a:pt x="272" y="91"/>
                  </a:lnTo>
                  <a:lnTo>
                    <a:pt x="269" y="91"/>
                  </a:lnTo>
                  <a:lnTo>
                    <a:pt x="266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9" y="96"/>
                  </a:lnTo>
                  <a:lnTo>
                    <a:pt x="266" y="96"/>
                  </a:lnTo>
                  <a:lnTo>
                    <a:pt x="266" y="99"/>
                  </a:lnTo>
                  <a:lnTo>
                    <a:pt x="266" y="99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1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6" y="104"/>
                  </a:lnTo>
                  <a:lnTo>
                    <a:pt x="264" y="107"/>
                  </a:lnTo>
                  <a:lnTo>
                    <a:pt x="266" y="107"/>
                  </a:lnTo>
                  <a:lnTo>
                    <a:pt x="269" y="107"/>
                  </a:lnTo>
                  <a:lnTo>
                    <a:pt x="272" y="109"/>
                  </a:lnTo>
                  <a:lnTo>
                    <a:pt x="274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72" y="114"/>
                  </a:lnTo>
                  <a:lnTo>
                    <a:pt x="269" y="117"/>
                  </a:lnTo>
                  <a:lnTo>
                    <a:pt x="266" y="117"/>
                  </a:lnTo>
                  <a:lnTo>
                    <a:pt x="264" y="117"/>
                  </a:lnTo>
                  <a:lnTo>
                    <a:pt x="264" y="117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61" y="114"/>
                  </a:lnTo>
                  <a:lnTo>
                    <a:pt x="259" y="114"/>
                  </a:lnTo>
                  <a:lnTo>
                    <a:pt x="259" y="114"/>
                  </a:lnTo>
                  <a:lnTo>
                    <a:pt x="256" y="114"/>
                  </a:lnTo>
                  <a:lnTo>
                    <a:pt x="256" y="114"/>
                  </a:lnTo>
                  <a:lnTo>
                    <a:pt x="254" y="114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4" y="122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4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51" y="127"/>
                  </a:lnTo>
                  <a:lnTo>
                    <a:pt x="248" y="127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3" y="125"/>
                  </a:lnTo>
                  <a:lnTo>
                    <a:pt x="246" y="127"/>
                  </a:lnTo>
                  <a:lnTo>
                    <a:pt x="243" y="130"/>
                  </a:lnTo>
                  <a:lnTo>
                    <a:pt x="246" y="130"/>
                  </a:lnTo>
                  <a:lnTo>
                    <a:pt x="246" y="130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6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6" y="130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48" y="133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51" y="130"/>
                  </a:lnTo>
                  <a:lnTo>
                    <a:pt x="251" y="130"/>
                  </a:lnTo>
                  <a:lnTo>
                    <a:pt x="254" y="133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8"/>
                  </a:lnTo>
                  <a:lnTo>
                    <a:pt x="254" y="140"/>
                  </a:lnTo>
                  <a:lnTo>
                    <a:pt x="254" y="140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3"/>
                  </a:lnTo>
                  <a:lnTo>
                    <a:pt x="254" y="146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6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9"/>
                  </a:lnTo>
                  <a:lnTo>
                    <a:pt x="243" y="159"/>
                  </a:lnTo>
                  <a:lnTo>
                    <a:pt x="243" y="159"/>
                  </a:lnTo>
                  <a:lnTo>
                    <a:pt x="243" y="161"/>
                  </a:lnTo>
                  <a:lnTo>
                    <a:pt x="243" y="164"/>
                  </a:lnTo>
                  <a:lnTo>
                    <a:pt x="241" y="164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4"/>
                  </a:lnTo>
                  <a:lnTo>
                    <a:pt x="238" y="174"/>
                  </a:lnTo>
                  <a:lnTo>
                    <a:pt x="238" y="177"/>
                  </a:lnTo>
                  <a:lnTo>
                    <a:pt x="238" y="177"/>
                  </a:lnTo>
                  <a:lnTo>
                    <a:pt x="238" y="179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6" y="182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9"/>
                  </a:lnTo>
                  <a:lnTo>
                    <a:pt x="246" y="177"/>
                  </a:lnTo>
                  <a:lnTo>
                    <a:pt x="246" y="177"/>
                  </a:lnTo>
                  <a:lnTo>
                    <a:pt x="243" y="177"/>
                  </a:lnTo>
                  <a:lnTo>
                    <a:pt x="243" y="177"/>
                  </a:lnTo>
                  <a:lnTo>
                    <a:pt x="243" y="174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8" y="174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7"/>
                  </a:lnTo>
                  <a:lnTo>
                    <a:pt x="259" y="177"/>
                  </a:lnTo>
                  <a:lnTo>
                    <a:pt x="259" y="179"/>
                  </a:lnTo>
                  <a:lnTo>
                    <a:pt x="259" y="182"/>
                  </a:lnTo>
                  <a:lnTo>
                    <a:pt x="259" y="182"/>
                  </a:lnTo>
                  <a:lnTo>
                    <a:pt x="259" y="184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7"/>
                  </a:lnTo>
                  <a:lnTo>
                    <a:pt x="256" y="190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2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7"/>
                  </a:lnTo>
                  <a:lnTo>
                    <a:pt x="256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4" y="200"/>
                  </a:lnTo>
                  <a:lnTo>
                    <a:pt x="254" y="203"/>
                  </a:lnTo>
                  <a:lnTo>
                    <a:pt x="254" y="205"/>
                  </a:lnTo>
                  <a:lnTo>
                    <a:pt x="254" y="208"/>
                  </a:lnTo>
                  <a:lnTo>
                    <a:pt x="251" y="210"/>
                  </a:lnTo>
                  <a:lnTo>
                    <a:pt x="251" y="210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6" y="213"/>
                  </a:lnTo>
                  <a:lnTo>
                    <a:pt x="246" y="213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6" y="216"/>
                  </a:lnTo>
                  <a:lnTo>
                    <a:pt x="243" y="216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41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21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0" y="221"/>
                  </a:lnTo>
                  <a:lnTo>
                    <a:pt x="228" y="218"/>
                  </a:lnTo>
                  <a:lnTo>
                    <a:pt x="228" y="218"/>
                  </a:lnTo>
                  <a:lnTo>
                    <a:pt x="228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2" y="221"/>
                  </a:lnTo>
                  <a:lnTo>
                    <a:pt x="222" y="221"/>
                  </a:lnTo>
                  <a:lnTo>
                    <a:pt x="222" y="223"/>
                  </a:lnTo>
                  <a:lnTo>
                    <a:pt x="222" y="226"/>
                  </a:lnTo>
                  <a:lnTo>
                    <a:pt x="220" y="226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29"/>
                  </a:lnTo>
                  <a:lnTo>
                    <a:pt x="220" y="231"/>
                  </a:lnTo>
                  <a:lnTo>
                    <a:pt x="222" y="231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6"/>
                  </a:lnTo>
                  <a:lnTo>
                    <a:pt x="220" y="239"/>
                  </a:lnTo>
                  <a:lnTo>
                    <a:pt x="220" y="239"/>
                  </a:lnTo>
                  <a:lnTo>
                    <a:pt x="217" y="241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0" y="249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4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202" y="249"/>
                  </a:lnTo>
                  <a:lnTo>
                    <a:pt x="199" y="249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4" y="249"/>
                  </a:lnTo>
                  <a:lnTo>
                    <a:pt x="194" y="247"/>
                  </a:lnTo>
                  <a:lnTo>
                    <a:pt x="194" y="249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197" y="265"/>
                  </a:lnTo>
                  <a:lnTo>
                    <a:pt x="194" y="267"/>
                  </a:lnTo>
                  <a:lnTo>
                    <a:pt x="194" y="267"/>
                  </a:lnTo>
                  <a:lnTo>
                    <a:pt x="194" y="270"/>
                  </a:lnTo>
                  <a:lnTo>
                    <a:pt x="197" y="273"/>
                  </a:lnTo>
                  <a:lnTo>
                    <a:pt x="194" y="273"/>
                  </a:lnTo>
                  <a:lnTo>
                    <a:pt x="194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1" y="273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6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1" y="267"/>
                  </a:lnTo>
                  <a:lnTo>
                    <a:pt x="171" y="267"/>
                  </a:lnTo>
                  <a:lnTo>
                    <a:pt x="168" y="267"/>
                  </a:lnTo>
                  <a:lnTo>
                    <a:pt x="166" y="267"/>
                  </a:lnTo>
                  <a:lnTo>
                    <a:pt x="166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3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60" y="265"/>
                  </a:lnTo>
                  <a:lnTo>
                    <a:pt x="158" y="265"/>
                  </a:lnTo>
                  <a:lnTo>
                    <a:pt x="158" y="267"/>
                  </a:lnTo>
                  <a:lnTo>
                    <a:pt x="158" y="267"/>
                  </a:lnTo>
                  <a:lnTo>
                    <a:pt x="158" y="270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3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7" y="270"/>
                  </a:lnTo>
                  <a:lnTo>
                    <a:pt x="145" y="270"/>
                  </a:lnTo>
                  <a:lnTo>
                    <a:pt x="142" y="270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7" y="278"/>
                  </a:lnTo>
                  <a:lnTo>
                    <a:pt x="134" y="280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40" y="28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2" y="286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91"/>
                  </a:lnTo>
                  <a:lnTo>
                    <a:pt x="142" y="291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2" y="293"/>
                  </a:lnTo>
                  <a:lnTo>
                    <a:pt x="140" y="291"/>
                  </a:lnTo>
                  <a:lnTo>
                    <a:pt x="140" y="291"/>
                  </a:lnTo>
                  <a:lnTo>
                    <a:pt x="140" y="293"/>
                  </a:lnTo>
                  <a:lnTo>
                    <a:pt x="140" y="293"/>
                  </a:lnTo>
                  <a:lnTo>
                    <a:pt x="140" y="296"/>
                  </a:lnTo>
                  <a:lnTo>
                    <a:pt x="140" y="299"/>
                  </a:lnTo>
                  <a:lnTo>
                    <a:pt x="140" y="299"/>
                  </a:lnTo>
                  <a:lnTo>
                    <a:pt x="140" y="301"/>
                  </a:lnTo>
                  <a:lnTo>
                    <a:pt x="140" y="301"/>
                  </a:lnTo>
                  <a:lnTo>
                    <a:pt x="140" y="304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6"/>
                  </a:lnTo>
                  <a:lnTo>
                    <a:pt x="140" y="309"/>
                  </a:lnTo>
                  <a:lnTo>
                    <a:pt x="142" y="311"/>
                  </a:lnTo>
                  <a:lnTo>
                    <a:pt x="142" y="314"/>
                  </a:lnTo>
                  <a:lnTo>
                    <a:pt x="145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2" y="319"/>
                  </a:lnTo>
                  <a:lnTo>
                    <a:pt x="142" y="319"/>
                  </a:lnTo>
                  <a:lnTo>
                    <a:pt x="142" y="317"/>
                  </a:lnTo>
                  <a:lnTo>
                    <a:pt x="142" y="317"/>
                  </a:lnTo>
                  <a:lnTo>
                    <a:pt x="145" y="317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7" y="322"/>
                  </a:lnTo>
                  <a:lnTo>
                    <a:pt x="147" y="324"/>
                  </a:lnTo>
                  <a:lnTo>
                    <a:pt x="147" y="327"/>
                  </a:lnTo>
                  <a:lnTo>
                    <a:pt x="147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0" y="327"/>
                  </a:lnTo>
                  <a:lnTo>
                    <a:pt x="153" y="327"/>
                  </a:lnTo>
                  <a:lnTo>
                    <a:pt x="153" y="327"/>
                  </a:lnTo>
                  <a:lnTo>
                    <a:pt x="153" y="330"/>
                  </a:lnTo>
                  <a:lnTo>
                    <a:pt x="153" y="330"/>
                  </a:lnTo>
                  <a:lnTo>
                    <a:pt x="150" y="330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0" y="332"/>
                  </a:lnTo>
                  <a:lnTo>
                    <a:pt x="153" y="335"/>
                  </a:lnTo>
                  <a:lnTo>
                    <a:pt x="153" y="335"/>
                  </a:lnTo>
                  <a:lnTo>
                    <a:pt x="153" y="337"/>
                  </a:lnTo>
                  <a:lnTo>
                    <a:pt x="153" y="340"/>
                  </a:lnTo>
                  <a:lnTo>
                    <a:pt x="153" y="340"/>
                  </a:lnTo>
                  <a:lnTo>
                    <a:pt x="150" y="340"/>
                  </a:lnTo>
                  <a:lnTo>
                    <a:pt x="153" y="343"/>
                  </a:lnTo>
                  <a:lnTo>
                    <a:pt x="153" y="343"/>
                  </a:lnTo>
                  <a:lnTo>
                    <a:pt x="150" y="343"/>
                  </a:lnTo>
                  <a:lnTo>
                    <a:pt x="150" y="343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8"/>
                  </a:lnTo>
                  <a:lnTo>
                    <a:pt x="147" y="350"/>
                  </a:lnTo>
                  <a:lnTo>
                    <a:pt x="147" y="350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7" y="356"/>
                  </a:lnTo>
                  <a:lnTo>
                    <a:pt x="145" y="358"/>
                  </a:lnTo>
                  <a:lnTo>
                    <a:pt x="145" y="361"/>
                  </a:lnTo>
                  <a:lnTo>
                    <a:pt x="145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1"/>
                  </a:lnTo>
                  <a:lnTo>
                    <a:pt x="147" y="363"/>
                  </a:lnTo>
                  <a:lnTo>
                    <a:pt x="147" y="363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69"/>
                  </a:lnTo>
                  <a:lnTo>
                    <a:pt x="147" y="371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3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4"/>
                  </a:lnTo>
                  <a:lnTo>
                    <a:pt x="150" y="374"/>
                  </a:lnTo>
                  <a:lnTo>
                    <a:pt x="147" y="374"/>
                  </a:lnTo>
                  <a:lnTo>
                    <a:pt x="147" y="374"/>
                  </a:lnTo>
                  <a:lnTo>
                    <a:pt x="145" y="374"/>
                  </a:lnTo>
                  <a:lnTo>
                    <a:pt x="145" y="374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2" y="379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4" y="376"/>
                  </a:lnTo>
                  <a:lnTo>
                    <a:pt x="134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79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2" y="387"/>
                  </a:lnTo>
                  <a:lnTo>
                    <a:pt x="129" y="387"/>
                  </a:lnTo>
                  <a:lnTo>
                    <a:pt x="129" y="389"/>
                  </a:lnTo>
                  <a:lnTo>
                    <a:pt x="129" y="389"/>
                  </a:lnTo>
                  <a:lnTo>
                    <a:pt x="127" y="389"/>
                  </a:lnTo>
                  <a:lnTo>
                    <a:pt x="127" y="389"/>
                  </a:lnTo>
                  <a:lnTo>
                    <a:pt x="127" y="392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22" y="397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7"/>
                  </a:lnTo>
                  <a:lnTo>
                    <a:pt x="119" y="397"/>
                  </a:lnTo>
                  <a:lnTo>
                    <a:pt x="116" y="397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89"/>
                  </a:lnTo>
                  <a:lnTo>
                    <a:pt x="119" y="389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4" y="381"/>
                  </a:lnTo>
                  <a:lnTo>
                    <a:pt x="124" y="384"/>
                  </a:lnTo>
                  <a:lnTo>
                    <a:pt x="122" y="384"/>
                  </a:lnTo>
                  <a:lnTo>
                    <a:pt x="124" y="384"/>
                  </a:lnTo>
                  <a:lnTo>
                    <a:pt x="124" y="384"/>
                  </a:lnTo>
                  <a:lnTo>
                    <a:pt x="127" y="381"/>
                  </a:lnTo>
                  <a:lnTo>
                    <a:pt x="127" y="381"/>
                  </a:lnTo>
                  <a:lnTo>
                    <a:pt x="127" y="379"/>
                  </a:lnTo>
                  <a:lnTo>
                    <a:pt x="124" y="376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19" y="381"/>
                  </a:lnTo>
                  <a:lnTo>
                    <a:pt x="119" y="379"/>
                  </a:lnTo>
                  <a:lnTo>
                    <a:pt x="116" y="379"/>
                  </a:lnTo>
                  <a:lnTo>
                    <a:pt x="116" y="376"/>
                  </a:lnTo>
                  <a:lnTo>
                    <a:pt x="119" y="374"/>
                  </a:lnTo>
                  <a:lnTo>
                    <a:pt x="116" y="374"/>
                  </a:lnTo>
                  <a:lnTo>
                    <a:pt x="116" y="374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4" y="376"/>
                  </a:lnTo>
                  <a:lnTo>
                    <a:pt x="111" y="374"/>
                  </a:lnTo>
                  <a:lnTo>
                    <a:pt x="109" y="374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06" y="374"/>
                  </a:lnTo>
                  <a:lnTo>
                    <a:pt x="106" y="371"/>
                  </a:lnTo>
                  <a:lnTo>
                    <a:pt x="103" y="369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3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1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61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1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8"/>
                  </a:lnTo>
                  <a:lnTo>
                    <a:pt x="103" y="356"/>
                  </a:lnTo>
                  <a:lnTo>
                    <a:pt x="101" y="356"/>
                  </a:lnTo>
                  <a:lnTo>
                    <a:pt x="101" y="356"/>
                  </a:lnTo>
                  <a:lnTo>
                    <a:pt x="98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3"/>
                  </a:lnTo>
                  <a:lnTo>
                    <a:pt x="93" y="363"/>
                  </a:lnTo>
                  <a:lnTo>
                    <a:pt x="96" y="366"/>
                  </a:lnTo>
                  <a:lnTo>
                    <a:pt x="96" y="369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0" y="374"/>
                  </a:lnTo>
                  <a:lnTo>
                    <a:pt x="90" y="376"/>
                  </a:lnTo>
                  <a:lnTo>
                    <a:pt x="90" y="376"/>
                  </a:lnTo>
                  <a:lnTo>
                    <a:pt x="88" y="374"/>
                  </a:lnTo>
                  <a:lnTo>
                    <a:pt x="88" y="374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3"/>
                  </a:lnTo>
                  <a:lnTo>
                    <a:pt x="80" y="363"/>
                  </a:lnTo>
                  <a:lnTo>
                    <a:pt x="78" y="363"/>
                  </a:lnTo>
                  <a:lnTo>
                    <a:pt x="78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5" y="363"/>
                  </a:lnTo>
                  <a:lnTo>
                    <a:pt x="72" y="363"/>
                  </a:lnTo>
                  <a:lnTo>
                    <a:pt x="72" y="363"/>
                  </a:lnTo>
                  <a:lnTo>
                    <a:pt x="72" y="361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6"/>
                  </a:lnTo>
                  <a:lnTo>
                    <a:pt x="67" y="353"/>
                  </a:lnTo>
                  <a:lnTo>
                    <a:pt x="67" y="353"/>
                  </a:lnTo>
                  <a:lnTo>
                    <a:pt x="67" y="350"/>
                  </a:lnTo>
                  <a:lnTo>
                    <a:pt x="65" y="348"/>
                  </a:lnTo>
                  <a:lnTo>
                    <a:pt x="67" y="345"/>
                  </a:lnTo>
                  <a:lnTo>
                    <a:pt x="67" y="343"/>
                  </a:lnTo>
                  <a:lnTo>
                    <a:pt x="70" y="343"/>
                  </a:lnTo>
                  <a:lnTo>
                    <a:pt x="72" y="340"/>
                  </a:lnTo>
                  <a:lnTo>
                    <a:pt x="75" y="337"/>
                  </a:lnTo>
                  <a:lnTo>
                    <a:pt x="78" y="337"/>
                  </a:lnTo>
                  <a:lnTo>
                    <a:pt x="78" y="335"/>
                  </a:lnTo>
                  <a:lnTo>
                    <a:pt x="78" y="335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78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5" y="332"/>
                  </a:lnTo>
                  <a:lnTo>
                    <a:pt x="72" y="332"/>
                  </a:lnTo>
                  <a:lnTo>
                    <a:pt x="72" y="330"/>
                  </a:lnTo>
                  <a:lnTo>
                    <a:pt x="70" y="327"/>
                  </a:lnTo>
                  <a:lnTo>
                    <a:pt x="70" y="322"/>
                  </a:lnTo>
                  <a:lnTo>
                    <a:pt x="70" y="322"/>
                  </a:lnTo>
                  <a:lnTo>
                    <a:pt x="67" y="319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67" y="317"/>
                  </a:lnTo>
                  <a:lnTo>
                    <a:pt x="67" y="317"/>
                  </a:lnTo>
                  <a:lnTo>
                    <a:pt x="67" y="314"/>
                  </a:lnTo>
                  <a:lnTo>
                    <a:pt x="65" y="314"/>
                  </a:lnTo>
                  <a:lnTo>
                    <a:pt x="65" y="314"/>
                  </a:lnTo>
                  <a:lnTo>
                    <a:pt x="65" y="311"/>
                  </a:lnTo>
                  <a:lnTo>
                    <a:pt x="65" y="311"/>
                  </a:lnTo>
                  <a:lnTo>
                    <a:pt x="65" y="309"/>
                  </a:lnTo>
                  <a:lnTo>
                    <a:pt x="65" y="306"/>
                  </a:lnTo>
                  <a:lnTo>
                    <a:pt x="65" y="304"/>
                  </a:lnTo>
                  <a:lnTo>
                    <a:pt x="65" y="301"/>
                  </a:lnTo>
                  <a:lnTo>
                    <a:pt x="62" y="296"/>
                  </a:lnTo>
                  <a:lnTo>
                    <a:pt x="57" y="291"/>
                  </a:lnTo>
                  <a:lnTo>
                    <a:pt x="54" y="288"/>
                  </a:lnTo>
                  <a:lnTo>
                    <a:pt x="52" y="288"/>
                  </a:lnTo>
                  <a:lnTo>
                    <a:pt x="49" y="286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1" y="286"/>
                  </a:lnTo>
                  <a:lnTo>
                    <a:pt x="36" y="288"/>
                  </a:lnTo>
                  <a:lnTo>
                    <a:pt x="34" y="291"/>
                  </a:lnTo>
                  <a:lnTo>
                    <a:pt x="31" y="291"/>
                  </a:lnTo>
                  <a:lnTo>
                    <a:pt x="28" y="293"/>
                  </a:lnTo>
                  <a:lnTo>
                    <a:pt x="26" y="293"/>
                  </a:lnTo>
                  <a:lnTo>
                    <a:pt x="23" y="296"/>
                  </a:lnTo>
                  <a:lnTo>
                    <a:pt x="21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3" y="296"/>
                  </a:lnTo>
                  <a:lnTo>
                    <a:pt x="10" y="293"/>
                  </a:lnTo>
                  <a:lnTo>
                    <a:pt x="10" y="291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5" y="288"/>
                  </a:lnTo>
                  <a:lnTo>
                    <a:pt x="5" y="286"/>
                  </a:lnTo>
                  <a:lnTo>
                    <a:pt x="2" y="283"/>
                  </a:lnTo>
                  <a:lnTo>
                    <a:pt x="0" y="28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79" name="Freeform 119"/>
            <p:cNvSpPr>
              <a:spLocks/>
            </p:cNvSpPr>
            <p:nvPr/>
          </p:nvSpPr>
          <p:spPr bwMode="auto">
            <a:xfrm>
              <a:off x="782" y="3061"/>
              <a:ext cx="267" cy="345"/>
            </a:xfrm>
            <a:custGeom>
              <a:avLst/>
              <a:gdLst>
                <a:gd name="T0" fmla="*/ 3 w 267"/>
                <a:gd name="T1" fmla="*/ 140 h 345"/>
                <a:gd name="T2" fmla="*/ 8 w 267"/>
                <a:gd name="T3" fmla="*/ 125 h 345"/>
                <a:gd name="T4" fmla="*/ 21 w 267"/>
                <a:gd name="T5" fmla="*/ 112 h 345"/>
                <a:gd name="T6" fmla="*/ 34 w 267"/>
                <a:gd name="T7" fmla="*/ 107 h 345"/>
                <a:gd name="T8" fmla="*/ 36 w 267"/>
                <a:gd name="T9" fmla="*/ 99 h 345"/>
                <a:gd name="T10" fmla="*/ 54 w 267"/>
                <a:gd name="T11" fmla="*/ 96 h 345"/>
                <a:gd name="T12" fmla="*/ 65 w 267"/>
                <a:gd name="T13" fmla="*/ 104 h 345"/>
                <a:gd name="T14" fmla="*/ 73 w 267"/>
                <a:gd name="T15" fmla="*/ 86 h 345"/>
                <a:gd name="T16" fmla="*/ 80 w 267"/>
                <a:gd name="T17" fmla="*/ 83 h 345"/>
                <a:gd name="T18" fmla="*/ 88 w 267"/>
                <a:gd name="T19" fmla="*/ 70 h 345"/>
                <a:gd name="T20" fmla="*/ 101 w 267"/>
                <a:gd name="T21" fmla="*/ 60 h 345"/>
                <a:gd name="T22" fmla="*/ 119 w 267"/>
                <a:gd name="T23" fmla="*/ 55 h 345"/>
                <a:gd name="T24" fmla="*/ 137 w 267"/>
                <a:gd name="T25" fmla="*/ 52 h 345"/>
                <a:gd name="T26" fmla="*/ 145 w 267"/>
                <a:gd name="T27" fmla="*/ 39 h 345"/>
                <a:gd name="T28" fmla="*/ 161 w 267"/>
                <a:gd name="T29" fmla="*/ 34 h 345"/>
                <a:gd name="T30" fmla="*/ 173 w 267"/>
                <a:gd name="T31" fmla="*/ 26 h 345"/>
                <a:gd name="T32" fmla="*/ 181 w 267"/>
                <a:gd name="T33" fmla="*/ 16 h 345"/>
                <a:gd name="T34" fmla="*/ 184 w 267"/>
                <a:gd name="T35" fmla="*/ 0 h 345"/>
                <a:gd name="T36" fmla="*/ 199 w 267"/>
                <a:gd name="T37" fmla="*/ 13 h 345"/>
                <a:gd name="T38" fmla="*/ 212 w 267"/>
                <a:gd name="T39" fmla="*/ 37 h 345"/>
                <a:gd name="T40" fmla="*/ 225 w 267"/>
                <a:gd name="T41" fmla="*/ 57 h 345"/>
                <a:gd name="T42" fmla="*/ 218 w 267"/>
                <a:gd name="T43" fmla="*/ 70 h 345"/>
                <a:gd name="T44" fmla="*/ 207 w 267"/>
                <a:gd name="T45" fmla="*/ 81 h 345"/>
                <a:gd name="T46" fmla="*/ 207 w 267"/>
                <a:gd name="T47" fmla="*/ 94 h 345"/>
                <a:gd name="T48" fmla="*/ 218 w 267"/>
                <a:gd name="T49" fmla="*/ 104 h 345"/>
                <a:gd name="T50" fmla="*/ 220 w 267"/>
                <a:gd name="T51" fmla="*/ 117 h 345"/>
                <a:gd name="T52" fmla="*/ 215 w 267"/>
                <a:gd name="T53" fmla="*/ 125 h 345"/>
                <a:gd name="T54" fmla="*/ 199 w 267"/>
                <a:gd name="T55" fmla="*/ 127 h 345"/>
                <a:gd name="T56" fmla="*/ 199 w 267"/>
                <a:gd name="T57" fmla="*/ 143 h 345"/>
                <a:gd name="T58" fmla="*/ 192 w 267"/>
                <a:gd name="T59" fmla="*/ 146 h 345"/>
                <a:gd name="T60" fmla="*/ 192 w 267"/>
                <a:gd name="T61" fmla="*/ 161 h 345"/>
                <a:gd name="T62" fmla="*/ 238 w 267"/>
                <a:gd name="T63" fmla="*/ 161 h 345"/>
                <a:gd name="T64" fmla="*/ 254 w 267"/>
                <a:gd name="T65" fmla="*/ 197 h 345"/>
                <a:gd name="T66" fmla="*/ 249 w 267"/>
                <a:gd name="T67" fmla="*/ 221 h 345"/>
                <a:gd name="T68" fmla="*/ 259 w 267"/>
                <a:gd name="T69" fmla="*/ 260 h 345"/>
                <a:gd name="T70" fmla="*/ 264 w 267"/>
                <a:gd name="T71" fmla="*/ 273 h 345"/>
                <a:gd name="T72" fmla="*/ 254 w 267"/>
                <a:gd name="T73" fmla="*/ 296 h 345"/>
                <a:gd name="T74" fmla="*/ 241 w 267"/>
                <a:gd name="T75" fmla="*/ 337 h 345"/>
                <a:gd name="T76" fmla="*/ 215 w 267"/>
                <a:gd name="T77" fmla="*/ 337 h 345"/>
                <a:gd name="T78" fmla="*/ 197 w 267"/>
                <a:gd name="T79" fmla="*/ 330 h 345"/>
                <a:gd name="T80" fmla="*/ 179 w 267"/>
                <a:gd name="T81" fmla="*/ 330 h 345"/>
                <a:gd name="T82" fmla="*/ 166 w 267"/>
                <a:gd name="T83" fmla="*/ 324 h 345"/>
                <a:gd name="T84" fmla="*/ 150 w 267"/>
                <a:gd name="T85" fmla="*/ 309 h 345"/>
                <a:gd name="T86" fmla="*/ 140 w 267"/>
                <a:gd name="T87" fmla="*/ 309 h 345"/>
                <a:gd name="T88" fmla="*/ 129 w 267"/>
                <a:gd name="T89" fmla="*/ 296 h 345"/>
                <a:gd name="T90" fmla="*/ 140 w 267"/>
                <a:gd name="T91" fmla="*/ 288 h 345"/>
                <a:gd name="T92" fmla="*/ 142 w 267"/>
                <a:gd name="T93" fmla="*/ 275 h 345"/>
                <a:gd name="T94" fmla="*/ 132 w 267"/>
                <a:gd name="T95" fmla="*/ 267 h 345"/>
                <a:gd name="T96" fmla="*/ 132 w 267"/>
                <a:gd name="T97" fmla="*/ 254 h 345"/>
                <a:gd name="T98" fmla="*/ 132 w 267"/>
                <a:gd name="T99" fmla="*/ 247 h 345"/>
                <a:gd name="T100" fmla="*/ 119 w 267"/>
                <a:gd name="T101" fmla="*/ 239 h 345"/>
                <a:gd name="T102" fmla="*/ 104 w 267"/>
                <a:gd name="T103" fmla="*/ 226 h 345"/>
                <a:gd name="T104" fmla="*/ 91 w 267"/>
                <a:gd name="T105" fmla="*/ 229 h 345"/>
                <a:gd name="T106" fmla="*/ 83 w 267"/>
                <a:gd name="T107" fmla="*/ 234 h 345"/>
                <a:gd name="T108" fmla="*/ 62 w 267"/>
                <a:gd name="T109" fmla="*/ 242 h 345"/>
                <a:gd name="T110" fmla="*/ 44 w 267"/>
                <a:gd name="T111" fmla="*/ 244 h 345"/>
                <a:gd name="T112" fmla="*/ 29 w 267"/>
                <a:gd name="T113" fmla="*/ 239 h 345"/>
                <a:gd name="T114" fmla="*/ 36 w 267"/>
                <a:gd name="T115" fmla="*/ 221 h 345"/>
                <a:gd name="T116" fmla="*/ 44 w 267"/>
                <a:gd name="T117" fmla="*/ 203 h 345"/>
                <a:gd name="T118" fmla="*/ 39 w 267"/>
                <a:gd name="T119" fmla="*/ 195 h 345"/>
                <a:gd name="T120" fmla="*/ 21 w 267"/>
                <a:gd name="T121" fmla="*/ 187 h 345"/>
                <a:gd name="T122" fmla="*/ 10 w 267"/>
                <a:gd name="T123" fmla="*/ 172 h 345"/>
                <a:gd name="T124" fmla="*/ 3 w 267"/>
                <a:gd name="T125" fmla="*/ 16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" h="345">
                  <a:moveTo>
                    <a:pt x="0" y="153"/>
                  </a:moveTo>
                  <a:lnTo>
                    <a:pt x="0" y="153"/>
                  </a:lnTo>
                  <a:lnTo>
                    <a:pt x="0" y="153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3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5" y="140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9" y="112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4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99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41" y="104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4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5" y="102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3" y="96"/>
                  </a:lnTo>
                  <a:lnTo>
                    <a:pt x="73" y="94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3" y="89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3" y="86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3" y="8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3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5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0"/>
                  </a:lnTo>
                  <a:lnTo>
                    <a:pt x="104" y="60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24" y="55"/>
                  </a:lnTo>
                  <a:lnTo>
                    <a:pt x="127" y="55"/>
                  </a:lnTo>
                  <a:lnTo>
                    <a:pt x="127" y="55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0" y="42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3" y="39"/>
                  </a:lnTo>
                  <a:lnTo>
                    <a:pt x="153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4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1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79" y="3"/>
                  </a:lnTo>
                  <a:lnTo>
                    <a:pt x="181" y="3"/>
                  </a:lnTo>
                  <a:lnTo>
                    <a:pt x="181" y="3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6"/>
                  </a:lnTo>
                  <a:lnTo>
                    <a:pt x="192" y="8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92" y="11"/>
                  </a:lnTo>
                  <a:lnTo>
                    <a:pt x="192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7" y="11"/>
                  </a:lnTo>
                  <a:lnTo>
                    <a:pt x="197" y="13"/>
                  </a:lnTo>
                  <a:lnTo>
                    <a:pt x="199" y="13"/>
                  </a:lnTo>
                  <a:lnTo>
                    <a:pt x="199" y="16"/>
                  </a:lnTo>
                  <a:lnTo>
                    <a:pt x="199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5" y="24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9"/>
                  </a:lnTo>
                  <a:lnTo>
                    <a:pt x="207" y="32"/>
                  </a:lnTo>
                  <a:lnTo>
                    <a:pt x="212" y="34"/>
                  </a:lnTo>
                  <a:lnTo>
                    <a:pt x="212" y="37"/>
                  </a:lnTo>
                  <a:lnTo>
                    <a:pt x="215" y="37"/>
                  </a:lnTo>
                  <a:lnTo>
                    <a:pt x="215" y="39"/>
                  </a:lnTo>
                  <a:lnTo>
                    <a:pt x="215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3" y="42"/>
                  </a:lnTo>
                  <a:lnTo>
                    <a:pt x="223" y="44"/>
                  </a:lnTo>
                  <a:lnTo>
                    <a:pt x="223" y="44"/>
                  </a:lnTo>
                  <a:lnTo>
                    <a:pt x="223" y="47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52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5" y="57"/>
                  </a:lnTo>
                  <a:lnTo>
                    <a:pt x="223" y="57"/>
                  </a:lnTo>
                  <a:lnTo>
                    <a:pt x="225" y="57"/>
                  </a:lnTo>
                  <a:lnTo>
                    <a:pt x="225" y="60"/>
                  </a:lnTo>
                  <a:lnTo>
                    <a:pt x="225" y="60"/>
                  </a:lnTo>
                  <a:lnTo>
                    <a:pt x="225" y="63"/>
                  </a:lnTo>
                  <a:lnTo>
                    <a:pt x="225" y="65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5" y="68"/>
                  </a:lnTo>
                  <a:lnTo>
                    <a:pt x="225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18" y="70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2" y="68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81"/>
                  </a:lnTo>
                  <a:lnTo>
                    <a:pt x="207" y="81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10" y="86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10" y="94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5" y="96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8" y="120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2" y="117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5"/>
                  </a:lnTo>
                  <a:lnTo>
                    <a:pt x="207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9" y="138"/>
                  </a:lnTo>
                  <a:lnTo>
                    <a:pt x="202" y="138"/>
                  </a:lnTo>
                  <a:lnTo>
                    <a:pt x="202" y="140"/>
                  </a:lnTo>
                  <a:lnTo>
                    <a:pt x="202" y="143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51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6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6" y="156"/>
                  </a:lnTo>
                  <a:lnTo>
                    <a:pt x="186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4"/>
                  </a:lnTo>
                  <a:lnTo>
                    <a:pt x="194" y="164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9"/>
                  </a:lnTo>
                  <a:lnTo>
                    <a:pt x="197" y="169"/>
                  </a:lnTo>
                  <a:lnTo>
                    <a:pt x="199" y="169"/>
                  </a:lnTo>
                  <a:lnTo>
                    <a:pt x="202" y="169"/>
                  </a:lnTo>
                  <a:lnTo>
                    <a:pt x="205" y="169"/>
                  </a:lnTo>
                  <a:lnTo>
                    <a:pt x="207" y="166"/>
                  </a:lnTo>
                  <a:lnTo>
                    <a:pt x="210" y="166"/>
                  </a:lnTo>
                  <a:lnTo>
                    <a:pt x="212" y="164"/>
                  </a:lnTo>
                  <a:lnTo>
                    <a:pt x="215" y="164"/>
                  </a:lnTo>
                  <a:lnTo>
                    <a:pt x="220" y="161"/>
                  </a:lnTo>
                  <a:lnTo>
                    <a:pt x="223" y="161"/>
                  </a:lnTo>
                  <a:lnTo>
                    <a:pt x="225" y="159"/>
                  </a:lnTo>
                  <a:lnTo>
                    <a:pt x="228" y="159"/>
                  </a:lnTo>
                  <a:lnTo>
                    <a:pt x="233" y="159"/>
                  </a:lnTo>
                  <a:lnTo>
                    <a:pt x="236" y="159"/>
                  </a:lnTo>
                  <a:lnTo>
                    <a:pt x="238" y="161"/>
                  </a:lnTo>
                  <a:lnTo>
                    <a:pt x="243" y="166"/>
                  </a:lnTo>
                  <a:lnTo>
                    <a:pt x="246" y="169"/>
                  </a:lnTo>
                  <a:lnTo>
                    <a:pt x="246" y="172"/>
                  </a:lnTo>
                  <a:lnTo>
                    <a:pt x="246" y="174"/>
                  </a:lnTo>
                  <a:lnTo>
                    <a:pt x="249" y="174"/>
                  </a:lnTo>
                  <a:lnTo>
                    <a:pt x="249" y="179"/>
                  </a:lnTo>
                  <a:lnTo>
                    <a:pt x="249" y="182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2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6" y="200"/>
                  </a:lnTo>
                  <a:lnTo>
                    <a:pt x="256" y="203"/>
                  </a:lnTo>
                  <a:lnTo>
                    <a:pt x="256" y="205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8"/>
                  </a:lnTo>
                  <a:lnTo>
                    <a:pt x="262" y="208"/>
                  </a:lnTo>
                  <a:lnTo>
                    <a:pt x="259" y="210"/>
                  </a:lnTo>
                  <a:lnTo>
                    <a:pt x="259" y="210"/>
                  </a:lnTo>
                  <a:lnTo>
                    <a:pt x="256" y="213"/>
                  </a:lnTo>
                  <a:lnTo>
                    <a:pt x="256" y="213"/>
                  </a:lnTo>
                  <a:lnTo>
                    <a:pt x="254" y="213"/>
                  </a:lnTo>
                  <a:lnTo>
                    <a:pt x="254" y="213"/>
                  </a:lnTo>
                  <a:lnTo>
                    <a:pt x="251" y="216"/>
                  </a:lnTo>
                  <a:lnTo>
                    <a:pt x="251" y="218"/>
                  </a:lnTo>
                  <a:lnTo>
                    <a:pt x="249" y="218"/>
                  </a:lnTo>
                  <a:lnTo>
                    <a:pt x="249" y="221"/>
                  </a:lnTo>
                  <a:lnTo>
                    <a:pt x="251" y="226"/>
                  </a:lnTo>
                  <a:lnTo>
                    <a:pt x="251" y="229"/>
                  </a:lnTo>
                  <a:lnTo>
                    <a:pt x="254" y="231"/>
                  </a:lnTo>
                  <a:lnTo>
                    <a:pt x="254" y="231"/>
                  </a:lnTo>
                  <a:lnTo>
                    <a:pt x="256" y="234"/>
                  </a:lnTo>
                  <a:lnTo>
                    <a:pt x="256" y="236"/>
                  </a:lnTo>
                  <a:lnTo>
                    <a:pt x="256" y="236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42"/>
                  </a:lnTo>
                  <a:lnTo>
                    <a:pt x="256" y="244"/>
                  </a:lnTo>
                  <a:lnTo>
                    <a:pt x="256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62" y="254"/>
                  </a:lnTo>
                  <a:lnTo>
                    <a:pt x="262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62" y="260"/>
                  </a:lnTo>
                  <a:lnTo>
                    <a:pt x="262" y="262"/>
                  </a:lnTo>
                  <a:lnTo>
                    <a:pt x="264" y="262"/>
                  </a:lnTo>
                  <a:lnTo>
                    <a:pt x="264" y="262"/>
                  </a:lnTo>
                  <a:lnTo>
                    <a:pt x="267" y="262"/>
                  </a:lnTo>
                  <a:lnTo>
                    <a:pt x="267" y="265"/>
                  </a:lnTo>
                  <a:lnTo>
                    <a:pt x="264" y="267"/>
                  </a:lnTo>
                  <a:lnTo>
                    <a:pt x="264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64" y="273"/>
                  </a:lnTo>
                  <a:lnTo>
                    <a:pt x="264" y="273"/>
                  </a:lnTo>
                  <a:lnTo>
                    <a:pt x="267" y="270"/>
                  </a:lnTo>
                  <a:lnTo>
                    <a:pt x="264" y="273"/>
                  </a:lnTo>
                  <a:lnTo>
                    <a:pt x="264" y="275"/>
                  </a:lnTo>
                  <a:lnTo>
                    <a:pt x="264" y="275"/>
                  </a:lnTo>
                  <a:lnTo>
                    <a:pt x="264" y="278"/>
                  </a:lnTo>
                  <a:lnTo>
                    <a:pt x="262" y="278"/>
                  </a:lnTo>
                  <a:lnTo>
                    <a:pt x="262" y="280"/>
                  </a:lnTo>
                  <a:lnTo>
                    <a:pt x="262" y="280"/>
                  </a:lnTo>
                  <a:lnTo>
                    <a:pt x="259" y="283"/>
                  </a:lnTo>
                  <a:lnTo>
                    <a:pt x="259" y="283"/>
                  </a:lnTo>
                  <a:lnTo>
                    <a:pt x="262" y="286"/>
                  </a:lnTo>
                  <a:lnTo>
                    <a:pt x="262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2" y="291"/>
                  </a:lnTo>
                  <a:lnTo>
                    <a:pt x="259" y="291"/>
                  </a:lnTo>
                  <a:lnTo>
                    <a:pt x="259" y="293"/>
                  </a:lnTo>
                  <a:lnTo>
                    <a:pt x="256" y="293"/>
                  </a:lnTo>
                  <a:lnTo>
                    <a:pt x="254" y="296"/>
                  </a:lnTo>
                  <a:lnTo>
                    <a:pt x="254" y="296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4" y="301"/>
                  </a:lnTo>
                  <a:lnTo>
                    <a:pt x="254" y="301"/>
                  </a:lnTo>
                  <a:lnTo>
                    <a:pt x="254" y="304"/>
                  </a:lnTo>
                  <a:lnTo>
                    <a:pt x="251" y="304"/>
                  </a:lnTo>
                  <a:lnTo>
                    <a:pt x="251" y="306"/>
                  </a:lnTo>
                  <a:lnTo>
                    <a:pt x="251" y="309"/>
                  </a:lnTo>
                  <a:lnTo>
                    <a:pt x="251" y="314"/>
                  </a:lnTo>
                  <a:lnTo>
                    <a:pt x="251" y="317"/>
                  </a:lnTo>
                  <a:lnTo>
                    <a:pt x="249" y="319"/>
                  </a:lnTo>
                  <a:lnTo>
                    <a:pt x="249" y="322"/>
                  </a:lnTo>
                  <a:lnTo>
                    <a:pt x="246" y="324"/>
                  </a:lnTo>
                  <a:lnTo>
                    <a:pt x="246" y="327"/>
                  </a:lnTo>
                  <a:lnTo>
                    <a:pt x="243" y="330"/>
                  </a:lnTo>
                  <a:lnTo>
                    <a:pt x="243" y="332"/>
                  </a:lnTo>
                  <a:lnTo>
                    <a:pt x="243" y="335"/>
                  </a:lnTo>
                  <a:lnTo>
                    <a:pt x="241" y="337"/>
                  </a:lnTo>
                  <a:lnTo>
                    <a:pt x="241" y="340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25" y="343"/>
                  </a:lnTo>
                  <a:lnTo>
                    <a:pt x="223" y="340"/>
                  </a:lnTo>
                  <a:lnTo>
                    <a:pt x="220" y="340"/>
                  </a:lnTo>
                  <a:lnTo>
                    <a:pt x="220" y="340"/>
                  </a:lnTo>
                  <a:lnTo>
                    <a:pt x="218" y="337"/>
                  </a:lnTo>
                  <a:lnTo>
                    <a:pt x="215" y="337"/>
                  </a:lnTo>
                  <a:lnTo>
                    <a:pt x="215" y="337"/>
                  </a:lnTo>
                  <a:lnTo>
                    <a:pt x="212" y="335"/>
                  </a:lnTo>
                  <a:lnTo>
                    <a:pt x="212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07" y="335"/>
                  </a:lnTo>
                  <a:lnTo>
                    <a:pt x="207" y="332"/>
                  </a:lnTo>
                  <a:lnTo>
                    <a:pt x="207" y="332"/>
                  </a:lnTo>
                  <a:lnTo>
                    <a:pt x="205" y="332"/>
                  </a:lnTo>
                  <a:lnTo>
                    <a:pt x="205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199" y="330"/>
                  </a:lnTo>
                  <a:lnTo>
                    <a:pt x="199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89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4" y="327"/>
                  </a:lnTo>
                  <a:lnTo>
                    <a:pt x="184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27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1" y="330"/>
                  </a:lnTo>
                  <a:lnTo>
                    <a:pt x="171" y="330"/>
                  </a:lnTo>
                  <a:lnTo>
                    <a:pt x="168" y="330"/>
                  </a:lnTo>
                  <a:lnTo>
                    <a:pt x="168" y="330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3" y="324"/>
                  </a:lnTo>
                  <a:lnTo>
                    <a:pt x="161" y="324"/>
                  </a:lnTo>
                  <a:lnTo>
                    <a:pt x="158" y="324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5" y="319"/>
                  </a:lnTo>
                  <a:lnTo>
                    <a:pt x="155" y="317"/>
                  </a:lnTo>
                  <a:lnTo>
                    <a:pt x="153" y="317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2"/>
                  </a:lnTo>
                  <a:lnTo>
                    <a:pt x="155" y="312"/>
                  </a:lnTo>
                  <a:lnTo>
                    <a:pt x="153" y="309"/>
                  </a:lnTo>
                  <a:lnTo>
                    <a:pt x="153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5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5" y="306"/>
                  </a:lnTo>
                  <a:lnTo>
                    <a:pt x="142" y="306"/>
                  </a:lnTo>
                  <a:lnTo>
                    <a:pt x="142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12"/>
                  </a:lnTo>
                  <a:lnTo>
                    <a:pt x="140" y="312"/>
                  </a:lnTo>
                  <a:lnTo>
                    <a:pt x="137" y="309"/>
                  </a:lnTo>
                  <a:lnTo>
                    <a:pt x="137" y="309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4"/>
                  </a:lnTo>
                  <a:lnTo>
                    <a:pt x="132" y="304"/>
                  </a:lnTo>
                  <a:lnTo>
                    <a:pt x="132" y="301"/>
                  </a:lnTo>
                  <a:lnTo>
                    <a:pt x="132" y="301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32" y="296"/>
                  </a:lnTo>
                  <a:lnTo>
                    <a:pt x="132" y="296"/>
                  </a:lnTo>
                  <a:lnTo>
                    <a:pt x="132" y="293"/>
                  </a:lnTo>
                  <a:lnTo>
                    <a:pt x="135" y="293"/>
                  </a:lnTo>
                  <a:lnTo>
                    <a:pt x="135" y="296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5" y="291"/>
                  </a:lnTo>
                  <a:lnTo>
                    <a:pt x="135" y="288"/>
                  </a:lnTo>
                  <a:lnTo>
                    <a:pt x="135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2" y="286"/>
                  </a:lnTo>
                  <a:lnTo>
                    <a:pt x="140" y="286"/>
                  </a:lnTo>
                  <a:lnTo>
                    <a:pt x="140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3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5" y="270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32" y="270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29" y="267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9" y="257"/>
                  </a:lnTo>
                  <a:lnTo>
                    <a:pt x="132" y="257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9" y="252"/>
                  </a:lnTo>
                  <a:lnTo>
                    <a:pt x="129" y="249"/>
                  </a:lnTo>
                  <a:lnTo>
                    <a:pt x="129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29" y="244"/>
                  </a:lnTo>
                  <a:lnTo>
                    <a:pt x="129" y="244"/>
                  </a:lnTo>
                  <a:lnTo>
                    <a:pt x="129" y="242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9"/>
                  </a:lnTo>
                  <a:lnTo>
                    <a:pt x="124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19" y="239"/>
                  </a:lnTo>
                  <a:lnTo>
                    <a:pt x="119" y="236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6" y="231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6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1" y="226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4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3" y="239"/>
                  </a:lnTo>
                  <a:lnTo>
                    <a:pt x="73" y="239"/>
                  </a:lnTo>
                  <a:lnTo>
                    <a:pt x="70" y="239"/>
                  </a:lnTo>
                  <a:lnTo>
                    <a:pt x="67" y="242"/>
                  </a:lnTo>
                  <a:lnTo>
                    <a:pt x="65" y="244"/>
                  </a:lnTo>
                  <a:lnTo>
                    <a:pt x="65" y="247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2" y="244"/>
                  </a:lnTo>
                  <a:lnTo>
                    <a:pt x="62" y="242"/>
                  </a:lnTo>
                  <a:lnTo>
                    <a:pt x="62" y="242"/>
                  </a:lnTo>
                  <a:lnTo>
                    <a:pt x="62" y="244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4"/>
                  </a:lnTo>
                  <a:lnTo>
                    <a:pt x="57" y="244"/>
                  </a:lnTo>
                  <a:lnTo>
                    <a:pt x="57" y="244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49" y="247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7" y="244"/>
                  </a:lnTo>
                  <a:lnTo>
                    <a:pt x="47" y="244"/>
                  </a:lnTo>
                  <a:lnTo>
                    <a:pt x="44" y="244"/>
                  </a:lnTo>
                  <a:lnTo>
                    <a:pt x="44" y="247"/>
                  </a:lnTo>
                  <a:lnTo>
                    <a:pt x="41" y="247"/>
                  </a:lnTo>
                  <a:lnTo>
                    <a:pt x="41" y="244"/>
                  </a:lnTo>
                  <a:lnTo>
                    <a:pt x="39" y="244"/>
                  </a:lnTo>
                  <a:lnTo>
                    <a:pt x="39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1" y="234"/>
                  </a:lnTo>
                  <a:lnTo>
                    <a:pt x="31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6" y="226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4" y="223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44" y="213"/>
                  </a:lnTo>
                  <a:lnTo>
                    <a:pt x="41" y="213"/>
                  </a:lnTo>
                  <a:lnTo>
                    <a:pt x="41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7"/>
                  </a:lnTo>
                  <a:lnTo>
                    <a:pt x="36" y="197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4" y="195"/>
                  </a:lnTo>
                  <a:lnTo>
                    <a:pt x="34" y="195"/>
                  </a:lnTo>
                  <a:lnTo>
                    <a:pt x="31" y="195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0" y="177"/>
                  </a:lnTo>
                  <a:lnTo>
                    <a:pt x="13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8" y="172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5" y="172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3" y="161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0" y="156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0" name="Freeform 120"/>
            <p:cNvSpPr>
              <a:spLocks/>
            </p:cNvSpPr>
            <p:nvPr/>
          </p:nvSpPr>
          <p:spPr bwMode="auto">
            <a:xfrm>
              <a:off x="782" y="3061"/>
              <a:ext cx="267" cy="345"/>
            </a:xfrm>
            <a:custGeom>
              <a:avLst/>
              <a:gdLst>
                <a:gd name="T0" fmla="*/ 3 w 267"/>
                <a:gd name="T1" fmla="*/ 140 h 345"/>
                <a:gd name="T2" fmla="*/ 8 w 267"/>
                <a:gd name="T3" fmla="*/ 125 h 345"/>
                <a:gd name="T4" fmla="*/ 21 w 267"/>
                <a:gd name="T5" fmla="*/ 112 h 345"/>
                <a:gd name="T6" fmla="*/ 34 w 267"/>
                <a:gd name="T7" fmla="*/ 107 h 345"/>
                <a:gd name="T8" fmla="*/ 36 w 267"/>
                <a:gd name="T9" fmla="*/ 99 h 345"/>
                <a:gd name="T10" fmla="*/ 54 w 267"/>
                <a:gd name="T11" fmla="*/ 96 h 345"/>
                <a:gd name="T12" fmla="*/ 65 w 267"/>
                <a:gd name="T13" fmla="*/ 104 h 345"/>
                <a:gd name="T14" fmla="*/ 73 w 267"/>
                <a:gd name="T15" fmla="*/ 86 h 345"/>
                <a:gd name="T16" fmla="*/ 80 w 267"/>
                <a:gd name="T17" fmla="*/ 83 h 345"/>
                <a:gd name="T18" fmla="*/ 88 w 267"/>
                <a:gd name="T19" fmla="*/ 70 h 345"/>
                <a:gd name="T20" fmla="*/ 101 w 267"/>
                <a:gd name="T21" fmla="*/ 60 h 345"/>
                <a:gd name="T22" fmla="*/ 119 w 267"/>
                <a:gd name="T23" fmla="*/ 55 h 345"/>
                <a:gd name="T24" fmla="*/ 137 w 267"/>
                <a:gd name="T25" fmla="*/ 52 h 345"/>
                <a:gd name="T26" fmla="*/ 145 w 267"/>
                <a:gd name="T27" fmla="*/ 39 h 345"/>
                <a:gd name="T28" fmla="*/ 161 w 267"/>
                <a:gd name="T29" fmla="*/ 34 h 345"/>
                <a:gd name="T30" fmla="*/ 173 w 267"/>
                <a:gd name="T31" fmla="*/ 26 h 345"/>
                <a:gd name="T32" fmla="*/ 181 w 267"/>
                <a:gd name="T33" fmla="*/ 16 h 345"/>
                <a:gd name="T34" fmla="*/ 184 w 267"/>
                <a:gd name="T35" fmla="*/ 0 h 345"/>
                <a:gd name="T36" fmla="*/ 199 w 267"/>
                <a:gd name="T37" fmla="*/ 13 h 345"/>
                <a:gd name="T38" fmla="*/ 212 w 267"/>
                <a:gd name="T39" fmla="*/ 37 h 345"/>
                <a:gd name="T40" fmla="*/ 225 w 267"/>
                <a:gd name="T41" fmla="*/ 57 h 345"/>
                <a:gd name="T42" fmla="*/ 218 w 267"/>
                <a:gd name="T43" fmla="*/ 70 h 345"/>
                <a:gd name="T44" fmla="*/ 207 w 267"/>
                <a:gd name="T45" fmla="*/ 81 h 345"/>
                <a:gd name="T46" fmla="*/ 207 w 267"/>
                <a:gd name="T47" fmla="*/ 94 h 345"/>
                <a:gd name="T48" fmla="*/ 218 w 267"/>
                <a:gd name="T49" fmla="*/ 104 h 345"/>
                <a:gd name="T50" fmla="*/ 220 w 267"/>
                <a:gd name="T51" fmla="*/ 117 h 345"/>
                <a:gd name="T52" fmla="*/ 215 w 267"/>
                <a:gd name="T53" fmla="*/ 125 h 345"/>
                <a:gd name="T54" fmla="*/ 199 w 267"/>
                <a:gd name="T55" fmla="*/ 127 h 345"/>
                <a:gd name="T56" fmla="*/ 199 w 267"/>
                <a:gd name="T57" fmla="*/ 143 h 345"/>
                <a:gd name="T58" fmla="*/ 192 w 267"/>
                <a:gd name="T59" fmla="*/ 146 h 345"/>
                <a:gd name="T60" fmla="*/ 192 w 267"/>
                <a:gd name="T61" fmla="*/ 161 h 345"/>
                <a:gd name="T62" fmla="*/ 238 w 267"/>
                <a:gd name="T63" fmla="*/ 161 h 345"/>
                <a:gd name="T64" fmla="*/ 254 w 267"/>
                <a:gd name="T65" fmla="*/ 197 h 345"/>
                <a:gd name="T66" fmla="*/ 249 w 267"/>
                <a:gd name="T67" fmla="*/ 221 h 345"/>
                <a:gd name="T68" fmla="*/ 259 w 267"/>
                <a:gd name="T69" fmla="*/ 260 h 345"/>
                <a:gd name="T70" fmla="*/ 264 w 267"/>
                <a:gd name="T71" fmla="*/ 273 h 345"/>
                <a:gd name="T72" fmla="*/ 254 w 267"/>
                <a:gd name="T73" fmla="*/ 296 h 345"/>
                <a:gd name="T74" fmla="*/ 241 w 267"/>
                <a:gd name="T75" fmla="*/ 337 h 345"/>
                <a:gd name="T76" fmla="*/ 215 w 267"/>
                <a:gd name="T77" fmla="*/ 337 h 345"/>
                <a:gd name="T78" fmla="*/ 197 w 267"/>
                <a:gd name="T79" fmla="*/ 330 h 345"/>
                <a:gd name="T80" fmla="*/ 179 w 267"/>
                <a:gd name="T81" fmla="*/ 330 h 345"/>
                <a:gd name="T82" fmla="*/ 166 w 267"/>
                <a:gd name="T83" fmla="*/ 324 h 345"/>
                <a:gd name="T84" fmla="*/ 150 w 267"/>
                <a:gd name="T85" fmla="*/ 309 h 345"/>
                <a:gd name="T86" fmla="*/ 140 w 267"/>
                <a:gd name="T87" fmla="*/ 309 h 345"/>
                <a:gd name="T88" fmla="*/ 129 w 267"/>
                <a:gd name="T89" fmla="*/ 296 h 345"/>
                <a:gd name="T90" fmla="*/ 140 w 267"/>
                <a:gd name="T91" fmla="*/ 288 h 345"/>
                <a:gd name="T92" fmla="*/ 142 w 267"/>
                <a:gd name="T93" fmla="*/ 275 h 345"/>
                <a:gd name="T94" fmla="*/ 132 w 267"/>
                <a:gd name="T95" fmla="*/ 267 h 345"/>
                <a:gd name="T96" fmla="*/ 132 w 267"/>
                <a:gd name="T97" fmla="*/ 254 h 345"/>
                <a:gd name="T98" fmla="*/ 132 w 267"/>
                <a:gd name="T99" fmla="*/ 247 h 345"/>
                <a:gd name="T100" fmla="*/ 119 w 267"/>
                <a:gd name="T101" fmla="*/ 239 h 345"/>
                <a:gd name="T102" fmla="*/ 104 w 267"/>
                <a:gd name="T103" fmla="*/ 226 h 345"/>
                <a:gd name="T104" fmla="*/ 91 w 267"/>
                <a:gd name="T105" fmla="*/ 229 h 345"/>
                <a:gd name="T106" fmla="*/ 83 w 267"/>
                <a:gd name="T107" fmla="*/ 234 h 345"/>
                <a:gd name="T108" fmla="*/ 62 w 267"/>
                <a:gd name="T109" fmla="*/ 242 h 345"/>
                <a:gd name="T110" fmla="*/ 44 w 267"/>
                <a:gd name="T111" fmla="*/ 244 h 345"/>
                <a:gd name="T112" fmla="*/ 29 w 267"/>
                <a:gd name="T113" fmla="*/ 239 h 345"/>
                <a:gd name="T114" fmla="*/ 36 w 267"/>
                <a:gd name="T115" fmla="*/ 221 h 345"/>
                <a:gd name="T116" fmla="*/ 44 w 267"/>
                <a:gd name="T117" fmla="*/ 203 h 345"/>
                <a:gd name="T118" fmla="*/ 39 w 267"/>
                <a:gd name="T119" fmla="*/ 195 h 345"/>
                <a:gd name="T120" fmla="*/ 21 w 267"/>
                <a:gd name="T121" fmla="*/ 187 h 345"/>
                <a:gd name="T122" fmla="*/ 10 w 267"/>
                <a:gd name="T123" fmla="*/ 172 h 345"/>
                <a:gd name="T124" fmla="*/ 3 w 267"/>
                <a:gd name="T125" fmla="*/ 16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" h="345">
                  <a:moveTo>
                    <a:pt x="0" y="153"/>
                  </a:moveTo>
                  <a:lnTo>
                    <a:pt x="0" y="153"/>
                  </a:lnTo>
                  <a:lnTo>
                    <a:pt x="0" y="153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3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5" y="140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9" y="112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4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99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41" y="104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4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5" y="102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3" y="96"/>
                  </a:lnTo>
                  <a:lnTo>
                    <a:pt x="73" y="94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3" y="89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3" y="86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3" y="8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3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5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0"/>
                  </a:lnTo>
                  <a:lnTo>
                    <a:pt x="104" y="60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24" y="55"/>
                  </a:lnTo>
                  <a:lnTo>
                    <a:pt x="127" y="55"/>
                  </a:lnTo>
                  <a:lnTo>
                    <a:pt x="127" y="55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0" y="42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3" y="39"/>
                  </a:lnTo>
                  <a:lnTo>
                    <a:pt x="153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4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1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79" y="3"/>
                  </a:lnTo>
                  <a:lnTo>
                    <a:pt x="181" y="3"/>
                  </a:lnTo>
                  <a:lnTo>
                    <a:pt x="181" y="3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6"/>
                  </a:lnTo>
                  <a:lnTo>
                    <a:pt x="192" y="8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92" y="11"/>
                  </a:lnTo>
                  <a:lnTo>
                    <a:pt x="192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7" y="11"/>
                  </a:lnTo>
                  <a:lnTo>
                    <a:pt x="197" y="13"/>
                  </a:lnTo>
                  <a:lnTo>
                    <a:pt x="199" y="13"/>
                  </a:lnTo>
                  <a:lnTo>
                    <a:pt x="199" y="16"/>
                  </a:lnTo>
                  <a:lnTo>
                    <a:pt x="199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5" y="24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9"/>
                  </a:lnTo>
                  <a:lnTo>
                    <a:pt x="207" y="32"/>
                  </a:lnTo>
                  <a:lnTo>
                    <a:pt x="212" y="34"/>
                  </a:lnTo>
                  <a:lnTo>
                    <a:pt x="212" y="37"/>
                  </a:lnTo>
                  <a:lnTo>
                    <a:pt x="215" y="37"/>
                  </a:lnTo>
                  <a:lnTo>
                    <a:pt x="215" y="39"/>
                  </a:lnTo>
                  <a:lnTo>
                    <a:pt x="215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3" y="42"/>
                  </a:lnTo>
                  <a:lnTo>
                    <a:pt x="223" y="44"/>
                  </a:lnTo>
                  <a:lnTo>
                    <a:pt x="223" y="44"/>
                  </a:lnTo>
                  <a:lnTo>
                    <a:pt x="223" y="47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52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5" y="57"/>
                  </a:lnTo>
                  <a:lnTo>
                    <a:pt x="223" y="57"/>
                  </a:lnTo>
                  <a:lnTo>
                    <a:pt x="225" y="57"/>
                  </a:lnTo>
                  <a:lnTo>
                    <a:pt x="225" y="60"/>
                  </a:lnTo>
                  <a:lnTo>
                    <a:pt x="225" y="60"/>
                  </a:lnTo>
                  <a:lnTo>
                    <a:pt x="225" y="63"/>
                  </a:lnTo>
                  <a:lnTo>
                    <a:pt x="225" y="65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5" y="68"/>
                  </a:lnTo>
                  <a:lnTo>
                    <a:pt x="225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18" y="70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2" y="68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81"/>
                  </a:lnTo>
                  <a:lnTo>
                    <a:pt x="207" y="81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10" y="86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10" y="94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5" y="96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8" y="120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2" y="117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5"/>
                  </a:lnTo>
                  <a:lnTo>
                    <a:pt x="207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9" y="138"/>
                  </a:lnTo>
                  <a:lnTo>
                    <a:pt x="202" y="138"/>
                  </a:lnTo>
                  <a:lnTo>
                    <a:pt x="202" y="140"/>
                  </a:lnTo>
                  <a:lnTo>
                    <a:pt x="202" y="143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51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6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6" y="156"/>
                  </a:lnTo>
                  <a:lnTo>
                    <a:pt x="186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4"/>
                  </a:lnTo>
                  <a:lnTo>
                    <a:pt x="194" y="164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9"/>
                  </a:lnTo>
                  <a:lnTo>
                    <a:pt x="197" y="169"/>
                  </a:lnTo>
                  <a:lnTo>
                    <a:pt x="199" y="169"/>
                  </a:lnTo>
                  <a:lnTo>
                    <a:pt x="202" y="169"/>
                  </a:lnTo>
                  <a:lnTo>
                    <a:pt x="205" y="169"/>
                  </a:lnTo>
                  <a:lnTo>
                    <a:pt x="207" y="166"/>
                  </a:lnTo>
                  <a:lnTo>
                    <a:pt x="210" y="166"/>
                  </a:lnTo>
                  <a:lnTo>
                    <a:pt x="212" y="164"/>
                  </a:lnTo>
                  <a:lnTo>
                    <a:pt x="215" y="164"/>
                  </a:lnTo>
                  <a:lnTo>
                    <a:pt x="220" y="161"/>
                  </a:lnTo>
                  <a:lnTo>
                    <a:pt x="223" y="161"/>
                  </a:lnTo>
                  <a:lnTo>
                    <a:pt x="225" y="159"/>
                  </a:lnTo>
                  <a:lnTo>
                    <a:pt x="228" y="159"/>
                  </a:lnTo>
                  <a:lnTo>
                    <a:pt x="233" y="159"/>
                  </a:lnTo>
                  <a:lnTo>
                    <a:pt x="236" y="159"/>
                  </a:lnTo>
                  <a:lnTo>
                    <a:pt x="238" y="161"/>
                  </a:lnTo>
                  <a:lnTo>
                    <a:pt x="243" y="166"/>
                  </a:lnTo>
                  <a:lnTo>
                    <a:pt x="246" y="169"/>
                  </a:lnTo>
                  <a:lnTo>
                    <a:pt x="246" y="172"/>
                  </a:lnTo>
                  <a:lnTo>
                    <a:pt x="246" y="174"/>
                  </a:lnTo>
                  <a:lnTo>
                    <a:pt x="249" y="174"/>
                  </a:lnTo>
                  <a:lnTo>
                    <a:pt x="249" y="179"/>
                  </a:lnTo>
                  <a:lnTo>
                    <a:pt x="249" y="182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2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6" y="200"/>
                  </a:lnTo>
                  <a:lnTo>
                    <a:pt x="256" y="203"/>
                  </a:lnTo>
                  <a:lnTo>
                    <a:pt x="256" y="205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8"/>
                  </a:lnTo>
                  <a:lnTo>
                    <a:pt x="262" y="208"/>
                  </a:lnTo>
                  <a:lnTo>
                    <a:pt x="259" y="210"/>
                  </a:lnTo>
                  <a:lnTo>
                    <a:pt x="259" y="210"/>
                  </a:lnTo>
                  <a:lnTo>
                    <a:pt x="256" y="213"/>
                  </a:lnTo>
                  <a:lnTo>
                    <a:pt x="256" y="213"/>
                  </a:lnTo>
                  <a:lnTo>
                    <a:pt x="254" y="213"/>
                  </a:lnTo>
                  <a:lnTo>
                    <a:pt x="254" y="213"/>
                  </a:lnTo>
                  <a:lnTo>
                    <a:pt x="251" y="216"/>
                  </a:lnTo>
                  <a:lnTo>
                    <a:pt x="251" y="218"/>
                  </a:lnTo>
                  <a:lnTo>
                    <a:pt x="249" y="218"/>
                  </a:lnTo>
                  <a:lnTo>
                    <a:pt x="249" y="221"/>
                  </a:lnTo>
                  <a:lnTo>
                    <a:pt x="251" y="226"/>
                  </a:lnTo>
                  <a:lnTo>
                    <a:pt x="251" y="229"/>
                  </a:lnTo>
                  <a:lnTo>
                    <a:pt x="254" y="231"/>
                  </a:lnTo>
                  <a:lnTo>
                    <a:pt x="254" y="231"/>
                  </a:lnTo>
                  <a:lnTo>
                    <a:pt x="256" y="234"/>
                  </a:lnTo>
                  <a:lnTo>
                    <a:pt x="256" y="236"/>
                  </a:lnTo>
                  <a:lnTo>
                    <a:pt x="256" y="236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42"/>
                  </a:lnTo>
                  <a:lnTo>
                    <a:pt x="256" y="244"/>
                  </a:lnTo>
                  <a:lnTo>
                    <a:pt x="256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62" y="254"/>
                  </a:lnTo>
                  <a:lnTo>
                    <a:pt x="262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62" y="260"/>
                  </a:lnTo>
                  <a:lnTo>
                    <a:pt x="262" y="262"/>
                  </a:lnTo>
                  <a:lnTo>
                    <a:pt x="264" y="262"/>
                  </a:lnTo>
                  <a:lnTo>
                    <a:pt x="264" y="262"/>
                  </a:lnTo>
                  <a:lnTo>
                    <a:pt x="267" y="262"/>
                  </a:lnTo>
                  <a:lnTo>
                    <a:pt x="267" y="265"/>
                  </a:lnTo>
                  <a:lnTo>
                    <a:pt x="264" y="267"/>
                  </a:lnTo>
                  <a:lnTo>
                    <a:pt x="264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64" y="273"/>
                  </a:lnTo>
                  <a:lnTo>
                    <a:pt x="264" y="273"/>
                  </a:lnTo>
                  <a:lnTo>
                    <a:pt x="267" y="270"/>
                  </a:lnTo>
                  <a:lnTo>
                    <a:pt x="264" y="273"/>
                  </a:lnTo>
                  <a:lnTo>
                    <a:pt x="264" y="275"/>
                  </a:lnTo>
                  <a:lnTo>
                    <a:pt x="264" y="275"/>
                  </a:lnTo>
                  <a:lnTo>
                    <a:pt x="264" y="278"/>
                  </a:lnTo>
                  <a:lnTo>
                    <a:pt x="262" y="278"/>
                  </a:lnTo>
                  <a:lnTo>
                    <a:pt x="262" y="280"/>
                  </a:lnTo>
                  <a:lnTo>
                    <a:pt x="262" y="280"/>
                  </a:lnTo>
                  <a:lnTo>
                    <a:pt x="259" y="283"/>
                  </a:lnTo>
                  <a:lnTo>
                    <a:pt x="259" y="283"/>
                  </a:lnTo>
                  <a:lnTo>
                    <a:pt x="262" y="286"/>
                  </a:lnTo>
                  <a:lnTo>
                    <a:pt x="262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2" y="291"/>
                  </a:lnTo>
                  <a:lnTo>
                    <a:pt x="259" y="291"/>
                  </a:lnTo>
                  <a:lnTo>
                    <a:pt x="259" y="293"/>
                  </a:lnTo>
                  <a:lnTo>
                    <a:pt x="256" y="293"/>
                  </a:lnTo>
                  <a:lnTo>
                    <a:pt x="254" y="296"/>
                  </a:lnTo>
                  <a:lnTo>
                    <a:pt x="254" y="296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4" y="301"/>
                  </a:lnTo>
                  <a:lnTo>
                    <a:pt x="254" y="301"/>
                  </a:lnTo>
                  <a:lnTo>
                    <a:pt x="254" y="304"/>
                  </a:lnTo>
                  <a:lnTo>
                    <a:pt x="251" y="304"/>
                  </a:lnTo>
                  <a:lnTo>
                    <a:pt x="251" y="306"/>
                  </a:lnTo>
                  <a:lnTo>
                    <a:pt x="251" y="309"/>
                  </a:lnTo>
                  <a:lnTo>
                    <a:pt x="251" y="314"/>
                  </a:lnTo>
                  <a:lnTo>
                    <a:pt x="251" y="317"/>
                  </a:lnTo>
                  <a:lnTo>
                    <a:pt x="249" y="319"/>
                  </a:lnTo>
                  <a:lnTo>
                    <a:pt x="249" y="322"/>
                  </a:lnTo>
                  <a:lnTo>
                    <a:pt x="246" y="324"/>
                  </a:lnTo>
                  <a:lnTo>
                    <a:pt x="246" y="327"/>
                  </a:lnTo>
                  <a:lnTo>
                    <a:pt x="243" y="330"/>
                  </a:lnTo>
                  <a:lnTo>
                    <a:pt x="243" y="332"/>
                  </a:lnTo>
                  <a:lnTo>
                    <a:pt x="243" y="335"/>
                  </a:lnTo>
                  <a:lnTo>
                    <a:pt x="241" y="337"/>
                  </a:lnTo>
                  <a:lnTo>
                    <a:pt x="241" y="340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25" y="343"/>
                  </a:lnTo>
                  <a:lnTo>
                    <a:pt x="223" y="340"/>
                  </a:lnTo>
                  <a:lnTo>
                    <a:pt x="220" y="340"/>
                  </a:lnTo>
                  <a:lnTo>
                    <a:pt x="220" y="340"/>
                  </a:lnTo>
                  <a:lnTo>
                    <a:pt x="218" y="337"/>
                  </a:lnTo>
                  <a:lnTo>
                    <a:pt x="215" y="337"/>
                  </a:lnTo>
                  <a:lnTo>
                    <a:pt x="215" y="337"/>
                  </a:lnTo>
                  <a:lnTo>
                    <a:pt x="212" y="335"/>
                  </a:lnTo>
                  <a:lnTo>
                    <a:pt x="212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07" y="335"/>
                  </a:lnTo>
                  <a:lnTo>
                    <a:pt x="207" y="332"/>
                  </a:lnTo>
                  <a:lnTo>
                    <a:pt x="207" y="332"/>
                  </a:lnTo>
                  <a:lnTo>
                    <a:pt x="205" y="332"/>
                  </a:lnTo>
                  <a:lnTo>
                    <a:pt x="205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199" y="330"/>
                  </a:lnTo>
                  <a:lnTo>
                    <a:pt x="199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89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4" y="327"/>
                  </a:lnTo>
                  <a:lnTo>
                    <a:pt x="184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27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1" y="330"/>
                  </a:lnTo>
                  <a:lnTo>
                    <a:pt x="171" y="330"/>
                  </a:lnTo>
                  <a:lnTo>
                    <a:pt x="168" y="330"/>
                  </a:lnTo>
                  <a:lnTo>
                    <a:pt x="168" y="330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3" y="324"/>
                  </a:lnTo>
                  <a:lnTo>
                    <a:pt x="161" y="324"/>
                  </a:lnTo>
                  <a:lnTo>
                    <a:pt x="158" y="324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5" y="319"/>
                  </a:lnTo>
                  <a:lnTo>
                    <a:pt x="155" y="317"/>
                  </a:lnTo>
                  <a:lnTo>
                    <a:pt x="153" y="317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2"/>
                  </a:lnTo>
                  <a:lnTo>
                    <a:pt x="155" y="312"/>
                  </a:lnTo>
                  <a:lnTo>
                    <a:pt x="153" y="309"/>
                  </a:lnTo>
                  <a:lnTo>
                    <a:pt x="153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5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5" y="306"/>
                  </a:lnTo>
                  <a:lnTo>
                    <a:pt x="142" y="306"/>
                  </a:lnTo>
                  <a:lnTo>
                    <a:pt x="142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12"/>
                  </a:lnTo>
                  <a:lnTo>
                    <a:pt x="140" y="312"/>
                  </a:lnTo>
                  <a:lnTo>
                    <a:pt x="137" y="309"/>
                  </a:lnTo>
                  <a:lnTo>
                    <a:pt x="137" y="309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4"/>
                  </a:lnTo>
                  <a:lnTo>
                    <a:pt x="132" y="304"/>
                  </a:lnTo>
                  <a:lnTo>
                    <a:pt x="132" y="301"/>
                  </a:lnTo>
                  <a:lnTo>
                    <a:pt x="132" y="301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32" y="296"/>
                  </a:lnTo>
                  <a:lnTo>
                    <a:pt x="132" y="296"/>
                  </a:lnTo>
                  <a:lnTo>
                    <a:pt x="132" y="293"/>
                  </a:lnTo>
                  <a:lnTo>
                    <a:pt x="135" y="293"/>
                  </a:lnTo>
                  <a:lnTo>
                    <a:pt x="135" y="296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5" y="291"/>
                  </a:lnTo>
                  <a:lnTo>
                    <a:pt x="135" y="288"/>
                  </a:lnTo>
                  <a:lnTo>
                    <a:pt x="135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2" y="286"/>
                  </a:lnTo>
                  <a:lnTo>
                    <a:pt x="140" y="286"/>
                  </a:lnTo>
                  <a:lnTo>
                    <a:pt x="140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3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5" y="270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32" y="270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29" y="267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9" y="257"/>
                  </a:lnTo>
                  <a:lnTo>
                    <a:pt x="132" y="257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9" y="252"/>
                  </a:lnTo>
                  <a:lnTo>
                    <a:pt x="129" y="249"/>
                  </a:lnTo>
                  <a:lnTo>
                    <a:pt x="129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29" y="244"/>
                  </a:lnTo>
                  <a:lnTo>
                    <a:pt x="129" y="244"/>
                  </a:lnTo>
                  <a:lnTo>
                    <a:pt x="129" y="242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9"/>
                  </a:lnTo>
                  <a:lnTo>
                    <a:pt x="124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19" y="239"/>
                  </a:lnTo>
                  <a:lnTo>
                    <a:pt x="119" y="236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6" y="231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6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1" y="226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4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3" y="239"/>
                  </a:lnTo>
                  <a:lnTo>
                    <a:pt x="73" y="239"/>
                  </a:lnTo>
                  <a:lnTo>
                    <a:pt x="70" y="239"/>
                  </a:lnTo>
                  <a:lnTo>
                    <a:pt x="67" y="242"/>
                  </a:lnTo>
                  <a:lnTo>
                    <a:pt x="65" y="244"/>
                  </a:lnTo>
                  <a:lnTo>
                    <a:pt x="65" y="247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2" y="244"/>
                  </a:lnTo>
                  <a:lnTo>
                    <a:pt x="62" y="242"/>
                  </a:lnTo>
                  <a:lnTo>
                    <a:pt x="62" y="242"/>
                  </a:lnTo>
                  <a:lnTo>
                    <a:pt x="62" y="244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4"/>
                  </a:lnTo>
                  <a:lnTo>
                    <a:pt x="57" y="244"/>
                  </a:lnTo>
                  <a:lnTo>
                    <a:pt x="57" y="244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49" y="247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7" y="244"/>
                  </a:lnTo>
                  <a:lnTo>
                    <a:pt x="47" y="244"/>
                  </a:lnTo>
                  <a:lnTo>
                    <a:pt x="44" y="244"/>
                  </a:lnTo>
                  <a:lnTo>
                    <a:pt x="44" y="247"/>
                  </a:lnTo>
                  <a:lnTo>
                    <a:pt x="41" y="247"/>
                  </a:lnTo>
                  <a:lnTo>
                    <a:pt x="41" y="244"/>
                  </a:lnTo>
                  <a:lnTo>
                    <a:pt x="39" y="244"/>
                  </a:lnTo>
                  <a:lnTo>
                    <a:pt x="39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1" y="234"/>
                  </a:lnTo>
                  <a:lnTo>
                    <a:pt x="31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6" y="226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4" y="223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44" y="213"/>
                  </a:lnTo>
                  <a:lnTo>
                    <a:pt x="41" y="213"/>
                  </a:lnTo>
                  <a:lnTo>
                    <a:pt x="41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7"/>
                  </a:lnTo>
                  <a:lnTo>
                    <a:pt x="36" y="197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4" y="195"/>
                  </a:lnTo>
                  <a:lnTo>
                    <a:pt x="34" y="195"/>
                  </a:lnTo>
                  <a:lnTo>
                    <a:pt x="31" y="195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0" y="177"/>
                  </a:lnTo>
                  <a:lnTo>
                    <a:pt x="13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8" y="172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5" y="172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3" y="161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0" y="156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1" name="Freeform 121"/>
            <p:cNvSpPr>
              <a:spLocks/>
            </p:cNvSpPr>
            <p:nvPr/>
          </p:nvSpPr>
          <p:spPr bwMode="auto">
            <a:xfrm>
              <a:off x="782" y="3061"/>
              <a:ext cx="267" cy="345"/>
            </a:xfrm>
            <a:custGeom>
              <a:avLst/>
              <a:gdLst>
                <a:gd name="T0" fmla="*/ 3 w 267"/>
                <a:gd name="T1" fmla="*/ 140 h 345"/>
                <a:gd name="T2" fmla="*/ 8 w 267"/>
                <a:gd name="T3" fmla="*/ 125 h 345"/>
                <a:gd name="T4" fmla="*/ 21 w 267"/>
                <a:gd name="T5" fmla="*/ 112 h 345"/>
                <a:gd name="T6" fmla="*/ 34 w 267"/>
                <a:gd name="T7" fmla="*/ 107 h 345"/>
                <a:gd name="T8" fmla="*/ 36 w 267"/>
                <a:gd name="T9" fmla="*/ 99 h 345"/>
                <a:gd name="T10" fmla="*/ 54 w 267"/>
                <a:gd name="T11" fmla="*/ 96 h 345"/>
                <a:gd name="T12" fmla="*/ 65 w 267"/>
                <a:gd name="T13" fmla="*/ 104 h 345"/>
                <a:gd name="T14" fmla="*/ 73 w 267"/>
                <a:gd name="T15" fmla="*/ 86 h 345"/>
                <a:gd name="T16" fmla="*/ 80 w 267"/>
                <a:gd name="T17" fmla="*/ 83 h 345"/>
                <a:gd name="T18" fmla="*/ 88 w 267"/>
                <a:gd name="T19" fmla="*/ 70 h 345"/>
                <a:gd name="T20" fmla="*/ 101 w 267"/>
                <a:gd name="T21" fmla="*/ 60 h 345"/>
                <a:gd name="T22" fmla="*/ 119 w 267"/>
                <a:gd name="T23" fmla="*/ 55 h 345"/>
                <a:gd name="T24" fmla="*/ 137 w 267"/>
                <a:gd name="T25" fmla="*/ 52 h 345"/>
                <a:gd name="T26" fmla="*/ 145 w 267"/>
                <a:gd name="T27" fmla="*/ 39 h 345"/>
                <a:gd name="T28" fmla="*/ 161 w 267"/>
                <a:gd name="T29" fmla="*/ 34 h 345"/>
                <a:gd name="T30" fmla="*/ 173 w 267"/>
                <a:gd name="T31" fmla="*/ 26 h 345"/>
                <a:gd name="T32" fmla="*/ 181 w 267"/>
                <a:gd name="T33" fmla="*/ 16 h 345"/>
                <a:gd name="T34" fmla="*/ 184 w 267"/>
                <a:gd name="T35" fmla="*/ 0 h 345"/>
                <a:gd name="T36" fmla="*/ 199 w 267"/>
                <a:gd name="T37" fmla="*/ 13 h 345"/>
                <a:gd name="T38" fmla="*/ 212 w 267"/>
                <a:gd name="T39" fmla="*/ 37 h 345"/>
                <a:gd name="T40" fmla="*/ 225 w 267"/>
                <a:gd name="T41" fmla="*/ 57 h 345"/>
                <a:gd name="T42" fmla="*/ 218 w 267"/>
                <a:gd name="T43" fmla="*/ 70 h 345"/>
                <a:gd name="T44" fmla="*/ 207 w 267"/>
                <a:gd name="T45" fmla="*/ 81 h 345"/>
                <a:gd name="T46" fmla="*/ 207 w 267"/>
                <a:gd name="T47" fmla="*/ 94 h 345"/>
                <a:gd name="T48" fmla="*/ 218 w 267"/>
                <a:gd name="T49" fmla="*/ 104 h 345"/>
                <a:gd name="T50" fmla="*/ 220 w 267"/>
                <a:gd name="T51" fmla="*/ 117 h 345"/>
                <a:gd name="T52" fmla="*/ 215 w 267"/>
                <a:gd name="T53" fmla="*/ 125 h 345"/>
                <a:gd name="T54" fmla="*/ 199 w 267"/>
                <a:gd name="T55" fmla="*/ 127 h 345"/>
                <a:gd name="T56" fmla="*/ 199 w 267"/>
                <a:gd name="T57" fmla="*/ 143 h 345"/>
                <a:gd name="T58" fmla="*/ 192 w 267"/>
                <a:gd name="T59" fmla="*/ 146 h 345"/>
                <a:gd name="T60" fmla="*/ 192 w 267"/>
                <a:gd name="T61" fmla="*/ 161 h 345"/>
                <a:gd name="T62" fmla="*/ 238 w 267"/>
                <a:gd name="T63" fmla="*/ 161 h 345"/>
                <a:gd name="T64" fmla="*/ 254 w 267"/>
                <a:gd name="T65" fmla="*/ 197 h 345"/>
                <a:gd name="T66" fmla="*/ 249 w 267"/>
                <a:gd name="T67" fmla="*/ 221 h 345"/>
                <a:gd name="T68" fmla="*/ 259 w 267"/>
                <a:gd name="T69" fmla="*/ 260 h 345"/>
                <a:gd name="T70" fmla="*/ 264 w 267"/>
                <a:gd name="T71" fmla="*/ 273 h 345"/>
                <a:gd name="T72" fmla="*/ 254 w 267"/>
                <a:gd name="T73" fmla="*/ 296 h 345"/>
                <a:gd name="T74" fmla="*/ 241 w 267"/>
                <a:gd name="T75" fmla="*/ 337 h 345"/>
                <a:gd name="T76" fmla="*/ 215 w 267"/>
                <a:gd name="T77" fmla="*/ 337 h 345"/>
                <a:gd name="T78" fmla="*/ 197 w 267"/>
                <a:gd name="T79" fmla="*/ 330 h 345"/>
                <a:gd name="T80" fmla="*/ 179 w 267"/>
                <a:gd name="T81" fmla="*/ 330 h 345"/>
                <a:gd name="T82" fmla="*/ 166 w 267"/>
                <a:gd name="T83" fmla="*/ 324 h 345"/>
                <a:gd name="T84" fmla="*/ 150 w 267"/>
                <a:gd name="T85" fmla="*/ 309 h 345"/>
                <a:gd name="T86" fmla="*/ 140 w 267"/>
                <a:gd name="T87" fmla="*/ 309 h 345"/>
                <a:gd name="T88" fmla="*/ 129 w 267"/>
                <a:gd name="T89" fmla="*/ 296 h 345"/>
                <a:gd name="T90" fmla="*/ 140 w 267"/>
                <a:gd name="T91" fmla="*/ 288 h 345"/>
                <a:gd name="T92" fmla="*/ 142 w 267"/>
                <a:gd name="T93" fmla="*/ 275 h 345"/>
                <a:gd name="T94" fmla="*/ 132 w 267"/>
                <a:gd name="T95" fmla="*/ 267 h 345"/>
                <a:gd name="T96" fmla="*/ 132 w 267"/>
                <a:gd name="T97" fmla="*/ 254 h 345"/>
                <a:gd name="T98" fmla="*/ 132 w 267"/>
                <a:gd name="T99" fmla="*/ 247 h 345"/>
                <a:gd name="T100" fmla="*/ 119 w 267"/>
                <a:gd name="T101" fmla="*/ 239 h 345"/>
                <a:gd name="T102" fmla="*/ 104 w 267"/>
                <a:gd name="T103" fmla="*/ 226 h 345"/>
                <a:gd name="T104" fmla="*/ 91 w 267"/>
                <a:gd name="T105" fmla="*/ 229 h 345"/>
                <a:gd name="T106" fmla="*/ 83 w 267"/>
                <a:gd name="T107" fmla="*/ 234 h 345"/>
                <a:gd name="T108" fmla="*/ 62 w 267"/>
                <a:gd name="T109" fmla="*/ 242 h 345"/>
                <a:gd name="T110" fmla="*/ 44 w 267"/>
                <a:gd name="T111" fmla="*/ 244 h 345"/>
                <a:gd name="T112" fmla="*/ 29 w 267"/>
                <a:gd name="T113" fmla="*/ 239 h 345"/>
                <a:gd name="T114" fmla="*/ 36 w 267"/>
                <a:gd name="T115" fmla="*/ 221 h 345"/>
                <a:gd name="T116" fmla="*/ 44 w 267"/>
                <a:gd name="T117" fmla="*/ 203 h 345"/>
                <a:gd name="T118" fmla="*/ 39 w 267"/>
                <a:gd name="T119" fmla="*/ 195 h 345"/>
                <a:gd name="T120" fmla="*/ 21 w 267"/>
                <a:gd name="T121" fmla="*/ 187 h 345"/>
                <a:gd name="T122" fmla="*/ 10 w 267"/>
                <a:gd name="T123" fmla="*/ 172 h 345"/>
                <a:gd name="T124" fmla="*/ 3 w 267"/>
                <a:gd name="T125" fmla="*/ 16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" h="345">
                  <a:moveTo>
                    <a:pt x="0" y="153"/>
                  </a:moveTo>
                  <a:lnTo>
                    <a:pt x="0" y="153"/>
                  </a:lnTo>
                  <a:lnTo>
                    <a:pt x="0" y="153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3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5" y="140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9" y="112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4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99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41" y="104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4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5" y="102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3" y="96"/>
                  </a:lnTo>
                  <a:lnTo>
                    <a:pt x="73" y="94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3" y="89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3" y="86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3" y="8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3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5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0"/>
                  </a:lnTo>
                  <a:lnTo>
                    <a:pt x="104" y="60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24" y="55"/>
                  </a:lnTo>
                  <a:lnTo>
                    <a:pt x="127" y="55"/>
                  </a:lnTo>
                  <a:lnTo>
                    <a:pt x="127" y="55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0" y="42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3" y="39"/>
                  </a:lnTo>
                  <a:lnTo>
                    <a:pt x="153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4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1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79" y="3"/>
                  </a:lnTo>
                  <a:lnTo>
                    <a:pt x="181" y="3"/>
                  </a:lnTo>
                  <a:lnTo>
                    <a:pt x="181" y="3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6"/>
                  </a:lnTo>
                  <a:lnTo>
                    <a:pt x="192" y="8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92" y="11"/>
                  </a:lnTo>
                  <a:lnTo>
                    <a:pt x="192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7" y="11"/>
                  </a:lnTo>
                  <a:lnTo>
                    <a:pt x="197" y="13"/>
                  </a:lnTo>
                  <a:lnTo>
                    <a:pt x="199" y="13"/>
                  </a:lnTo>
                  <a:lnTo>
                    <a:pt x="199" y="16"/>
                  </a:lnTo>
                  <a:lnTo>
                    <a:pt x="199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5" y="24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9"/>
                  </a:lnTo>
                  <a:lnTo>
                    <a:pt x="207" y="32"/>
                  </a:lnTo>
                  <a:lnTo>
                    <a:pt x="212" y="34"/>
                  </a:lnTo>
                  <a:lnTo>
                    <a:pt x="212" y="37"/>
                  </a:lnTo>
                  <a:lnTo>
                    <a:pt x="215" y="37"/>
                  </a:lnTo>
                  <a:lnTo>
                    <a:pt x="215" y="39"/>
                  </a:lnTo>
                  <a:lnTo>
                    <a:pt x="215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3" y="42"/>
                  </a:lnTo>
                  <a:lnTo>
                    <a:pt x="223" y="44"/>
                  </a:lnTo>
                  <a:lnTo>
                    <a:pt x="223" y="44"/>
                  </a:lnTo>
                  <a:lnTo>
                    <a:pt x="223" y="47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52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5" y="57"/>
                  </a:lnTo>
                  <a:lnTo>
                    <a:pt x="223" y="57"/>
                  </a:lnTo>
                  <a:lnTo>
                    <a:pt x="225" y="57"/>
                  </a:lnTo>
                  <a:lnTo>
                    <a:pt x="225" y="60"/>
                  </a:lnTo>
                  <a:lnTo>
                    <a:pt x="225" y="60"/>
                  </a:lnTo>
                  <a:lnTo>
                    <a:pt x="225" y="63"/>
                  </a:lnTo>
                  <a:lnTo>
                    <a:pt x="225" y="65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5" y="68"/>
                  </a:lnTo>
                  <a:lnTo>
                    <a:pt x="225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18" y="70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2" y="68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81"/>
                  </a:lnTo>
                  <a:lnTo>
                    <a:pt x="207" y="81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10" y="86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10" y="94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5" y="96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8" y="120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2" y="117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5"/>
                  </a:lnTo>
                  <a:lnTo>
                    <a:pt x="207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9" y="138"/>
                  </a:lnTo>
                  <a:lnTo>
                    <a:pt x="202" y="138"/>
                  </a:lnTo>
                  <a:lnTo>
                    <a:pt x="202" y="140"/>
                  </a:lnTo>
                  <a:lnTo>
                    <a:pt x="202" y="143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51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6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6" y="156"/>
                  </a:lnTo>
                  <a:lnTo>
                    <a:pt x="186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4"/>
                  </a:lnTo>
                  <a:lnTo>
                    <a:pt x="194" y="164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9"/>
                  </a:lnTo>
                  <a:lnTo>
                    <a:pt x="197" y="169"/>
                  </a:lnTo>
                  <a:lnTo>
                    <a:pt x="199" y="169"/>
                  </a:lnTo>
                  <a:lnTo>
                    <a:pt x="202" y="169"/>
                  </a:lnTo>
                  <a:lnTo>
                    <a:pt x="205" y="169"/>
                  </a:lnTo>
                  <a:lnTo>
                    <a:pt x="207" y="166"/>
                  </a:lnTo>
                  <a:lnTo>
                    <a:pt x="210" y="166"/>
                  </a:lnTo>
                  <a:lnTo>
                    <a:pt x="212" y="164"/>
                  </a:lnTo>
                  <a:lnTo>
                    <a:pt x="215" y="164"/>
                  </a:lnTo>
                  <a:lnTo>
                    <a:pt x="220" y="161"/>
                  </a:lnTo>
                  <a:lnTo>
                    <a:pt x="223" y="161"/>
                  </a:lnTo>
                  <a:lnTo>
                    <a:pt x="225" y="159"/>
                  </a:lnTo>
                  <a:lnTo>
                    <a:pt x="228" y="159"/>
                  </a:lnTo>
                  <a:lnTo>
                    <a:pt x="233" y="159"/>
                  </a:lnTo>
                  <a:lnTo>
                    <a:pt x="236" y="159"/>
                  </a:lnTo>
                  <a:lnTo>
                    <a:pt x="238" y="161"/>
                  </a:lnTo>
                  <a:lnTo>
                    <a:pt x="243" y="166"/>
                  </a:lnTo>
                  <a:lnTo>
                    <a:pt x="246" y="169"/>
                  </a:lnTo>
                  <a:lnTo>
                    <a:pt x="246" y="172"/>
                  </a:lnTo>
                  <a:lnTo>
                    <a:pt x="246" y="174"/>
                  </a:lnTo>
                  <a:lnTo>
                    <a:pt x="249" y="174"/>
                  </a:lnTo>
                  <a:lnTo>
                    <a:pt x="249" y="179"/>
                  </a:lnTo>
                  <a:lnTo>
                    <a:pt x="249" y="182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2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6" y="200"/>
                  </a:lnTo>
                  <a:lnTo>
                    <a:pt x="256" y="203"/>
                  </a:lnTo>
                  <a:lnTo>
                    <a:pt x="256" y="205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8"/>
                  </a:lnTo>
                  <a:lnTo>
                    <a:pt x="262" y="208"/>
                  </a:lnTo>
                  <a:lnTo>
                    <a:pt x="259" y="210"/>
                  </a:lnTo>
                  <a:lnTo>
                    <a:pt x="259" y="210"/>
                  </a:lnTo>
                  <a:lnTo>
                    <a:pt x="256" y="213"/>
                  </a:lnTo>
                  <a:lnTo>
                    <a:pt x="256" y="213"/>
                  </a:lnTo>
                  <a:lnTo>
                    <a:pt x="254" y="213"/>
                  </a:lnTo>
                  <a:lnTo>
                    <a:pt x="254" y="213"/>
                  </a:lnTo>
                  <a:lnTo>
                    <a:pt x="251" y="216"/>
                  </a:lnTo>
                  <a:lnTo>
                    <a:pt x="251" y="218"/>
                  </a:lnTo>
                  <a:lnTo>
                    <a:pt x="249" y="218"/>
                  </a:lnTo>
                  <a:lnTo>
                    <a:pt x="249" y="221"/>
                  </a:lnTo>
                  <a:lnTo>
                    <a:pt x="251" y="226"/>
                  </a:lnTo>
                  <a:lnTo>
                    <a:pt x="251" y="229"/>
                  </a:lnTo>
                  <a:lnTo>
                    <a:pt x="254" y="231"/>
                  </a:lnTo>
                  <a:lnTo>
                    <a:pt x="254" y="231"/>
                  </a:lnTo>
                  <a:lnTo>
                    <a:pt x="256" y="234"/>
                  </a:lnTo>
                  <a:lnTo>
                    <a:pt x="256" y="236"/>
                  </a:lnTo>
                  <a:lnTo>
                    <a:pt x="256" y="236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42"/>
                  </a:lnTo>
                  <a:lnTo>
                    <a:pt x="256" y="244"/>
                  </a:lnTo>
                  <a:lnTo>
                    <a:pt x="256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62" y="254"/>
                  </a:lnTo>
                  <a:lnTo>
                    <a:pt x="262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62" y="260"/>
                  </a:lnTo>
                  <a:lnTo>
                    <a:pt x="262" y="262"/>
                  </a:lnTo>
                  <a:lnTo>
                    <a:pt x="264" y="262"/>
                  </a:lnTo>
                  <a:lnTo>
                    <a:pt x="264" y="262"/>
                  </a:lnTo>
                  <a:lnTo>
                    <a:pt x="267" y="262"/>
                  </a:lnTo>
                  <a:lnTo>
                    <a:pt x="267" y="265"/>
                  </a:lnTo>
                  <a:lnTo>
                    <a:pt x="264" y="267"/>
                  </a:lnTo>
                  <a:lnTo>
                    <a:pt x="264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64" y="273"/>
                  </a:lnTo>
                  <a:lnTo>
                    <a:pt x="264" y="273"/>
                  </a:lnTo>
                  <a:lnTo>
                    <a:pt x="267" y="270"/>
                  </a:lnTo>
                  <a:lnTo>
                    <a:pt x="264" y="273"/>
                  </a:lnTo>
                  <a:lnTo>
                    <a:pt x="264" y="275"/>
                  </a:lnTo>
                  <a:lnTo>
                    <a:pt x="264" y="275"/>
                  </a:lnTo>
                  <a:lnTo>
                    <a:pt x="264" y="278"/>
                  </a:lnTo>
                  <a:lnTo>
                    <a:pt x="262" y="278"/>
                  </a:lnTo>
                  <a:lnTo>
                    <a:pt x="262" y="280"/>
                  </a:lnTo>
                  <a:lnTo>
                    <a:pt x="262" y="280"/>
                  </a:lnTo>
                  <a:lnTo>
                    <a:pt x="259" y="283"/>
                  </a:lnTo>
                  <a:lnTo>
                    <a:pt x="259" y="283"/>
                  </a:lnTo>
                  <a:lnTo>
                    <a:pt x="262" y="286"/>
                  </a:lnTo>
                  <a:lnTo>
                    <a:pt x="262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2" y="291"/>
                  </a:lnTo>
                  <a:lnTo>
                    <a:pt x="259" y="291"/>
                  </a:lnTo>
                  <a:lnTo>
                    <a:pt x="259" y="293"/>
                  </a:lnTo>
                  <a:lnTo>
                    <a:pt x="256" y="293"/>
                  </a:lnTo>
                  <a:lnTo>
                    <a:pt x="254" y="296"/>
                  </a:lnTo>
                  <a:lnTo>
                    <a:pt x="254" y="296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4" y="301"/>
                  </a:lnTo>
                  <a:lnTo>
                    <a:pt x="254" y="301"/>
                  </a:lnTo>
                  <a:lnTo>
                    <a:pt x="254" y="304"/>
                  </a:lnTo>
                  <a:lnTo>
                    <a:pt x="251" y="304"/>
                  </a:lnTo>
                  <a:lnTo>
                    <a:pt x="251" y="306"/>
                  </a:lnTo>
                  <a:lnTo>
                    <a:pt x="251" y="309"/>
                  </a:lnTo>
                  <a:lnTo>
                    <a:pt x="251" y="314"/>
                  </a:lnTo>
                  <a:lnTo>
                    <a:pt x="251" y="317"/>
                  </a:lnTo>
                  <a:lnTo>
                    <a:pt x="249" y="319"/>
                  </a:lnTo>
                  <a:lnTo>
                    <a:pt x="249" y="322"/>
                  </a:lnTo>
                  <a:lnTo>
                    <a:pt x="246" y="324"/>
                  </a:lnTo>
                  <a:lnTo>
                    <a:pt x="246" y="327"/>
                  </a:lnTo>
                  <a:lnTo>
                    <a:pt x="243" y="330"/>
                  </a:lnTo>
                  <a:lnTo>
                    <a:pt x="243" y="332"/>
                  </a:lnTo>
                  <a:lnTo>
                    <a:pt x="243" y="335"/>
                  </a:lnTo>
                  <a:lnTo>
                    <a:pt x="241" y="337"/>
                  </a:lnTo>
                  <a:lnTo>
                    <a:pt x="241" y="340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25" y="343"/>
                  </a:lnTo>
                  <a:lnTo>
                    <a:pt x="223" y="340"/>
                  </a:lnTo>
                  <a:lnTo>
                    <a:pt x="220" y="340"/>
                  </a:lnTo>
                  <a:lnTo>
                    <a:pt x="220" y="340"/>
                  </a:lnTo>
                  <a:lnTo>
                    <a:pt x="218" y="337"/>
                  </a:lnTo>
                  <a:lnTo>
                    <a:pt x="215" y="337"/>
                  </a:lnTo>
                  <a:lnTo>
                    <a:pt x="215" y="337"/>
                  </a:lnTo>
                  <a:lnTo>
                    <a:pt x="212" y="335"/>
                  </a:lnTo>
                  <a:lnTo>
                    <a:pt x="212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07" y="335"/>
                  </a:lnTo>
                  <a:lnTo>
                    <a:pt x="207" y="332"/>
                  </a:lnTo>
                  <a:lnTo>
                    <a:pt x="207" y="332"/>
                  </a:lnTo>
                  <a:lnTo>
                    <a:pt x="205" y="332"/>
                  </a:lnTo>
                  <a:lnTo>
                    <a:pt x="205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199" y="330"/>
                  </a:lnTo>
                  <a:lnTo>
                    <a:pt x="199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89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4" y="327"/>
                  </a:lnTo>
                  <a:lnTo>
                    <a:pt x="184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27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1" y="330"/>
                  </a:lnTo>
                  <a:lnTo>
                    <a:pt x="171" y="330"/>
                  </a:lnTo>
                  <a:lnTo>
                    <a:pt x="168" y="330"/>
                  </a:lnTo>
                  <a:lnTo>
                    <a:pt x="168" y="330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3" y="324"/>
                  </a:lnTo>
                  <a:lnTo>
                    <a:pt x="161" y="324"/>
                  </a:lnTo>
                  <a:lnTo>
                    <a:pt x="158" y="324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5" y="319"/>
                  </a:lnTo>
                  <a:lnTo>
                    <a:pt x="155" y="317"/>
                  </a:lnTo>
                  <a:lnTo>
                    <a:pt x="153" y="317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2"/>
                  </a:lnTo>
                  <a:lnTo>
                    <a:pt x="155" y="312"/>
                  </a:lnTo>
                  <a:lnTo>
                    <a:pt x="153" y="309"/>
                  </a:lnTo>
                  <a:lnTo>
                    <a:pt x="153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5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5" y="306"/>
                  </a:lnTo>
                  <a:lnTo>
                    <a:pt x="142" y="306"/>
                  </a:lnTo>
                  <a:lnTo>
                    <a:pt x="142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12"/>
                  </a:lnTo>
                  <a:lnTo>
                    <a:pt x="140" y="312"/>
                  </a:lnTo>
                  <a:lnTo>
                    <a:pt x="137" y="309"/>
                  </a:lnTo>
                  <a:lnTo>
                    <a:pt x="137" y="309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4"/>
                  </a:lnTo>
                  <a:lnTo>
                    <a:pt x="132" y="304"/>
                  </a:lnTo>
                  <a:lnTo>
                    <a:pt x="132" y="301"/>
                  </a:lnTo>
                  <a:lnTo>
                    <a:pt x="132" y="301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32" y="296"/>
                  </a:lnTo>
                  <a:lnTo>
                    <a:pt x="132" y="296"/>
                  </a:lnTo>
                  <a:lnTo>
                    <a:pt x="132" y="293"/>
                  </a:lnTo>
                  <a:lnTo>
                    <a:pt x="135" y="293"/>
                  </a:lnTo>
                  <a:lnTo>
                    <a:pt x="135" y="296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5" y="291"/>
                  </a:lnTo>
                  <a:lnTo>
                    <a:pt x="135" y="288"/>
                  </a:lnTo>
                  <a:lnTo>
                    <a:pt x="135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2" y="286"/>
                  </a:lnTo>
                  <a:lnTo>
                    <a:pt x="140" y="286"/>
                  </a:lnTo>
                  <a:lnTo>
                    <a:pt x="140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3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5" y="270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32" y="270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29" y="267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9" y="257"/>
                  </a:lnTo>
                  <a:lnTo>
                    <a:pt x="132" y="257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9" y="252"/>
                  </a:lnTo>
                  <a:lnTo>
                    <a:pt x="129" y="249"/>
                  </a:lnTo>
                  <a:lnTo>
                    <a:pt x="129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29" y="244"/>
                  </a:lnTo>
                  <a:lnTo>
                    <a:pt x="129" y="244"/>
                  </a:lnTo>
                  <a:lnTo>
                    <a:pt x="129" y="242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9"/>
                  </a:lnTo>
                  <a:lnTo>
                    <a:pt x="124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19" y="239"/>
                  </a:lnTo>
                  <a:lnTo>
                    <a:pt x="119" y="236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6" y="231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6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1" y="226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4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3" y="239"/>
                  </a:lnTo>
                  <a:lnTo>
                    <a:pt x="73" y="239"/>
                  </a:lnTo>
                  <a:lnTo>
                    <a:pt x="70" y="239"/>
                  </a:lnTo>
                  <a:lnTo>
                    <a:pt x="67" y="242"/>
                  </a:lnTo>
                  <a:lnTo>
                    <a:pt x="65" y="244"/>
                  </a:lnTo>
                  <a:lnTo>
                    <a:pt x="65" y="247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2" y="244"/>
                  </a:lnTo>
                  <a:lnTo>
                    <a:pt x="62" y="242"/>
                  </a:lnTo>
                  <a:lnTo>
                    <a:pt x="62" y="242"/>
                  </a:lnTo>
                  <a:lnTo>
                    <a:pt x="62" y="244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4"/>
                  </a:lnTo>
                  <a:lnTo>
                    <a:pt x="57" y="244"/>
                  </a:lnTo>
                  <a:lnTo>
                    <a:pt x="57" y="244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49" y="247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7" y="244"/>
                  </a:lnTo>
                  <a:lnTo>
                    <a:pt x="47" y="244"/>
                  </a:lnTo>
                  <a:lnTo>
                    <a:pt x="44" y="244"/>
                  </a:lnTo>
                  <a:lnTo>
                    <a:pt x="44" y="247"/>
                  </a:lnTo>
                  <a:lnTo>
                    <a:pt x="41" y="247"/>
                  </a:lnTo>
                  <a:lnTo>
                    <a:pt x="41" y="244"/>
                  </a:lnTo>
                  <a:lnTo>
                    <a:pt x="39" y="244"/>
                  </a:lnTo>
                  <a:lnTo>
                    <a:pt x="39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1" y="234"/>
                  </a:lnTo>
                  <a:lnTo>
                    <a:pt x="31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6" y="226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4" y="223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44" y="213"/>
                  </a:lnTo>
                  <a:lnTo>
                    <a:pt x="41" y="213"/>
                  </a:lnTo>
                  <a:lnTo>
                    <a:pt x="41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7"/>
                  </a:lnTo>
                  <a:lnTo>
                    <a:pt x="36" y="197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4" y="195"/>
                  </a:lnTo>
                  <a:lnTo>
                    <a:pt x="34" y="195"/>
                  </a:lnTo>
                  <a:lnTo>
                    <a:pt x="31" y="195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0" y="177"/>
                  </a:lnTo>
                  <a:lnTo>
                    <a:pt x="13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8" y="172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5" y="172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3" y="161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0" y="156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2" name="Freeform 122"/>
            <p:cNvSpPr>
              <a:spLocks/>
            </p:cNvSpPr>
            <p:nvPr/>
          </p:nvSpPr>
          <p:spPr bwMode="auto">
            <a:xfrm>
              <a:off x="782" y="3061"/>
              <a:ext cx="267" cy="345"/>
            </a:xfrm>
            <a:custGeom>
              <a:avLst/>
              <a:gdLst>
                <a:gd name="T0" fmla="*/ 3 w 267"/>
                <a:gd name="T1" fmla="*/ 140 h 345"/>
                <a:gd name="T2" fmla="*/ 8 w 267"/>
                <a:gd name="T3" fmla="*/ 125 h 345"/>
                <a:gd name="T4" fmla="*/ 21 w 267"/>
                <a:gd name="T5" fmla="*/ 112 h 345"/>
                <a:gd name="T6" fmla="*/ 34 w 267"/>
                <a:gd name="T7" fmla="*/ 107 h 345"/>
                <a:gd name="T8" fmla="*/ 36 w 267"/>
                <a:gd name="T9" fmla="*/ 99 h 345"/>
                <a:gd name="T10" fmla="*/ 54 w 267"/>
                <a:gd name="T11" fmla="*/ 96 h 345"/>
                <a:gd name="T12" fmla="*/ 65 w 267"/>
                <a:gd name="T13" fmla="*/ 104 h 345"/>
                <a:gd name="T14" fmla="*/ 73 w 267"/>
                <a:gd name="T15" fmla="*/ 86 h 345"/>
                <a:gd name="T16" fmla="*/ 80 w 267"/>
                <a:gd name="T17" fmla="*/ 83 h 345"/>
                <a:gd name="T18" fmla="*/ 88 w 267"/>
                <a:gd name="T19" fmla="*/ 70 h 345"/>
                <a:gd name="T20" fmla="*/ 101 w 267"/>
                <a:gd name="T21" fmla="*/ 60 h 345"/>
                <a:gd name="T22" fmla="*/ 119 w 267"/>
                <a:gd name="T23" fmla="*/ 55 h 345"/>
                <a:gd name="T24" fmla="*/ 137 w 267"/>
                <a:gd name="T25" fmla="*/ 52 h 345"/>
                <a:gd name="T26" fmla="*/ 145 w 267"/>
                <a:gd name="T27" fmla="*/ 39 h 345"/>
                <a:gd name="T28" fmla="*/ 161 w 267"/>
                <a:gd name="T29" fmla="*/ 34 h 345"/>
                <a:gd name="T30" fmla="*/ 173 w 267"/>
                <a:gd name="T31" fmla="*/ 26 h 345"/>
                <a:gd name="T32" fmla="*/ 181 w 267"/>
                <a:gd name="T33" fmla="*/ 16 h 345"/>
                <a:gd name="T34" fmla="*/ 184 w 267"/>
                <a:gd name="T35" fmla="*/ 0 h 345"/>
                <a:gd name="T36" fmla="*/ 199 w 267"/>
                <a:gd name="T37" fmla="*/ 13 h 345"/>
                <a:gd name="T38" fmla="*/ 212 w 267"/>
                <a:gd name="T39" fmla="*/ 37 h 345"/>
                <a:gd name="T40" fmla="*/ 225 w 267"/>
                <a:gd name="T41" fmla="*/ 57 h 345"/>
                <a:gd name="T42" fmla="*/ 218 w 267"/>
                <a:gd name="T43" fmla="*/ 70 h 345"/>
                <a:gd name="T44" fmla="*/ 207 w 267"/>
                <a:gd name="T45" fmla="*/ 81 h 345"/>
                <a:gd name="T46" fmla="*/ 207 w 267"/>
                <a:gd name="T47" fmla="*/ 94 h 345"/>
                <a:gd name="T48" fmla="*/ 218 w 267"/>
                <a:gd name="T49" fmla="*/ 104 h 345"/>
                <a:gd name="T50" fmla="*/ 220 w 267"/>
                <a:gd name="T51" fmla="*/ 117 h 345"/>
                <a:gd name="T52" fmla="*/ 215 w 267"/>
                <a:gd name="T53" fmla="*/ 125 h 345"/>
                <a:gd name="T54" fmla="*/ 199 w 267"/>
                <a:gd name="T55" fmla="*/ 127 h 345"/>
                <a:gd name="T56" fmla="*/ 199 w 267"/>
                <a:gd name="T57" fmla="*/ 143 h 345"/>
                <a:gd name="T58" fmla="*/ 192 w 267"/>
                <a:gd name="T59" fmla="*/ 146 h 345"/>
                <a:gd name="T60" fmla="*/ 192 w 267"/>
                <a:gd name="T61" fmla="*/ 161 h 345"/>
                <a:gd name="T62" fmla="*/ 238 w 267"/>
                <a:gd name="T63" fmla="*/ 161 h 345"/>
                <a:gd name="T64" fmla="*/ 254 w 267"/>
                <a:gd name="T65" fmla="*/ 197 h 345"/>
                <a:gd name="T66" fmla="*/ 249 w 267"/>
                <a:gd name="T67" fmla="*/ 221 h 345"/>
                <a:gd name="T68" fmla="*/ 259 w 267"/>
                <a:gd name="T69" fmla="*/ 260 h 345"/>
                <a:gd name="T70" fmla="*/ 264 w 267"/>
                <a:gd name="T71" fmla="*/ 273 h 345"/>
                <a:gd name="T72" fmla="*/ 254 w 267"/>
                <a:gd name="T73" fmla="*/ 296 h 345"/>
                <a:gd name="T74" fmla="*/ 241 w 267"/>
                <a:gd name="T75" fmla="*/ 337 h 345"/>
                <a:gd name="T76" fmla="*/ 215 w 267"/>
                <a:gd name="T77" fmla="*/ 337 h 345"/>
                <a:gd name="T78" fmla="*/ 197 w 267"/>
                <a:gd name="T79" fmla="*/ 330 h 345"/>
                <a:gd name="T80" fmla="*/ 179 w 267"/>
                <a:gd name="T81" fmla="*/ 330 h 345"/>
                <a:gd name="T82" fmla="*/ 166 w 267"/>
                <a:gd name="T83" fmla="*/ 324 h 345"/>
                <a:gd name="T84" fmla="*/ 150 w 267"/>
                <a:gd name="T85" fmla="*/ 309 h 345"/>
                <a:gd name="T86" fmla="*/ 140 w 267"/>
                <a:gd name="T87" fmla="*/ 309 h 345"/>
                <a:gd name="T88" fmla="*/ 129 w 267"/>
                <a:gd name="T89" fmla="*/ 296 h 345"/>
                <a:gd name="T90" fmla="*/ 140 w 267"/>
                <a:gd name="T91" fmla="*/ 288 h 345"/>
                <a:gd name="T92" fmla="*/ 142 w 267"/>
                <a:gd name="T93" fmla="*/ 275 h 345"/>
                <a:gd name="T94" fmla="*/ 132 w 267"/>
                <a:gd name="T95" fmla="*/ 267 h 345"/>
                <a:gd name="T96" fmla="*/ 132 w 267"/>
                <a:gd name="T97" fmla="*/ 254 h 345"/>
                <a:gd name="T98" fmla="*/ 132 w 267"/>
                <a:gd name="T99" fmla="*/ 247 h 345"/>
                <a:gd name="T100" fmla="*/ 119 w 267"/>
                <a:gd name="T101" fmla="*/ 239 h 345"/>
                <a:gd name="T102" fmla="*/ 104 w 267"/>
                <a:gd name="T103" fmla="*/ 226 h 345"/>
                <a:gd name="T104" fmla="*/ 91 w 267"/>
                <a:gd name="T105" fmla="*/ 229 h 345"/>
                <a:gd name="T106" fmla="*/ 83 w 267"/>
                <a:gd name="T107" fmla="*/ 234 h 345"/>
                <a:gd name="T108" fmla="*/ 62 w 267"/>
                <a:gd name="T109" fmla="*/ 242 h 345"/>
                <a:gd name="T110" fmla="*/ 44 w 267"/>
                <a:gd name="T111" fmla="*/ 244 h 345"/>
                <a:gd name="T112" fmla="*/ 29 w 267"/>
                <a:gd name="T113" fmla="*/ 239 h 345"/>
                <a:gd name="T114" fmla="*/ 36 w 267"/>
                <a:gd name="T115" fmla="*/ 221 h 345"/>
                <a:gd name="T116" fmla="*/ 44 w 267"/>
                <a:gd name="T117" fmla="*/ 203 h 345"/>
                <a:gd name="T118" fmla="*/ 39 w 267"/>
                <a:gd name="T119" fmla="*/ 195 h 345"/>
                <a:gd name="T120" fmla="*/ 21 w 267"/>
                <a:gd name="T121" fmla="*/ 187 h 345"/>
                <a:gd name="T122" fmla="*/ 10 w 267"/>
                <a:gd name="T123" fmla="*/ 172 h 345"/>
                <a:gd name="T124" fmla="*/ 3 w 267"/>
                <a:gd name="T125" fmla="*/ 16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" h="345">
                  <a:moveTo>
                    <a:pt x="0" y="153"/>
                  </a:moveTo>
                  <a:lnTo>
                    <a:pt x="0" y="153"/>
                  </a:lnTo>
                  <a:lnTo>
                    <a:pt x="0" y="153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3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5" y="140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9" y="112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4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99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41" y="104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4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5" y="102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3" y="96"/>
                  </a:lnTo>
                  <a:lnTo>
                    <a:pt x="73" y="94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3" y="89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3" y="86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3" y="81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3"/>
                  </a:lnTo>
                  <a:lnTo>
                    <a:pt x="88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5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0"/>
                  </a:lnTo>
                  <a:lnTo>
                    <a:pt x="104" y="60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24" y="55"/>
                  </a:lnTo>
                  <a:lnTo>
                    <a:pt x="127" y="55"/>
                  </a:lnTo>
                  <a:lnTo>
                    <a:pt x="127" y="55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0" y="42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3" y="39"/>
                  </a:lnTo>
                  <a:lnTo>
                    <a:pt x="153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29"/>
                  </a:lnTo>
                  <a:lnTo>
                    <a:pt x="168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6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1"/>
                  </a:lnTo>
                  <a:lnTo>
                    <a:pt x="176" y="19"/>
                  </a:lnTo>
                  <a:lnTo>
                    <a:pt x="176" y="19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4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1" y="8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81" y="6"/>
                  </a:lnTo>
                  <a:lnTo>
                    <a:pt x="179" y="3"/>
                  </a:lnTo>
                  <a:lnTo>
                    <a:pt x="181" y="3"/>
                  </a:lnTo>
                  <a:lnTo>
                    <a:pt x="181" y="3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9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6"/>
                  </a:lnTo>
                  <a:lnTo>
                    <a:pt x="192" y="8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92" y="11"/>
                  </a:lnTo>
                  <a:lnTo>
                    <a:pt x="192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7" y="11"/>
                  </a:lnTo>
                  <a:lnTo>
                    <a:pt x="197" y="13"/>
                  </a:lnTo>
                  <a:lnTo>
                    <a:pt x="199" y="13"/>
                  </a:lnTo>
                  <a:lnTo>
                    <a:pt x="199" y="16"/>
                  </a:lnTo>
                  <a:lnTo>
                    <a:pt x="199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7" y="21"/>
                  </a:lnTo>
                  <a:lnTo>
                    <a:pt x="205" y="24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9"/>
                  </a:lnTo>
                  <a:lnTo>
                    <a:pt x="207" y="32"/>
                  </a:lnTo>
                  <a:lnTo>
                    <a:pt x="212" y="34"/>
                  </a:lnTo>
                  <a:lnTo>
                    <a:pt x="212" y="37"/>
                  </a:lnTo>
                  <a:lnTo>
                    <a:pt x="215" y="37"/>
                  </a:lnTo>
                  <a:lnTo>
                    <a:pt x="215" y="39"/>
                  </a:lnTo>
                  <a:lnTo>
                    <a:pt x="215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3" y="42"/>
                  </a:lnTo>
                  <a:lnTo>
                    <a:pt x="223" y="44"/>
                  </a:lnTo>
                  <a:lnTo>
                    <a:pt x="223" y="44"/>
                  </a:lnTo>
                  <a:lnTo>
                    <a:pt x="223" y="47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52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5" y="57"/>
                  </a:lnTo>
                  <a:lnTo>
                    <a:pt x="223" y="57"/>
                  </a:lnTo>
                  <a:lnTo>
                    <a:pt x="225" y="57"/>
                  </a:lnTo>
                  <a:lnTo>
                    <a:pt x="225" y="60"/>
                  </a:lnTo>
                  <a:lnTo>
                    <a:pt x="225" y="60"/>
                  </a:lnTo>
                  <a:lnTo>
                    <a:pt x="225" y="63"/>
                  </a:lnTo>
                  <a:lnTo>
                    <a:pt x="225" y="65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5" y="68"/>
                  </a:lnTo>
                  <a:lnTo>
                    <a:pt x="225" y="68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18" y="70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2" y="68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10" y="73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7" y="81"/>
                  </a:lnTo>
                  <a:lnTo>
                    <a:pt x="207" y="81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10" y="86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7" y="91"/>
                  </a:lnTo>
                  <a:lnTo>
                    <a:pt x="205" y="91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10" y="94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2" y="96"/>
                  </a:lnTo>
                  <a:lnTo>
                    <a:pt x="215" y="96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09"/>
                  </a:lnTo>
                  <a:lnTo>
                    <a:pt x="220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4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8" y="120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2" y="117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0"/>
                  </a:lnTo>
                  <a:lnTo>
                    <a:pt x="212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12" y="125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10" y="125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7" y="125"/>
                  </a:lnTo>
                  <a:lnTo>
                    <a:pt x="207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3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9" y="138"/>
                  </a:lnTo>
                  <a:lnTo>
                    <a:pt x="202" y="138"/>
                  </a:lnTo>
                  <a:lnTo>
                    <a:pt x="202" y="140"/>
                  </a:lnTo>
                  <a:lnTo>
                    <a:pt x="202" y="143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7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2" y="151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6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6" y="156"/>
                  </a:lnTo>
                  <a:lnTo>
                    <a:pt x="186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4"/>
                  </a:lnTo>
                  <a:lnTo>
                    <a:pt x="194" y="164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9"/>
                  </a:lnTo>
                  <a:lnTo>
                    <a:pt x="197" y="169"/>
                  </a:lnTo>
                  <a:lnTo>
                    <a:pt x="199" y="169"/>
                  </a:lnTo>
                  <a:lnTo>
                    <a:pt x="202" y="169"/>
                  </a:lnTo>
                  <a:lnTo>
                    <a:pt x="205" y="169"/>
                  </a:lnTo>
                  <a:lnTo>
                    <a:pt x="207" y="166"/>
                  </a:lnTo>
                  <a:lnTo>
                    <a:pt x="210" y="166"/>
                  </a:lnTo>
                  <a:lnTo>
                    <a:pt x="212" y="164"/>
                  </a:lnTo>
                  <a:lnTo>
                    <a:pt x="215" y="164"/>
                  </a:lnTo>
                  <a:lnTo>
                    <a:pt x="220" y="161"/>
                  </a:lnTo>
                  <a:lnTo>
                    <a:pt x="223" y="161"/>
                  </a:lnTo>
                  <a:lnTo>
                    <a:pt x="225" y="159"/>
                  </a:lnTo>
                  <a:lnTo>
                    <a:pt x="228" y="159"/>
                  </a:lnTo>
                  <a:lnTo>
                    <a:pt x="233" y="159"/>
                  </a:lnTo>
                  <a:lnTo>
                    <a:pt x="236" y="159"/>
                  </a:lnTo>
                  <a:lnTo>
                    <a:pt x="238" y="161"/>
                  </a:lnTo>
                  <a:lnTo>
                    <a:pt x="243" y="166"/>
                  </a:lnTo>
                  <a:lnTo>
                    <a:pt x="246" y="169"/>
                  </a:lnTo>
                  <a:lnTo>
                    <a:pt x="246" y="172"/>
                  </a:lnTo>
                  <a:lnTo>
                    <a:pt x="246" y="174"/>
                  </a:lnTo>
                  <a:lnTo>
                    <a:pt x="249" y="174"/>
                  </a:lnTo>
                  <a:lnTo>
                    <a:pt x="249" y="179"/>
                  </a:lnTo>
                  <a:lnTo>
                    <a:pt x="249" y="182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1" y="192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7"/>
                  </a:lnTo>
                  <a:lnTo>
                    <a:pt x="254" y="197"/>
                  </a:lnTo>
                  <a:lnTo>
                    <a:pt x="256" y="200"/>
                  </a:lnTo>
                  <a:lnTo>
                    <a:pt x="256" y="203"/>
                  </a:lnTo>
                  <a:lnTo>
                    <a:pt x="256" y="205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5"/>
                  </a:lnTo>
                  <a:lnTo>
                    <a:pt x="262" y="208"/>
                  </a:lnTo>
                  <a:lnTo>
                    <a:pt x="262" y="208"/>
                  </a:lnTo>
                  <a:lnTo>
                    <a:pt x="259" y="210"/>
                  </a:lnTo>
                  <a:lnTo>
                    <a:pt x="259" y="210"/>
                  </a:lnTo>
                  <a:lnTo>
                    <a:pt x="256" y="213"/>
                  </a:lnTo>
                  <a:lnTo>
                    <a:pt x="256" y="213"/>
                  </a:lnTo>
                  <a:lnTo>
                    <a:pt x="254" y="213"/>
                  </a:lnTo>
                  <a:lnTo>
                    <a:pt x="254" y="213"/>
                  </a:lnTo>
                  <a:lnTo>
                    <a:pt x="251" y="216"/>
                  </a:lnTo>
                  <a:lnTo>
                    <a:pt x="251" y="218"/>
                  </a:lnTo>
                  <a:lnTo>
                    <a:pt x="249" y="218"/>
                  </a:lnTo>
                  <a:lnTo>
                    <a:pt x="249" y="221"/>
                  </a:lnTo>
                  <a:lnTo>
                    <a:pt x="251" y="226"/>
                  </a:lnTo>
                  <a:lnTo>
                    <a:pt x="251" y="229"/>
                  </a:lnTo>
                  <a:lnTo>
                    <a:pt x="254" y="231"/>
                  </a:lnTo>
                  <a:lnTo>
                    <a:pt x="254" y="231"/>
                  </a:lnTo>
                  <a:lnTo>
                    <a:pt x="256" y="234"/>
                  </a:lnTo>
                  <a:lnTo>
                    <a:pt x="256" y="236"/>
                  </a:lnTo>
                  <a:lnTo>
                    <a:pt x="256" y="236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6" y="242"/>
                  </a:lnTo>
                  <a:lnTo>
                    <a:pt x="256" y="244"/>
                  </a:lnTo>
                  <a:lnTo>
                    <a:pt x="256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62" y="254"/>
                  </a:lnTo>
                  <a:lnTo>
                    <a:pt x="262" y="257"/>
                  </a:lnTo>
                  <a:lnTo>
                    <a:pt x="259" y="257"/>
                  </a:lnTo>
                  <a:lnTo>
                    <a:pt x="259" y="257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59" y="260"/>
                  </a:lnTo>
                  <a:lnTo>
                    <a:pt x="262" y="260"/>
                  </a:lnTo>
                  <a:lnTo>
                    <a:pt x="262" y="262"/>
                  </a:lnTo>
                  <a:lnTo>
                    <a:pt x="264" y="262"/>
                  </a:lnTo>
                  <a:lnTo>
                    <a:pt x="264" y="262"/>
                  </a:lnTo>
                  <a:lnTo>
                    <a:pt x="267" y="262"/>
                  </a:lnTo>
                  <a:lnTo>
                    <a:pt x="267" y="265"/>
                  </a:lnTo>
                  <a:lnTo>
                    <a:pt x="264" y="267"/>
                  </a:lnTo>
                  <a:lnTo>
                    <a:pt x="264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0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64" y="273"/>
                  </a:lnTo>
                  <a:lnTo>
                    <a:pt x="264" y="273"/>
                  </a:lnTo>
                  <a:lnTo>
                    <a:pt x="267" y="270"/>
                  </a:lnTo>
                  <a:lnTo>
                    <a:pt x="264" y="273"/>
                  </a:lnTo>
                  <a:lnTo>
                    <a:pt x="264" y="275"/>
                  </a:lnTo>
                  <a:lnTo>
                    <a:pt x="264" y="275"/>
                  </a:lnTo>
                  <a:lnTo>
                    <a:pt x="264" y="278"/>
                  </a:lnTo>
                  <a:lnTo>
                    <a:pt x="262" y="278"/>
                  </a:lnTo>
                  <a:lnTo>
                    <a:pt x="262" y="280"/>
                  </a:lnTo>
                  <a:lnTo>
                    <a:pt x="262" y="280"/>
                  </a:lnTo>
                  <a:lnTo>
                    <a:pt x="259" y="283"/>
                  </a:lnTo>
                  <a:lnTo>
                    <a:pt x="259" y="283"/>
                  </a:lnTo>
                  <a:lnTo>
                    <a:pt x="262" y="286"/>
                  </a:lnTo>
                  <a:lnTo>
                    <a:pt x="262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4" y="286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2" y="291"/>
                  </a:lnTo>
                  <a:lnTo>
                    <a:pt x="259" y="291"/>
                  </a:lnTo>
                  <a:lnTo>
                    <a:pt x="259" y="293"/>
                  </a:lnTo>
                  <a:lnTo>
                    <a:pt x="256" y="293"/>
                  </a:lnTo>
                  <a:lnTo>
                    <a:pt x="254" y="296"/>
                  </a:lnTo>
                  <a:lnTo>
                    <a:pt x="254" y="296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4" y="301"/>
                  </a:lnTo>
                  <a:lnTo>
                    <a:pt x="254" y="301"/>
                  </a:lnTo>
                  <a:lnTo>
                    <a:pt x="254" y="304"/>
                  </a:lnTo>
                  <a:lnTo>
                    <a:pt x="251" y="304"/>
                  </a:lnTo>
                  <a:lnTo>
                    <a:pt x="251" y="306"/>
                  </a:lnTo>
                  <a:lnTo>
                    <a:pt x="251" y="309"/>
                  </a:lnTo>
                  <a:lnTo>
                    <a:pt x="251" y="314"/>
                  </a:lnTo>
                  <a:lnTo>
                    <a:pt x="251" y="317"/>
                  </a:lnTo>
                  <a:lnTo>
                    <a:pt x="249" y="319"/>
                  </a:lnTo>
                  <a:lnTo>
                    <a:pt x="249" y="322"/>
                  </a:lnTo>
                  <a:lnTo>
                    <a:pt x="246" y="324"/>
                  </a:lnTo>
                  <a:lnTo>
                    <a:pt x="246" y="327"/>
                  </a:lnTo>
                  <a:lnTo>
                    <a:pt x="243" y="330"/>
                  </a:lnTo>
                  <a:lnTo>
                    <a:pt x="243" y="332"/>
                  </a:lnTo>
                  <a:lnTo>
                    <a:pt x="243" y="335"/>
                  </a:lnTo>
                  <a:lnTo>
                    <a:pt x="241" y="337"/>
                  </a:lnTo>
                  <a:lnTo>
                    <a:pt x="241" y="340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8" y="343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3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30" y="343"/>
                  </a:lnTo>
                  <a:lnTo>
                    <a:pt x="225" y="343"/>
                  </a:lnTo>
                  <a:lnTo>
                    <a:pt x="223" y="340"/>
                  </a:lnTo>
                  <a:lnTo>
                    <a:pt x="220" y="340"/>
                  </a:lnTo>
                  <a:lnTo>
                    <a:pt x="220" y="340"/>
                  </a:lnTo>
                  <a:lnTo>
                    <a:pt x="218" y="337"/>
                  </a:lnTo>
                  <a:lnTo>
                    <a:pt x="215" y="337"/>
                  </a:lnTo>
                  <a:lnTo>
                    <a:pt x="215" y="337"/>
                  </a:lnTo>
                  <a:lnTo>
                    <a:pt x="212" y="335"/>
                  </a:lnTo>
                  <a:lnTo>
                    <a:pt x="212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10" y="335"/>
                  </a:lnTo>
                  <a:lnTo>
                    <a:pt x="207" y="335"/>
                  </a:lnTo>
                  <a:lnTo>
                    <a:pt x="207" y="332"/>
                  </a:lnTo>
                  <a:lnTo>
                    <a:pt x="207" y="332"/>
                  </a:lnTo>
                  <a:lnTo>
                    <a:pt x="205" y="332"/>
                  </a:lnTo>
                  <a:lnTo>
                    <a:pt x="205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199" y="330"/>
                  </a:lnTo>
                  <a:lnTo>
                    <a:pt x="199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7" y="330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4" y="332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92" y="330"/>
                  </a:lnTo>
                  <a:lnTo>
                    <a:pt x="189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6" y="327"/>
                  </a:lnTo>
                  <a:lnTo>
                    <a:pt x="184" y="327"/>
                  </a:lnTo>
                  <a:lnTo>
                    <a:pt x="184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81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27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9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6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1" y="330"/>
                  </a:lnTo>
                  <a:lnTo>
                    <a:pt x="171" y="330"/>
                  </a:lnTo>
                  <a:lnTo>
                    <a:pt x="168" y="330"/>
                  </a:lnTo>
                  <a:lnTo>
                    <a:pt x="168" y="330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7"/>
                  </a:lnTo>
                  <a:lnTo>
                    <a:pt x="168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3" y="324"/>
                  </a:lnTo>
                  <a:lnTo>
                    <a:pt x="161" y="324"/>
                  </a:lnTo>
                  <a:lnTo>
                    <a:pt x="158" y="324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5" y="319"/>
                  </a:lnTo>
                  <a:lnTo>
                    <a:pt x="155" y="317"/>
                  </a:lnTo>
                  <a:lnTo>
                    <a:pt x="153" y="317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4"/>
                  </a:lnTo>
                  <a:lnTo>
                    <a:pt x="153" y="312"/>
                  </a:lnTo>
                  <a:lnTo>
                    <a:pt x="155" y="312"/>
                  </a:lnTo>
                  <a:lnTo>
                    <a:pt x="153" y="309"/>
                  </a:lnTo>
                  <a:lnTo>
                    <a:pt x="153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50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5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9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5" y="306"/>
                  </a:lnTo>
                  <a:lnTo>
                    <a:pt x="142" y="306"/>
                  </a:lnTo>
                  <a:lnTo>
                    <a:pt x="142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09"/>
                  </a:lnTo>
                  <a:lnTo>
                    <a:pt x="140" y="312"/>
                  </a:lnTo>
                  <a:lnTo>
                    <a:pt x="140" y="312"/>
                  </a:lnTo>
                  <a:lnTo>
                    <a:pt x="137" y="309"/>
                  </a:lnTo>
                  <a:lnTo>
                    <a:pt x="137" y="309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4"/>
                  </a:lnTo>
                  <a:lnTo>
                    <a:pt x="132" y="304"/>
                  </a:lnTo>
                  <a:lnTo>
                    <a:pt x="132" y="301"/>
                  </a:lnTo>
                  <a:lnTo>
                    <a:pt x="132" y="301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32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9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29" y="296"/>
                  </a:lnTo>
                  <a:lnTo>
                    <a:pt x="132" y="296"/>
                  </a:lnTo>
                  <a:lnTo>
                    <a:pt x="132" y="296"/>
                  </a:lnTo>
                  <a:lnTo>
                    <a:pt x="132" y="293"/>
                  </a:lnTo>
                  <a:lnTo>
                    <a:pt x="135" y="293"/>
                  </a:lnTo>
                  <a:lnTo>
                    <a:pt x="135" y="296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5" y="291"/>
                  </a:lnTo>
                  <a:lnTo>
                    <a:pt x="135" y="288"/>
                  </a:lnTo>
                  <a:lnTo>
                    <a:pt x="135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0" y="288"/>
                  </a:lnTo>
                  <a:lnTo>
                    <a:pt x="142" y="286"/>
                  </a:lnTo>
                  <a:lnTo>
                    <a:pt x="140" y="286"/>
                  </a:lnTo>
                  <a:lnTo>
                    <a:pt x="140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3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5" y="270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32" y="270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32" y="267"/>
                  </a:lnTo>
                  <a:lnTo>
                    <a:pt x="129" y="267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9" y="257"/>
                  </a:lnTo>
                  <a:lnTo>
                    <a:pt x="132" y="257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9" y="252"/>
                  </a:lnTo>
                  <a:lnTo>
                    <a:pt x="129" y="249"/>
                  </a:lnTo>
                  <a:lnTo>
                    <a:pt x="129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9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32" y="247"/>
                  </a:lnTo>
                  <a:lnTo>
                    <a:pt x="129" y="244"/>
                  </a:lnTo>
                  <a:lnTo>
                    <a:pt x="129" y="244"/>
                  </a:lnTo>
                  <a:lnTo>
                    <a:pt x="129" y="242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9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9"/>
                  </a:lnTo>
                  <a:lnTo>
                    <a:pt x="124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22" y="239"/>
                  </a:lnTo>
                  <a:lnTo>
                    <a:pt x="119" y="239"/>
                  </a:lnTo>
                  <a:lnTo>
                    <a:pt x="119" y="236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11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9" y="234"/>
                  </a:lnTo>
                  <a:lnTo>
                    <a:pt x="106" y="231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6"/>
                  </a:lnTo>
                  <a:lnTo>
                    <a:pt x="96" y="226"/>
                  </a:lnTo>
                  <a:lnTo>
                    <a:pt x="96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3" y="229"/>
                  </a:lnTo>
                  <a:lnTo>
                    <a:pt x="91" y="226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91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1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4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80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8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3" y="239"/>
                  </a:lnTo>
                  <a:lnTo>
                    <a:pt x="73" y="239"/>
                  </a:lnTo>
                  <a:lnTo>
                    <a:pt x="70" y="239"/>
                  </a:lnTo>
                  <a:lnTo>
                    <a:pt x="67" y="242"/>
                  </a:lnTo>
                  <a:lnTo>
                    <a:pt x="65" y="244"/>
                  </a:lnTo>
                  <a:lnTo>
                    <a:pt x="65" y="247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2" y="244"/>
                  </a:lnTo>
                  <a:lnTo>
                    <a:pt x="62" y="242"/>
                  </a:lnTo>
                  <a:lnTo>
                    <a:pt x="62" y="242"/>
                  </a:lnTo>
                  <a:lnTo>
                    <a:pt x="62" y="244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0" y="244"/>
                  </a:lnTo>
                  <a:lnTo>
                    <a:pt x="57" y="244"/>
                  </a:lnTo>
                  <a:lnTo>
                    <a:pt x="57" y="244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49" y="247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7" y="244"/>
                  </a:lnTo>
                  <a:lnTo>
                    <a:pt x="47" y="244"/>
                  </a:lnTo>
                  <a:lnTo>
                    <a:pt x="44" y="244"/>
                  </a:lnTo>
                  <a:lnTo>
                    <a:pt x="44" y="247"/>
                  </a:lnTo>
                  <a:lnTo>
                    <a:pt x="41" y="247"/>
                  </a:lnTo>
                  <a:lnTo>
                    <a:pt x="41" y="244"/>
                  </a:lnTo>
                  <a:lnTo>
                    <a:pt x="39" y="244"/>
                  </a:lnTo>
                  <a:lnTo>
                    <a:pt x="39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4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6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29" y="242"/>
                  </a:lnTo>
                  <a:lnTo>
                    <a:pt x="29" y="242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1" y="234"/>
                  </a:lnTo>
                  <a:lnTo>
                    <a:pt x="31" y="231"/>
                  </a:lnTo>
                  <a:lnTo>
                    <a:pt x="34" y="231"/>
                  </a:lnTo>
                  <a:lnTo>
                    <a:pt x="34" y="229"/>
                  </a:lnTo>
                  <a:lnTo>
                    <a:pt x="34" y="229"/>
                  </a:lnTo>
                  <a:lnTo>
                    <a:pt x="36" y="226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4" y="223"/>
                  </a:lnTo>
                  <a:lnTo>
                    <a:pt x="36" y="221"/>
                  </a:lnTo>
                  <a:lnTo>
                    <a:pt x="36" y="218"/>
                  </a:lnTo>
                  <a:lnTo>
                    <a:pt x="39" y="218"/>
                  </a:lnTo>
                  <a:lnTo>
                    <a:pt x="39" y="218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44" y="213"/>
                  </a:lnTo>
                  <a:lnTo>
                    <a:pt x="41" y="213"/>
                  </a:lnTo>
                  <a:lnTo>
                    <a:pt x="41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7"/>
                  </a:lnTo>
                  <a:lnTo>
                    <a:pt x="36" y="197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4" y="195"/>
                  </a:lnTo>
                  <a:lnTo>
                    <a:pt x="34" y="195"/>
                  </a:lnTo>
                  <a:lnTo>
                    <a:pt x="31" y="195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0" y="177"/>
                  </a:lnTo>
                  <a:lnTo>
                    <a:pt x="13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8" y="172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5" y="172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3" y="161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0" y="156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3" name="Freeform 123"/>
            <p:cNvSpPr>
              <a:spLocks/>
            </p:cNvSpPr>
            <p:nvPr/>
          </p:nvSpPr>
          <p:spPr bwMode="auto">
            <a:xfrm>
              <a:off x="937" y="3261"/>
              <a:ext cx="332" cy="397"/>
            </a:xfrm>
            <a:custGeom>
              <a:avLst/>
              <a:gdLst>
                <a:gd name="T0" fmla="*/ 8 w 332"/>
                <a:gd name="T1" fmla="*/ 309 h 397"/>
                <a:gd name="T2" fmla="*/ 26 w 332"/>
                <a:gd name="T3" fmla="*/ 244 h 397"/>
                <a:gd name="T4" fmla="*/ 57 w 332"/>
                <a:gd name="T5" fmla="*/ 182 h 397"/>
                <a:gd name="T6" fmla="*/ 96 w 332"/>
                <a:gd name="T7" fmla="*/ 114 h 397"/>
                <a:gd name="T8" fmla="*/ 104 w 332"/>
                <a:gd name="T9" fmla="*/ 80 h 397"/>
                <a:gd name="T10" fmla="*/ 101 w 332"/>
                <a:gd name="T11" fmla="*/ 47 h 397"/>
                <a:gd name="T12" fmla="*/ 122 w 332"/>
                <a:gd name="T13" fmla="*/ 34 h 397"/>
                <a:gd name="T14" fmla="*/ 132 w 332"/>
                <a:gd name="T15" fmla="*/ 36 h 397"/>
                <a:gd name="T16" fmla="*/ 151 w 332"/>
                <a:gd name="T17" fmla="*/ 57 h 397"/>
                <a:gd name="T18" fmla="*/ 148 w 332"/>
                <a:gd name="T19" fmla="*/ 70 h 397"/>
                <a:gd name="T20" fmla="*/ 171 w 332"/>
                <a:gd name="T21" fmla="*/ 52 h 397"/>
                <a:gd name="T22" fmla="*/ 192 w 332"/>
                <a:gd name="T23" fmla="*/ 39 h 397"/>
                <a:gd name="T24" fmla="*/ 210 w 332"/>
                <a:gd name="T25" fmla="*/ 21 h 397"/>
                <a:gd name="T26" fmla="*/ 207 w 332"/>
                <a:gd name="T27" fmla="*/ 16 h 397"/>
                <a:gd name="T28" fmla="*/ 215 w 332"/>
                <a:gd name="T29" fmla="*/ 3 h 397"/>
                <a:gd name="T30" fmla="*/ 231 w 332"/>
                <a:gd name="T31" fmla="*/ 3 h 397"/>
                <a:gd name="T32" fmla="*/ 241 w 332"/>
                <a:gd name="T33" fmla="*/ 18 h 397"/>
                <a:gd name="T34" fmla="*/ 259 w 332"/>
                <a:gd name="T35" fmla="*/ 18 h 397"/>
                <a:gd name="T36" fmla="*/ 262 w 332"/>
                <a:gd name="T37" fmla="*/ 44 h 397"/>
                <a:gd name="T38" fmla="*/ 275 w 332"/>
                <a:gd name="T39" fmla="*/ 54 h 397"/>
                <a:gd name="T40" fmla="*/ 285 w 332"/>
                <a:gd name="T41" fmla="*/ 49 h 397"/>
                <a:gd name="T42" fmla="*/ 295 w 332"/>
                <a:gd name="T43" fmla="*/ 70 h 397"/>
                <a:gd name="T44" fmla="*/ 293 w 332"/>
                <a:gd name="T45" fmla="*/ 88 h 397"/>
                <a:gd name="T46" fmla="*/ 290 w 332"/>
                <a:gd name="T47" fmla="*/ 96 h 397"/>
                <a:gd name="T48" fmla="*/ 298 w 332"/>
                <a:gd name="T49" fmla="*/ 109 h 397"/>
                <a:gd name="T50" fmla="*/ 301 w 332"/>
                <a:gd name="T51" fmla="*/ 119 h 397"/>
                <a:gd name="T52" fmla="*/ 306 w 332"/>
                <a:gd name="T53" fmla="*/ 130 h 397"/>
                <a:gd name="T54" fmla="*/ 314 w 332"/>
                <a:gd name="T55" fmla="*/ 132 h 397"/>
                <a:gd name="T56" fmla="*/ 324 w 332"/>
                <a:gd name="T57" fmla="*/ 145 h 397"/>
                <a:gd name="T58" fmla="*/ 327 w 332"/>
                <a:gd name="T59" fmla="*/ 161 h 397"/>
                <a:gd name="T60" fmla="*/ 324 w 332"/>
                <a:gd name="T61" fmla="*/ 176 h 397"/>
                <a:gd name="T62" fmla="*/ 327 w 332"/>
                <a:gd name="T63" fmla="*/ 184 h 397"/>
                <a:gd name="T64" fmla="*/ 327 w 332"/>
                <a:gd name="T65" fmla="*/ 197 h 397"/>
                <a:gd name="T66" fmla="*/ 319 w 332"/>
                <a:gd name="T67" fmla="*/ 200 h 397"/>
                <a:gd name="T68" fmla="*/ 306 w 332"/>
                <a:gd name="T69" fmla="*/ 197 h 397"/>
                <a:gd name="T70" fmla="*/ 311 w 332"/>
                <a:gd name="T71" fmla="*/ 207 h 397"/>
                <a:gd name="T72" fmla="*/ 303 w 332"/>
                <a:gd name="T73" fmla="*/ 228 h 397"/>
                <a:gd name="T74" fmla="*/ 283 w 332"/>
                <a:gd name="T75" fmla="*/ 233 h 397"/>
                <a:gd name="T76" fmla="*/ 277 w 332"/>
                <a:gd name="T77" fmla="*/ 254 h 397"/>
                <a:gd name="T78" fmla="*/ 290 w 332"/>
                <a:gd name="T79" fmla="*/ 290 h 397"/>
                <a:gd name="T80" fmla="*/ 290 w 332"/>
                <a:gd name="T81" fmla="*/ 329 h 397"/>
                <a:gd name="T82" fmla="*/ 293 w 332"/>
                <a:gd name="T83" fmla="*/ 347 h 397"/>
                <a:gd name="T84" fmla="*/ 293 w 332"/>
                <a:gd name="T85" fmla="*/ 371 h 397"/>
                <a:gd name="T86" fmla="*/ 280 w 332"/>
                <a:gd name="T87" fmla="*/ 368 h 397"/>
                <a:gd name="T88" fmla="*/ 249 w 332"/>
                <a:gd name="T89" fmla="*/ 384 h 397"/>
                <a:gd name="T90" fmla="*/ 239 w 332"/>
                <a:gd name="T91" fmla="*/ 384 h 397"/>
                <a:gd name="T92" fmla="*/ 207 w 332"/>
                <a:gd name="T93" fmla="*/ 373 h 397"/>
                <a:gd name="T94" fmla="*/ 171 w 332"/>
                <a:gd name="T95" fmla="*/ 347 h 397"/>
                <a:gd name="T96" fmla="*/ 187 w 332"/>
                <a:gd name="T97" fmla="*/ 373 h 397"/>
                <a:gd name="T98" fmla="*/ 163 w 332"/>
                <a:gd name="T99" fmla="*/ 358 h 397"/>
                <a:gd name="T100" fmla="*/ 151 w 332"/>
                <a:gd name="T101" fmla="*/ 366 h 397"/>
                <a:gd name="T102" fmla="*/ 145 w 332"/>
                <a:gd name="T103" fmla="*/ 360 h 397"/>
                <a:gd name="T104" fmla="*/ 138 w 332"/>
                <a:gd name="T105" fmla="*/ 358 h 397"/>
                <a:gd name="T106" fmla="*/ 125 w 332"/>
                <a:gd name="T107" fmla="*/ 353 h 397"/>
                <a:gd name="T108" fmla="*/ 112 w 332"/>
                <a:gd name="T109" fmla="*/ 353 h 397"/>
                <a:gd name="T110" fmla="*/ 107 w 332"/>
                <a:gd name="T111" fmla="*/ 376 h 397"/>
                <a:gd name="T112" fmla="*/ 122 w 332"/>
                <a:gd name="T113" fmla="*/ 376 h 397"/>
                <a:gd name="T114" fmla="*/ 109 w 332"/>
                <a:gd name="T115" fmla="*/ 386 h 397"/>
                <a:gd name="T116" fmla="*/ 78 w 332"/>
                <a:gd name="T117" fmla="*/ 381 h 397"/>
                <a:gd name="T118" fmla="*/ 44 w 332"/>
                <a:gd name="T119" fmla="*/ 389 h 397"/>
                <a:gd name="T120" fmla="*/ 21 w 332"/>
                <a:gd name="T121" fmla="*/ 389 h 397"/>
                <a:gd name="T122" fmla="*/ 8 w 332"/>
                <a:gd name="T123" fmla="*/ 38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397">
                  <a:moveTo>
                    <a:pt x="0" y="366"/>
                  </a:move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6" y="358"/>
                  </a:lnTo>
                  <a:lnTo>
                    <a:pt x="6" y="355"/>
                  </a:lnTo>
                  <a:lnTo>
                    <a:pt x="3" y="355"/>
                  </a:lnTo>
                  <a:lnTo>
                    <a:pt x="3" y="353"/>
                  </a:lnTo>
                  <a:lnTo>
                    <a:pt x="3" y="350"/>
                  </a:lnTo>
                  <a:lnTo>
                    <a:pt x="3" y="347"/>
                  </a:lnTo>
                  <a:lnTo>
                    <a:pt x="6" y="345"/>
                  </a:lnTo>
                  <a:lnTo>
                    <a:pt x="6" y="342"/>
                  </a:lnTo>
                  <a:lnTo>
                    <a:pt x="6" y="340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8" y="335"/>
                  </a:lnTo>
                  <a:lnTo>
                    <a:pt x="8" y="335"/>
                  </a:lnTo>
                  <a:lnTo>
                    <a:pt x="8" y="332"/>
                  </a:lnTo>
                  <a:lnTo>
                    <a:pt x="8" y="329"/>
                  </a:lnTo>
                  <a:lnTo>
                    <a:pt x="8" y="327"/>
                  </a:lnTo>
                  <a:lnTo>
                    <a:pt x="8" y="324"/>
                  </a:lnTo>
                  <a:lnTo>
                    <a:pt x="11" y="324"/>
                  </a:lnTo>
                  <a:lnTo>
                    <a:pt x="11" y="322"/>
                  </a:lnTo>
                  <a:lnTo>
                    <a:pt x="13" y="319"/>
                  </a:lnTo>
                  <a:lnTo>
                    <a:pt x="13" y="316"/>
                  </a:lnTo>
                  <a:lnTo>
                    <a:pt x="11" y="314"/>
                  </a:lnTo>
                  <a:lnTo>
                    <a:pt x="11" y="311"/>
                  </a:lnTo>
                  <a:lnTo>
                    <a:pt x="8" y="311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8" y="306"/>
                  </a:lnTo>
                  <a:lnTo>
                    <a:pt x="8" y="303"/>
                  </a:lnTo>
                  <a:lnTo>
                    <a:pt x="8" y="301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8" y="296"/>
                  </a:lnTo>
                  <a:lnTo>
                    <a:pt x="8" y="293"/>
                  </a:lnTo>
                  <a:lnTo>
                    <a:pt x="8" y="293"/>
                  </a:lnTo>
                  <a:lnTo>
                    <a:pt x="11" y="290"/>
                  </a:lnTo>
                  <a:lnTo>
                    <a:pt x="11" y="288"/>
                  </a:lnTo>
                  <a:lnTo>
                    <a:pt x="11" y="288"/>
                  </a:lnTo>
                  <a:lnTo>
                    <a:pt x="11" y="285"/>
                  </a:lnTo>
                  <a:lnTo>
                    <a:pt x="13" y="280"/>
                  </a:lnTo>
                  <a:lnTo>
                    <a:pt x="16" y="277"/>
                  </a:lnTo>
                  <a:lnTo>
                    <a:pt x="18" y="275"/>
                  </a:lnTo>
                  <a:lnTo>
                    <a:pt x="18" y="272"/>
                  </a:lnTo>
                  <a:lnTo>
                    <a:pt x="21" y="267"/>
                  </a:lnTo>
                  <a:lnTo>
                    <a:pt x="21" y="267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59"/>
                  </a:lnTo>
                  <a:lnTo>
                    <a:pt x="24" y="259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9"/>
                  </a:lnTo>
                  <a:lnTo>
                    <a:pt x="26" y="246"/>
                  </a:lnTo>
                  <a:lnTo>
                    <a:pt x="26" y="244"/>
                  </a:lnTo>
                  <a:lnTo>
                    <a:pt x="26" y="241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31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4" y="223"/>
                  </a:lnTo>
                  <a:lnTo>
                    <a:pt x="34" y="220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0"/>
                  </a:lnTo>
                  <a:lnTo>
                    <a:pt x="37" y="205"/>
                  </a:lnTo>
                  <a:lnTo>
                    <a:pt x="37" y="202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42" y="197"/>
                  </a:lnTo>
                  <a:lnTo>
                    <a:pt x="47" y="194"/>
                  </a:lnTo>
                  <a:lnTo>
                    <a:pt x="50" y="189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2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7" y="182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6"/>
                  </a:lnTo>
                  <a:lnTo>
                    <a:pt x="63" y="174"/>
                  </a:lnTo>
                  <a:lnTo>
                    <a:pt x="65" y="174"/>
                  </a:lnTo>
                  <a:lnTo>
                    <a:pt x="65" y="171"/>
                  </a:lnTo>
                  <a:lnTo>
                    <a:pt x="68" y="169"/>
                  </a:lnTo>
                  <a:lnTo>
                    <a:pt x="68" y="163"/>
                  </a:lnTo>
                  <a:lnTo>
                    <a:pt x="70" y="158"/>
                  </a:lnTo>
                  <a:lnTo>
                    <a:pt x="73" y="153"/>
                  </a:lnTo>
                  <a:lnTo>
                    <a:pt x="75" y="148"/>
                  </a:lnTo>
                  <a:lnTo>
                    <a:pt x="78" y="145"/>
                  </a:lnTo>
                  <a:lnTo>
                    <a:pt x="81" y="145"/>
                  </a:lnTo>
                  <a:lnTo>
                    <a:pt x="83" y="143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8" y="137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4" y="122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7"/>
                  </a:lnTo>
                  <a:lnTo>
                    <a:pt x="96" y="114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101" y="96"/>
                  </a:lnTo>
                  <a:lnTo>
                    <a:pt x="101" y="93"/>
                  </a:lnTo>
                  <a:lnTo>
                    <a:pt x="104" y="91"/>
                  </a:lnTo>
                  <a:lnTo>
                    <a:pt x="107" y="91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4" y="83"/>
                  </a:lnTo>
                  <a:lnTo>
                    <a:pt x="104" y="80"/>
                  </a:lnTo>
                  <a:lnTo>
                    <a:pt x="107" y="80"/>
                  </a:lnTo>
                  <a:lnTo>
                    <a:pt x="109" y="78"/>
                  </a:lnTo>
                  <a:lnTo>
                    <a:pt x="109" y="75"/>
                  </a:lnTo>
                  <a:lnTo>
                    <a:pt x="109" y="73"/>
                  </a:lnTo>
                  <a:lnTo>
                    <a:pt x="112" y="70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0"/>
                  </a:lnTo>
                  <a:lnTo>
                    <a:pt x="109" y="70"/>
                  </a:lnTo>
                  <a:lnTo>
                    <a:pt x="109" y="67"/>
                  </a:lnTo>
                  <a:lnTo>
                    <a:pt x="112" y="67"/>
                  </a:lnTo>
                  <a:lnTo>
                    <a:pt x="112" y="65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09" y="62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7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49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39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9" y="36"/>
                  </a:lnTo>
                  <a:lnTo>
                    <a:pt x="109" y="39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2"/>
                  </a:lnTo>
                  <a:lnTo>
                    <a:pt x="125" y="39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4"/>
                  </a:lnTo>
                  <a:lnTo>
                    <a:pt x="119" y="34"/>
                  </a:lnTo>
                  <a:lnTo>
                    <a:pt x="122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30" y="39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5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3" y="49"/>
                  </a:lnTo>
                  <a:lnTo>
                    <a:pt x="145" y="49"/>
                  </a:lnTo>
                  <a:lnTo>
                    <a:pt x="145" y="49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8" y="47"/>
                  </a:lnTo>
                  <a:lnTo>
                    <a:pt x="145" y="49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51" y="49"/>
                  </a:lnTo>
                  <a:lnTo>
                    <a:pt x="153" y="49"/>
                  </a:lnTo>
                  <a:lnTo>
                    <a:pt x="156" y="52"/>
                  </a:lnTo>
                  <a:lnTo>
                    <a:pt x="156" y="54"/>
                  </a:lnTo>
                  <a:lnTo>
                    <a:pt x="153" y="54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48" y="54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70"/>
                  </a:lnTo>
                  <a:lnTo>
                    <a:pt x="145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51" y="70"/>
                  </a:lnTo>
                  <a:lnTo>
                    <a:pt x="151" y="70"/>
                  </a:lnTo>
                  <a:lnTo>
                    <a:pt x="153" y="67"/>
                  </a:lnTo>
                  <a:lnTo>
                    <a:pt x="156" y="65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58" y="60"/>
                  </a:lnTo>
                  <a:lnTo>
                    <a:pt x="161" y="60"/>
                  </a:lnTo>
                  <a:lnTo>
                    <a:pt x="158" y="57"/>
                  </a:lnTo>
                  <a:lnTo>
                    <a:pt x="158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49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4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9" y="47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79" y="47"/>
                  </a:lnTo>
                  <a:lnTo>
                    <a:pt x="176" y="47"/>
                  </a:lnTo>
                  <a:lnTo>
                    <a:pt x="176" y="44"/>
                  </a:lnTo>
                  <a:lnTo>
                    <a:pt x="176" y="42"/>
                  </a:lnTo>
                  <a:lnTo>
                    <a:pt x="174" y="42"/>
                  </a:lnTo>
                  <a:lnTo>
                    <a:pt x="174" y="39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82" y="39"/>
                  </a:lnTo>
                  <a:lnTo>
                    <a:pt x="184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2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3"/>
                  </a:lnTo>
                  <a:lnTo>
                    <a:pt x="207" y="23"/>
                  </a:lnTo>
                  <a:lnTo>
                    <a:pt x="207" y="26"/>
                  </a:lnTo>
                  <a:lnTo>
                    <a:pt x="210" y="26"/>
                  </a:lnTo>
                  <a:lnTo>
                    <a:pt x="213" y="26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0" y="13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3"/>
                  </a:lnTo>
                  <a:lnTo>
                    <a:pt x="207" y="13"/>
                  </a:lnTo>
                  <a:lnTo>
                    <a:pt x="207" y="13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205" y="10"/>
                  </a:lnTo>
                  <a:lnTo>
                    <a:pt x="200" y="10"/>
                  </a:lnTo>
                  <a:lnTo>
                    <a:pt x="200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7" y="5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8" y="5"/>
                  </a:lnTo>
                  <a:lnTo>
                    <a:pt x="218" y="3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5"/>
                  </a:lnTo>
                  <a:lnTo>
                    <a:pt x="223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8" y="5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3" y="3"/>
                  </a:lnTo>
                  <a:lnTo>
                    <a:pt x="236" y="3"/>
                  </a:lnTo>
                  <a:lnTo>
                    <a:pt x="239" y="0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5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9" y="10"/>
                  </a:lnTo>
                  <a:lnTo>
                    <a:pt x="239" y="13"/>
                  </a:lnTo>
                  <a:lnTo>
                    <a:pt x="236" y="13"/>
                  </a:lnTo>
                  <a:lnTo>
                    <a:pt x="236" y="13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6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6" y="10"/>
                  </a:lnTo>
                  <a:lnTo>
                    <a:pt x="246" y="13"/>
                  </a:lnTo>
                  <a:lnTo>
                    <a:pt x="246" y="16"/>
                  </a:lnTo>
                  <a:lnTo>
                    <a:pt x="246" y="16"/>
                  </a:lnTo>
                  <a:lnTo>
                    <a:pt x="246" y="18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9" y="16"/>
                  </a:lnTo>
                  <a:lnTo>
                    <a:pt x="251" y="13"/>
                  </a:lnTo>
                  <a:lnTo>
                    <a:pt x="254" y="13"/>
                  </a:lnTo>
                  <a:lnTo>
                    <a:pt x="254" y="10"/>
                  </a:lnTo>
                  <a:lnTo>
                    <a:pt x="257" y="10"/>
                  </a:lnTo>
                  <a:lnTo>
                    <a:pt x="254" y="13"/>
                  </a:lnTo>
                  <a:lnTo>
                    <a:pt x="254" y="13"/>
                  </a:lnTo>
                  <a:lnTo>
                    <a:pt x="257" y="13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31"/>
                  </a:lnTo>
                  <a:lnTo>
                    <a:pt x="264" y="34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59" y="34"/>
                  </a:lnTo>
                  <a:lnTo>
                    <a:pt x="259" y="36"/>
                  </a:lnTo>
                  <a:lnTo>
                    <a:pt x="262" y="36"/>
                  </a:lnTo>
                  <a:lnTo>
                    <a:pt x="262" y="36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2" y="42"/>
                  </a:lnTo>
                  <a:lnTo>
                    <a:pt x="262" y="42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4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9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4"/>
                  </a:lnTo>
                  <a:lnTo>
                    <a:pt x="270" y="49"/>
                  </a:lnTo>
                  <a:lnTo>
                    <a:pt x="270" y="52"/>
                  </a:lnTo>
                  <a:lnTo>
                    <a:pt x="267" y="52"/>
                  </a:lnTo>
                  <a:lnTo>
                    <a:pt x="270" y="54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7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5" y="49"/>
                  </a:lnTo>
                  <a:lnTo>
                    <a:pt x="283" y="49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4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2"/>
                  </a:lnTo>
                  <a:lnTo>
                    <a:pt x="285" y="44"/>
                  </a:lnTo>
                  <a:lnTo>
                    <a:pt x="288" y="44"/>
                  </a:lnTo>
                  <a:lnTo>
                    <a:pt x="288" y="44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5" y="47"/>
                  </a:lnTo>
                  <a:lnTo>
                    <a:pt x="285" y="49"/>
                  </a:lnTo>
                  <a:lnTo>
                    <a:pt x="285" y="49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8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8" y="57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288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5"/>
                  </a:lnTo>
                  <a:lnTo>
                    <a:pt x="293" y="67"/>
                  </a:lnTo>
                  <a:lnTo>
                    <a:pt x="295" y="67"/>
                  </a:lnTo>
                  <a:lnTo>
                    <a:pt x="293" y="67"/>
                  </a:lnTo>
                  <a:lnTo>
                    <a:pt x="293" y="67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3" y="70"/>
                  </a:lnTo>
                  <a:lnTo>
                    <a:pt x="293" y="70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5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88" y="78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88" y="80"/>
                  </a:lnTo>
                  <a:lnTo>
                    <a:pt x="290" y="80"/>
                  </a:lnTo>
                  <a:lnTo>
                    <a:pt x="290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5" y="88"/>
                  </a:lnTo>
                  <a:lnTo>
                    <a:pt x="295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9"/>
                  </a:lnTo>
                  <a:lnTo>
                    <a:pt x="293" y="99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8" y="106"/>
                  </a:lnTo>
                  <a:lnTo>
                    <a:pt x="298" y="106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6" y="122"/>
                  </a:lnTo>
                  <a:lnTo>
                    <a:pt x="306" y="122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7"/>
                  </a:lnTo>
                  <a:lnTo>
                    <a:pt x="306" y="124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6" y="132"/>
                  </a:lnTo>
                  <a:lnTo>
                    <a:pt x="316" y="132"/>
                  </a:lnTo>
                  <a:lnTo>
                    <a:pt x="316" y="135"/>
                  </a:lnTo>
                  <a:lnTo>
                    <a:pt x="316" y="135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5"/>
                  </a:lnTo>
                  <a:lnTo>
                    <a:pt x="321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4" y="150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7" y="153"/>
                  </a:lnTo>
                  <a:lnTo>
                    <a:pt x="327" y="153"/>
                  </a:lnTo>
                  <a:lnTo>
                    <a:pt x="324" y="153"/>
                  </a:lnTo>
                  <a:lnTo>
                    <a:pt x="324" y="156"/>
                  </a:lnTo>
                  <a:lnTo>
                    <a:pt x="324" y="156"/>
                  </a:lnTo>
                  <a:lnTo>
                    <a:pt x="327" y="156"/>
                  </a:lnTo>
                  <a:lnTo>
                    <a:pt x="327" y="156"/>
                  </a:lnTo>
                  <a:lnTo>
                    <a:pt x="329" y="158"/>
                  </a:lnTo>
                  <a:lnTo>
                    <a:pt x="327" y="158"/>
                  </a:lnTo>
                  <a:lnTo>
                    <a:pt x="327" y="161"/>
                  </a:lnTo>
                  <a:lnTo>
                    <a:pt x="327" y="161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6"/>
                  </a:lnTo>
                  <a:lnTo>
                    <a:pt x="327" y="166"/>
                  </a:lnTo>
                  <a:lnTo>
                    <a:pt x="327" y="166"/>
                  </a:lnTo>
                  <a:lnTo>
                    <a:pt x="324" y="169"/>
                  </a:lnTo>
                  <a:lnTo>
                    <a:pt x="327" y="169"/>
                  </a:lnTo>
                  <a:lnTo>
                    <a:pt x="327" y="169"/>
                  </a:lnTo>
                  <a:lnTo>
                    <a:pt x="329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9" y="171"/>
                  </a:lnTo>
                  <a:lnTo>
                    <a:pt x="327" y="174"/>
                  </a:lnTo>
                  <a:lnTo>
                    <a:pt x="327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7" y="184"/>
                  </a:lnTo>
                  <a:lnTo>
                    <a:pt x="327" y="184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32" y="189"/>
                  </a:lnTo>
                  <a:lnTo>
                    <a:pt x="332" y="189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29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2" y="194"/>
                  </a:lnTo>
                  <a:lnTo>
                    <a:pt x="329" y="194"/>
                  </a:lnTo>
                  <a:lnTo>
                    <a:pt x="329" y="197"/>
                  </a:lnTo>
                  <a:lnTo>
                    <a:pt x="329" y="197"/>
                  </a:lnTo>
                  <a:lnTo>
                    <a:pt x="327" y="197"/>
                  </a:lnTo>
                  <a:lnTo>
                    <a:pt x="327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7" y="194"/>
                  </a:lnTo>
                  <a:lnTo>
                    <a:pt x="327" y="194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4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19" y="197"/>
                  </a:lnTo>
                  <a:lnTo>
                    <a:pt x="319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6" y="189"/>
                  </a:lnTo>
                  <a:lnTo>
                    <a:pt x="308" y="192"/>
                  </a:lnTo>
                  <a:lnTo>
                    <a:pt x="308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5"/>
                  </a:lnTo>
                  <a:lnTo>
                    <a:pt x="314" y="205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3"/>
                  </a:lnTo>
                  <a:lnTo>
                    <a:pt x="311" y="213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4" y="215"/>
                  </a:lnTo>
                  <a:lnTo>
                    <a:pt x="314" y="218"/>
                  </a:lnTo>
                  <a:lnTo>
                    <a:pt x="311" y="218"/>
                  </a:lnTo>
                  <a:lnTo>
                    <a:pt x="311" y="220"/>
                  </a:lnTo>
                  <a:lnTo>
                    <a:pt x="311" y="220"/>
                  </a:lnTo>
                  <a:lnTo>
                    <a:pt x="314" y="220"/>
                  </a:lnTo>
                  <a:lnTo>
                    <a:pt x="314" y="220"/>
                  </a:lnTo>
                  <a:lnTo>
                    <a:pt x="314" y="223"/>
                  </a:lnTo>
                  <a:lnTo>
                    <a:pt x="314" y="223"/>
                  </a:lnTo>
                  <a:lnTo>
                    <a:pt x="311" y="223"/>
                  </a:lnTo>
                  <a:lnTo>
                    <a:pt x="308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3" y="223"/>
                  </a:lnTo>
                  <a:lnTo>
                    <a:pt x="303" y="223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8"/>
                  </a:lnTo>
                  <a:lnTo>
                    <a:pt x="303" y="228"/>
                  </a:lnTo>
                  <a:lnTo>
                    <a:pt x="301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5" y="233"/>
                  </a:lnTo>
                  <a:lnTo>
                    <a:pt x="293" y="233"/>
                  </a:lnTo>
                  <a:lnTo>
                    <a:pt x="293" y="233"/>
                  </a:lnTo>
                  <a:lnTo>
                    <a:pt x="290" y="233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88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0" y="233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0" y="236"/>
                  </a:lnTo>
                  <a:lnTo>
                    <a:pt x="280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0" y="239"/>
                  </a:lnTo>
                  <a:lnTo>
                    <a:pt x="280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5" y="246"/>
                  </a:lnTo>
                  <a:lnTo>
                    <a:pt x="275" y="249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80" y="254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9"/>
                  </a:lnTo>
                  <a:lnTo>
                    <a:pt x="283" y="259"/>
                  </a:lnTo>
                  <a:lnTo>
                    <a:pt x="283" y="262"/>
                  </a:lnTo>
                  <a:lnTo>
                    <a:pt x="283" y="265"/>
                  </a:lnTo>
                  <a:lnTo>
                    <a:pt x="285" y="265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5" y="272"/>
                  </a:lnTo>
                  <a:lnTo>
                    <a:pt x="285" y="272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5"/>
                  </a:lnTo>
                  <a:lnTo>
                    <a:pt x="290" y="288"/>
                  </a:lnTo>
                  <a:lnTo>
                    <a:pt x="290" y="290"/>
                  </a:lnTo>
                  <a:lnTo>
                    <a:pt x="293" y="293"/>
                  </a:lnTo>
                  <a:lnTo>
                    <a:pt x="293" y="296"/>
                  </a:lnTo>
                  <a:lnTo>
                    <a:pt x="293" y="298"/>
                  </a:lnTo>
                  <a:lnTo>
                    <a:pt x="293" y="301"/>
                  </a:lnTo>
                  <a:lnTo>
                    <a:pt x="293" y="303"/>
                  </a:lnTo>
                  <a:lnTo>
                    <a:pt x="293" y="303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11"/>
                  </a:lnTo>
                  <a:lnTo>
                    <a:pt x="290" y="314"/>
                  </a:lnTo>
                  <a:lnTo>
                    <a:pt x="290" y="316"/>
                  </a:lnTo>
                  <a:lnTo>
                    <a:pt x="290" y="319"/>
                  </a:lnTo>
                  <a:lnTo>
                    <a:pt x="290" y="319"/>
                  </a:lnTo>
                  <a:lnTo>
                    <a:pt x="288" y="319"/>
                  </a:lnTo>
                  <a:lnTo>
                    <a:pt x="288" y="322"/>
                  </a:lnTo>
                  <a:lnTo>
                    <a:pt x="288" y="322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32"/>
                  </a:lnTo>
                  <a:lnTo>
                    <a:pt x="290" y="332"/>
                  </a:lnTo>
                  <a:lnTo>
                    <a:pt x="288" y="335"/>
                  </a:lnTo>
                  <a:lnTo>
                    <a:pt x="288" y="335"/>
                  </a:lnTo>
                  <a:lnTo>
                    <a:pt x="290" y="335"/>
                  </a:lnTo>
                  <a:lnTo>
                    <a:pt x="290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90" y="337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90" y="342"/>
                  </a:lnTo>
                  <a:lnTo>
                    <a:pt x="293" y="342"/>
                  </a:lnTo>
                  <a:lnTo>
                    <a:pt x="293" y="345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5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0" y="355"/>
                  </a:lnTo>
                  <a:lnTo>
                    <a:pt x="290" y="358"/>
                  </a:lnTo>
                  <a:lnTo>
                    <a:pt x="290" y="360"/>
                  </a:lnTo>
                  <a:lnTo>
                    <a:pt x="293" y="363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71"/>
                  </a:lnTo>
                  <a:lnTo>
                    <a:pt x="293" y="371"/>
                  </a:lnTo>
                  <a:lnTo>
                    <a:pt x="290" y="371"/>
                  </a:lnTo>
                  <a:lnTo>
                    <a:pt x="290" y="373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9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1"/>
                  </a:lnTo>
                  <a:lnTo>
                    <a:pt x="285" y="371"/>
                  </a:lnTo>
                  <a:lnTo>
                    <a:pt x="285" y="368"/>
                  </a:lnTo>
                  <a:lnTo>
                    <a:pt x="283" y="368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68"/>
                  </a:lnTo>
                  <a:lnTo>
                    <a:pt x="280" y="368"/>
                  </a:lnTo>
                  <a:lnTo>
                    <a:pt x="277" y="371"/>
                  </a:lnTo>
                  <a:lnTo>
                    <a:pt x="277" y="371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2" y="373"/>
                  </a:lnTo>
                  <a:lnTo>
                    <a:pt x="272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64" y="371"/>
                  </a:lnTo>
                  <a:lnTo>
                    <a:pt x="262" y="371"/>
                  </a:lnTo>
                  <a:lnTo>
                    <a:pt x="262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3"/>
                  </a:lnTo>
                  <a:lnTo>
                    <a:pt x="259" y="373"/>
                  </a:lnTo>
                  <a:lnTo>
                    <a:pt x="257" y="373"/>
                  </a:lnTo>
                  <a:lnTo>
                    <a:pt x="257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9"/>
                  </a:lnTo>
                  <a:lnTo>
                    <a:pt x="251" y="381"/>
                  </a:lnTo>
                  <a:lnTo>
                    <a:pt x="251" y="381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4" y="384"/>
                  </a:lnTo>
                  <a:lnTo>
                    <a:pt x="244" y="384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4"/>
                  </a:lnTo>
                  <a:lnTo>
                    <a:pt x="241" y="384"/>
                  </a:lnTo>
                  <a:lnTo>
                    <a:pt x="241" y="384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39" y="381"/>
                  </a:lnTo>
                  <a:lnTo>
                    <a:pt x="239" y="381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6" y="386"/>
                  </a:lnTo>
                  <a:lnTo>
                    <a:pt x="236" y="386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1" y="386"/>
                  </a:lnTo>
                  <a:lnTo>
                    <a:pt x="231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4"/>
                  </a:lnTo>
                  <a:lnTo>
                    <a:pt x="226" y="384"/>
                  </a:lnTo>
                  <a:lnTo>
                    <a:pt x="226" y="381"/>
                  </a:lnTo>
                  <a:lnTo>
                    <a:pt x="223" y="381"/>
                  </a:lnTo>
                  <a:lnTo>
                    <a:pt x="223" y="379"/>
                  </a:lnTo>
                  <a:lnTo>
                    <a:pt x="223" y="376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3"/>
                  </a:lnTo>
                  <a:lnTo>
                    <a:pt x="213" y="373"/>
                  </a:lnTo>
                  <a:lnTo>
                    <a:pt x="210" y="371"/>
                  </a:lnTo>
                  <a:lnTo>
                    <a:pt x="210" y="371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5" y="373"/>
                  </a:lnTo>
                  <a:lnTo>
                    <a:pt x="205" y="373"/>
                  </a:lnTo>
                  <a:lnTo>
                    <a:pt x="202" y="371"/>
                  </a:lnTo>
                  <a:lnTo>
                    <a:pt x="202" y="371"/>
                  </a:lnTo>
                  <a:lnTo>
                    <a:pt x="195" y="368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2" y="366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89" y="358"/>
                  </a:lnTo>
                  <a:lnTo>
                    <a:pt x="187" y="355"/>
                  </a:lnTo>
                  <a:lnTo>
                    <a:pt x="187" y="355"/>
                  </a:lnTo>
                  <a:lnTo>
                    <a:pt x="184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4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50"/>
                  </a:lnTo>
                  <a:lnTo>
                    <a:pt x="174" y="353"/>
                  </a:lnTo>
                  <a:lnTo>
                    <a:pt x="174" y="353"/>
                  </a:lnTo>
                  <a:lnTo>
                    <a:pt x="179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4" y="358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7" y="360"/>
                  </a:lnTo>
                  <a:lnTo>
                    <a:pt x="187" y="363"/>
                  </a:lnTo>
                  <a:lnTo>
                    <a:pt x="187" y="363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9" y="368"/>
                  </a:lnTo>
                  <a:lnTo>
                    <a:pt x="189" y="368"/>
                  </a:lnTo>
                  <a:lnTo>
                    <a:pt x="189" y="371"/>
                  </a:lnTo>
                  <a:lnTo>
                    <a:pt x="189" y="371"/>
                  </a:lnTo>
                  <a:lnTo>
                    <a:pt x="189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2" y="371"/>
                  </a:lnTo>
                  <a:lnTo>
                    <a:pt x="182" y="371"/>
                  </a:lnTo>
                  <a:lnTo>
                    <a:pt x="179" y="371"/>
                  </a:lnTo>
                  <a:lnTo>
                    <a:pt x="179" y="368"/>
                  </a:lnTo>
                  <a:lnTo>
                    <a:pt x="176" y="368"/>
                  </a:lnTo>
                  <a:lnTo>
                    <a:pt x="174" y="368"/>
                  </a:lnTo>
                  <a:lnTo>
                    <a:pt x="174" y="368"/>
                  </a:lnTo>
                  <a:lnTo>
                    <a:pt x="171" y="368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4" y="366"/>
                  </a:lnTo>
                  <a:lnTo>
                    <a:pt x="174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6"/>
                  </a:lnTo>
                  <a:lnTo>
                    <a:pt x="174" y="363"/>
                  </a:lnTo>
                  <a:lnTo>
                    <a:pt x="171" y="363"/>
                  </a:lnTo>
                  <a:lnTo>
                    <a:pt x="171" y="363"/>
                  </a:lnTo>
                  <a:lnTo>
                    <a:pt x="169" y="360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3" y="358"/>
                  </a:lnTo>
                  <a:lnTo>
                    <a:pt x="166" y="360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0"/>
                  </a:lnTo>
                  <a:lnTo>
                    <a:pt x="163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3"/>
                  </a:lnTo>
                  <a:lnTo>
                    <a:pt x="161" y="363"/>
                  </a:lnTo>
                  <a:lnTo>
                    <a:pt x="163" y="363"/>
                  </a:lnTo>
                  <a:lnTo>
                    <a:pt x="163" y="363"/>
                  </a:lnTo>
                  <a:lnTo>
                    <a:pt x="166" y="366"/>
                  </a:lnTo>
                  <a:lnTo>
                    <a:pt x="166" y="368"/>
                  </a:lnTo>
                  <a:lnTo>
                    <a:pt x="166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8" y="373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6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3" y="368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48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3"/>
                  </a:lnTo>
                  <a:lnTo>
                    <a:pt x="143" y="360"/>
                  </a:lnTo>
                  <a:lnTo>
                    <a:pt x="143" y="363"/>
                  </a:lnTo>
                  <a:lnTo>
                    <a:pt x="143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5" y="366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3" y="368"/>
                  </a:lnTo>
                  <a:lnTo>
                    <a:pt x="143" y="371"/>
                  </a:lnTo>
                  <a:lnTo>
                    <a:pt x="140" y="371"/>
                  </a:lnTo>
                  <a:lnTo>
                    <a:pt x="140" y="368"/>
                  </a:lnTo>
                  <a:lnTo>
                    <a:pt x="138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8" y="363"/>
                  </a:lnTo>
                  <a:lnTo>
                    <a:pt x="135" y="363"/>
                  </a:lnTo>
                  <a:lnTo>
                    <a:pt x="135" y="363"/>
                  </a:lnTo>
                  <a:lnTo>
                    <a:pt x="135" y="360"/>
                  </a:lnTo>
                  <a:lnTo>
                    <a:pt x="135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27" y="350"/>
                  </a:lnTo>
                  <a:lnTo>
                    <a:pt x="127" y="350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2" y="353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2" y="347"/>
                  </a:lnTo>
                  <a:lnTo>
                    <a:pt x="122" y="347"/>
                  </a:lnTo>
                  <a:lnTo>
                    <a:pt x="122" y="350"/>
                  </a:lnTo>
                  <a:lnTo>
                    <a:pt x="119" y="350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7" y="347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9" y="350"/>
                  </a:lnTo>
                  <a:lnTo>
                    <a:pt x="119" y="350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09" y="353"/>
                  </a:lnTo>
                  <a:lnTo>
                    <a:pt x="109" y="355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4" y="360"/>
                  </a:lnTo>
                  <a:lnTo>
                    <a:pt x="104" y="360"/>
                  </a:lnTo>
                  <a:lnTo>
                    <a:pt x="107" y="360"/>
                  </a:lnTo>
                  <a:lnTo>
                    <a:pt x="107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99" y="368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1"/>
                  </a:lnTo>
                  <a:lnTo>
                    <a:pt x="99" y="371"/>
                  </a:lnTo>
                  <a:lnTo>
                    <a:pt x="101" y="373"/>
                  </a:lnTo>
                  <a:lnTo>
                    <a:pt x="104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9"/>
                  </a:lnTo>
                  <a:lnTo>
                    <a:pt x="109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12" y="376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7" y="373"/>
                  </a:lnTo>
                  <a:lnTo>
                    <a:pt x="117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22" y="371"/>
                  </a:lnTo>
                  <a:lnTo>
                    <a:pt x="122" y="371"/>
                  </a:lnTo>
                  <a:lnTo>
                    <a:pt x="122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6"/>
                  </a:lnTo>
                  <a:lnTo>
                    <a:pt x="125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3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2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7" y="384"/>
                  </a:lnTo>
                  <a:lnTo>
                    <a:pt x="117" y="384"/>
                  </a:lnTo>
                  <a:lnTo>
                    <a:pt x="119" y="381"/>
                  </a:lnTo>
                  <a:lnTo>
                    <a:pt x="117" y="379"/>
                  </a:lnTo>
                  <a:lnTo>
                    <a:pt x="117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2" y="379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09" y="381"/>
                  </a:lnTo>
                  <a:lnTo>
                    <a:pt x="109" y="381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6"/>
                  </a:lnTo>
                  <a:lnTo>
                    <a:pt x="107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7" y="389"/>
                  </a:lnTo>
                  <a:lnTo>
                    <a:pt x="104" y="389"/>
                  </a:lnTo>
                  <a:lnTo>
                    <a:pt x="101" y="389"/>
                  </a:lnTo>
                  <a:lnTo>
                    <a:pt x="101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6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4" y="389"/>
                  </a:lnTo>
                  <a:lnTo>
                    <a:pt x="91" y="389"/>
                  </a:lnTo>
                  <a:lnTo>
                    <a:pt x="88" y="386"/>
                  </a:lnTo>
                  <a:lnTo>
                    <a:pt x="88" y="386"/>
                  </a:lnTo>
                  <a:lnTo>
                    <a:pt x="88" y="384"/>
                  </a:lnTo>
                  <a:lnTo>
                    <a:pt x="88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6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5" y="381"/>
                  </a:lnTo>
                  <a:lnTo>
                    <a:pt x="75" y="384"/>
                  </a:lnTo>
                  <a:lnTo>
                    <a:pt x="73" y="384"/>
                  </a:lnTo>
                  <a:lnTo>
                    <a:pt x="73" y="384"/>
                  </a:lnTo>
                  <a:lnTo>
                    <a:pt x="70" y="384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68" y="386"/>
                  </a:lnTo>
                  <a:lnTo>
                    <a:pt x="68" y="386"/>
                  </a:lnTo>
                  <a:lnTo>
                    <a:pt x="68" y="389"/>
                  </a:lnTo>
                  <a:lnTo>
                    <a:pt x="68" y="389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3" y="392"/>
                  </a:lnTo>
                  <a:lnTo>
                    <a:pt x="63" y="392"/>
                  </a:lnTo>
                  <a:lnTo>
                    <a:pt x="60" y="392"/>
                  </a:lnTo>
                  <a:lnTo>
                    <a:pt x="57" y="392"/>
                  </a:lnTo>
                  <a:lnTo>
                    <a:pt x="57" y="392"/>
                  </a:lnTo>
                  <a:lnTo>
                    <a:pt x="55" y="392"/>
                  </a:lnTo>
                  <a:lnTo>
                    <a:pt x="52" y="392"/>
                  </a:lnTo>
                  <a:lnTo>
                    <a:pt x="50" y="392"/>
                  </a:lnTo>
                  <a:lnTo>
                    <a:pt x="50" y="394"/>
                  </a:lnTo>
                  <a:lnTo>
                    <a:pt x="47" y="394"/>
                  </a:lnTo>
                  <a:lnTo>
                    <a:pt x="47" y="394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89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39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4" y="389"/>
                  </a:lnTo>
                  <a:lnTo>
                    <a:pt x="31" y="389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4"/>
                  </a:lnTo>
                  <a:lnTo>
                    <a:pt x="26" y="394"/>
                  </a:lnTo>
                  <a:lnTo>
                    <a:pt x="24" y="394"/>
                  </a:lnTo>
                  <a:lnTo>
                    <a:pt x="21" y="397"/>
                  </a:lnTo>
                  <a:lnTo>
                    <a:pt x="21" y="397"/>
                  </a:lnTo>
                  <a:lnTo>
                    <a:pt x="18" y="394"/>
                  </a:lnTo>
                  <a:lnTo>
                    <a:pt x="16" y="394"/>
                  </a:lnTo>
                  <a:lnTo>
                    <a:pt x="16" y="392"/>
                  </a:lnTo>
                  <a:lnTo>
                    <a:pt x="13" y="389"/>
                  </a:lnTo>
                  <a:lnTo>
                    <a:pt x="16" y="389"/>
                  </a:lnTo>
                  <a:lnTo>
                    <a:pt x="16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18" y="384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6" y="384"/>
                  </a:lnTo>
                  <a:lnTo>
                    <a:pt x="16" y="384"/>
                  </a:lnTo>
                  <a:lnTo>
                    <a:pt x="16" y="386"/>
                  </a:lnTo>
                  <a:lnTo>
                    <a:pt x="13" y="386"/>
                  </a:lnTo>
                  <a:lnTo>
                    <a:pt x="13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8" y="386"/>
                  </a:lnTo>
                  <a:lnTo>
                    <a:pt x="8" y="384"/>
                  </a:lnTo>
                  <a:lnTo>
                    <a:pt x="8" y="384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6"/>
                  </a:lnTo>
                  <a:lnTo>
                    <a:pt x="3" y="373"/>
                  </a:lnTo>
                  <a:lnTo>
                    <a:pt x="0" y="371"/>
                  </a:lnTo>
                  <a:lnTo>
                    <a:pt x="0" y="371"/>
                  </a:lnTo>
                  <a:lnTo>
                    <a:pt x="0" y="368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4" name="Freeform 124"/>
            <p:cNvSpPr>
              <a:spLocks/>
            </p:cNvSpPr>
            <p:nvPr/>
          </p:nvSpPr>
          <p:spPr bwMode="auto">
            <a:xfrm>
              <a:off x="937" y="3261"/>
              <a:ext cx="332" cy="397"/>
            </a:xfrm>
            <a:custGeom>
              <a:avLst/>
              <a:gdLst>
                <a:gd name="T0" fmla="*/ 8 w 332"/>
                <a:gd name="T1" fmla="*/ 309 h 397"/>
                <a:gd name="T2" fmla="*/ 26 w 332"/>
                <a:gd name="T3" fmla="*/ 244 h 397"/>
                <a:gd name="T4" fmla="*/ 57 w 332"/>
                <a:gd name="T5" fmla="*/ 182 h 397"/>
                <a:gd name="T6" fmla="*/ 96 w 332"/>
                <a:gd name="T7" fmla="*/ 114 h 397"/>
                <a:gd name="T8" fmla="*/ 104 w 332"/>
                <a:gd name="T9" fmla="*/ 80 h 397"/>
                <a:gd name="T10" fmla="*/ 101 w 332"/>
                <a:gd name="T11" fmla="*/ 47 h 397"/>
                <a:gd name="T12" fmla="*/ 122 w 332"/>
                <a:gd name="T13" fmla="*/ 34 h 397"/>
                <a:gd name="T14" fmla="*/ 132 w 332"/>
                <a:gd name="T15" fmla="*/ 36 h 397"/>
                <a:gd name="T16" fmla="*/ 151 w 332"/>
                <a:gd name="T17" fmla="*/ 57 h 397"/>
                <a:gd name="T18" fmla="*/ 148 w 332"/>
                <a:gd name="T19" fmla="*/ 70 h 397"/>
                <a:gd name="T20" fmla="*/ 171 w 332"/>
                <a:gd name="T21" fmla="*/ 52 h 397"/>
                <a:gd name="T22" fmla="*/ 192 w 332"/>
                <a:gd name="T23" fmla="*/ 39 h 397"/>
                <a:gd name="T24" fmla="*/ 210 w 332"/>
                <a:gd name="T25" fmla="*/ 21 h 397"/>
                <a:gd name="T26" fmla="*/ 207 w 332"/>
                <a:gd name="T27" fmla="*/ 16 h 397"/>
                <a:gd name="T28" fmla="*/ 215 w 332"/>
                <a:gd name="T29" fmla="*/ 3 h 397"/>
                <a:gd name="T30" fmla="*/ 231 w 332"/>
                <a:gd name="T31" fmla="*/ 3 h 397"/>
                <a:gd name="T32" fmla="*/ 241 w 332"/>
                <a:gd name="T33" fmla="*/ 18 h 397"/>
                <a:gd name="T34" fmla="*/ 259 w 332"/>
                <a:gd name="T35" fmla="*/ 18 h 397"/>
                <a:gd name="T36" fmla="*/ 262 w 332"/>
                <a:gd name="T37" fmla="*/ 44 h 397"/>
                <a:gd name="T38" fmla="*/ 275 w 332"/>
                <a:gd name="T39" fmla="*/ 54 h 397"/>
                <a:gd name="T40" fmla="*/ 285 w 332"/>
                <a:gd name="T41" fmla="*/ 49 h 397"/>
                <a:gd name="T42" fmla="*/ 295 w 332"/>
                <a:gd name="T43" fmla="*/ 70 h 397"/>
                <a:gd name="T44" fmla="*/ 293 w 332"/>
                <a:gd name="T45" fmla="*/ 88 h 397"/>
                <a:gd name="T46" fmla="*/ 290 w 332"/>
                <a:gd name="T47" fmla="*/ 96 h 397"/>
                <a:gd name="T48" fmla="*/ 298 w 332"/>
                <a:gd name="T49" fmla="*/ 109 h 397"/>
                <a:gd name="T50" fmla="*/ 301 w 332"/>
                <a:gd name="T51" fmla="*/ 119 h 397"/>
                <a:gd name="T52" fmla="*/ 306 w 332"/>
                <a:gd name="T53" fmla="*/ 130 h 397"/>
                <a:gd name="T54" fmla="*/ 314 w 332"/>
                <a:gd name="T55" fmla="*/ 132 h 397"/>
                <a:gd name="T56" fmla="*/ 324 w 332"/>
                <a:gd name="T57" fmla="*/ 145 h 397"/>
                <a:gd name="T58" fmla="*/ 327 w 332"/>
                <a:gd name="T59" fmla="*/ 161 h 397"/>
                <a:gd name="T60" fmla="*/ 324 w 332"/>
                <a:gd name="T61" fmla="*/ 176 h 397"/>
                <a:gd name="T62" fmla="*/ 327 w 332"/>
                <a:gd name="T63" fmla="*/ 184 h 397"/>
                <a:gd name="T64" fmla="*/ 327 w 332"/>
                <a:gd name="T65" fmla="*/ 197 h 397"/>
                <a:gd name="T66" fmla="*/ 319 w 332"/>
                <a:gd name="T67" fmla="*/ 200 h 397"/>
                <a:gd name="T68" fmla="*/ 306 w 332"/>
                <a:gd name="T69" fmla="*/ 197 h 397"/>
                <a:gd name="T70" fmla="*/ 311 w 332"/>
                <a:gd name="T71" fmla="*/ 207 h 397"/>
                <a:gd name="T72" fmla="*/ 303 w 332"/>
                <a:gd name="T73" fmla="*/ 228 h 397"/>
                <a:gd name="T74" fmla="*/ 283 w 332"/>
                <a:gd name="T75" fmla="*/ 233 h 397"/>
                <a:gd name="T76" fmla="*/ 277 w 332"/>
                <a:gd name="T77" fmla="*/ 254 h 397"/>
                <a:gd name="T78" fmla="*/ 290 w 332"/>
                <a:gd name="T79" fmla="*/ 290 h 397"/>
                <a:gd name="T80" fmla="*/ 290 w 332"/>
                <a:gd name="T81" fmla="*/ 329 h 397"/>
                <a:gd name="T82" fmla="*/ 293 w 332"/>
                <a:gd name="T83" fmla="*/ 347 h 397"/>
                <a:gd name="T84" fmla="*/ 293 w 332"/>
                <a:gd name="T85" fmla="*/ 371 h 397"/>
                <a:gd name="T86" fmla="*/ 280 w 332"/>
                <a:gd name="T87" fmla="*/ 368 h 397"/>
                <a:gd name="T88" fmla="*/ 249 w 332"/>
                <a:gd name="T89" fmla="*/ 384 h 397"/>
                <a:gd name="T90" fmla="*/ 239 w 332"/>
                <a:gd name="T91" fmla="*/ 384 h 397"/>
                <a:gd name="T92" fmla="*/ 207 w 332"/>
                <a:gd name="T93" fmla="*/ 373 h 397"/>
                <a:gd name="T94" fmla="*/ 171 w 332"/>
                <a:gd name="T95" fmla="*/ 347 h 397"/>
                <a:gd name="T96" fmla="*/ 187 w 332"/>
                <a:gd name="T97" fmla="*/ 373 h 397"/>
                <a:gd name="T98" fmla="*/ 163 w 332"/>
                <a:gd name="T99" fmla="*/ 358 h 397"/>
                <a:gd name="T100" fmla="*/ 151 w 332"/>
                <a:gd name="T101" fmla="*/ 366 h 397"/>
                <a:gd name="T102" fmla="*/ 145 w 332"/>
                <a:gd name="T103" fmla="*/ 360 h 397"/>
                <a:gd name="T104" fmla="*/ 138 w 332"/>
                <a:gd name="T105" fmla="*/ 358 h 397"/>
                <a:gd name="T106" fmla="*/ 125 w 332"/>
                <a:gd name="T107" fmla="*/ 353 h 397"/>
                <a:gd name="T108" fmla="*/ 112 w 332"/>
                <a:gd name="T109" fmla="*/ 353 h 397"/>
                <a:gd name="T110" fmla="*/ 107 w 332"/>
                <a:gd name="T111" fmla="*/ 376 h 397"/>
                <a:gd name="T112" fmla="*/ 122 w 332"/>
                <a:gd name="T113" fmla="*/ 376 h 397"/>
                <a:gd name="T114" fmla="*/ 109 w 332"/>
                <a:gd name="T115" fmla="*/ 386 h 397"/>
                <a:gd name="T116" fmla="*/ 78 w 332"/>
                <a:gd name="T117" fmla="*/ 381 h 397"/>
                <a:gd name="T118" fmla="*/ 44 w 332"/>
                <a:gd name="T119" fmla="*/ 389 h 397"/>
                <a:gd name="T120" fmla="*/ 21 w 332"/>
                <a:gd name="T121" fmla="*/ 389 h 397"/>
                <a:gd name="T122" fmla="*/ 8 w 332"/>
                <a:gd name="T123" fmla="*/ 38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397">
                  <a:moveTo>
                    <a:pt x="0" y="366"/>
                  </a:move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6" y="358"/>
                  </a:lnTo>
                  <a:lnTo>
                    <a:pt x="6" y="355"/>
                  </a:lnTo>
                  <a:lnTo>
                    <a:pt x="3" y="355"/>
                  </a:lnTo>
                  <a:lnTo>
                    <a:pt x="3" y="353"/>
                  </a:lnTo>
                  <a:lnTo>
                    <a:pt x="3" y="350"/>
                  </a:lnTo>
                  <a:lnTo>
                    <a:pt x="3" y="347"/>
                  </a:lnTo>
                  <a:lnTo>
                    <a:pt x="6" y="345"/>
                  </a:lnTo>
                  <a:lnTo>
                    <a:pt x="6" y="342"/>
                  </a:lnTo>
                  <a:lnTo>
                    <a:pt x="6" y="340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8" y="335"/>
                  </a:lnTo>
                  <a:lnTo>
                    <a:pt x="8" y="335"/>
                  </a:lnTo>
                  <a:lnTo>
                    <a:pt x="8" y="332"/>
                  </a:lnTo>
                  <a:lnTo>
                    <a:pt x="8" y="329"/>
                  </a:lnTo>
                  <a:lnTo>
                    <a:pt x="8" y="327"/>
                  </a:lnTo>
                  <a:lnTo>
                    <a:pt x="8" y="324"/>
                  </a:lnTo>
                  <a:lnTo>
                    <a:pt x="11" y="324"/>
                  </a:lnTo>
                  <a:lnTo>
                    <a:pt x="11" y="322"/>
                  </a:lnTo>
                  <a:lnTo>
                    <a:pt x="13" y="319"/>
                  </a:lnTo>
                  <a:lnTo>
                    <a:pt x="13" y="316"/>
                  </a:lnTo>
                  <a:lnTo>
                    <a:pt x="11" y="314"/>
                  </a:lnTo>
                  <a:lnTo>
                    <a:pt x="11" y="311"/>
                  </a:lnTo>
                  <a:lnTo>
                    <a:pt x="8" y="311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8" y="306"/>
                  </a:lnTo>
                  <a:lnTo>
                    <a:pt x="8" y="303"/>
                  </a:lnTo>
                  <a:lnTo>
                    <a:pt x="8" y="301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8" y="296"/>
                  </a:lnTo>
                  <a:lnTo>
                    <a:pt x="8" y="293"/>
                  </a:lnTo>
                  <a:lnTo>
                    <a:pt x="8" y="293"/>
                  </a:lnTo>
                  <a:lnTo>
                    <a:pt x="11" y="290"/>
                  </a:lnTo>
                  <a:lnTo>
                    <a:pt x="11" y="288"/>
                  </a:lnTo>
                  <a:lnTo>
                    <a:pt x="11" y="288"/>
                  </a:lnTo>
                  <a:lnTo>
                    <a:pt x="11" y="285"/>
                  </a:lnTo>
                  <a:lnTo>
                    <a:pt x="13" y="280"/>
                  </a:lnTo>
                  <a:lnTo>
                    <a:pt x="16" y="277"/>
                  </a:lnTo>
                  <a:lnTo>
                    <a:pt x="18" y="275"/>
                  </a:lnTo>
                  <a:lnTo>
                    <a:pt x="18" y="272"/>
                  </a:lnTo>
                  <a:lnTo>
                    <a:pt x="21" y="267"/>
                  </a:lnTo>
                  <a:lnTo>
                    <a:pt x="21" y="267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59"/>
                  </a:lnTo>
                  <a:lnTo>
                    <a:pt x="24" y="259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9"/>
                  </a:lnTo>
                  <a:lnTo>
                    <a:pt x="26" y="246"/>
                  </a:lnTo>
                  <a:lnTo>
                    <a:pt x="26" y="244"/>
                  </a:lnTo>
                  <a:lnTo>
                    <a:pt x="26" y="241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31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4" y="223"/>
                  </a:lnTo>
                  <a:lnTo>
                    <a:pt x="34" y="220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0"/>
                  </a:lnTo>
                  <a:lnTo>
                    <a:pt x="37" y="205"/>
                  </a:lnTo>
                  <a:lnTo>
                    <a:pt x="37" y="202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42" y="197"/>
                  </a:lnTo>
                  <a:lnTo>
                    <a:pt x="47" y="194"/>
                  </a:lnTo>
                  <a:lnTo>
                    <a:pt x="50" y="189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2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7" y="182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6"/>
                  </a:lnTo>
                  <a:lnTo>
                    <a:pt x="63" y="174"/>
                  </a:lnTo>
                  <a:lnTo>
                    <a:pt x="65" y="174"/>
                  </a:lnTo>
                  <a:lnTo>
                    <a:pt x="65" y="171"/>
                  </a:lnTo>
                  <a:lnTo>
                    <a:pt x="68" y="169"/>
                  </a:lnTo>
                  <a:lnTo>
                    <a:pt x="68" y="163"/>
                  </a:lnTo>
                  <a:lnTo>
                    <a:pt x="70" y="158"/>
                  </a:lnTo>
                  <a:lnTo>
                    <a:pt x="73" y="153"/>
                  </a:lnTo>
                  <a:lnTo>
                    <a:pt x="75" y="148"/>
                  </a:lnTo>
                  <a:lnTo>
                    <a:pt x="78" y="145"/>
                  </a:lnTo>
                  <a:lnTo>
                    <a:pt x="81" y="145"/>
                  </a:lnTo>
                  <a:lnTo>
                    <a:pt x="83" y="143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8" y="137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4" y="122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7"/>
                  </a:lnTo>
                  <a:lnTo>
                    <a:pt x="96" y="114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101" y="96"/>
                  </a:lnTo>
                  <a:lnTo>
                    <a:pt x="101" y="93"/>
                  </a:lnTo>
                  <a:lnTo>
                    <a:pt x="104" y="91"/>
                  </a:lnTo>
                  <a:lnTo>
                    <a:pt x="107" y="91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4" y="83"/>
                  </a:lnTo>
                  <a:lnTo>
                    <a:pt x="104" y="80"/>
                  </a:lnTo>
                  <a:lnTo>
                    <a:pt x="107" y="80"/>
                  </a:lnTo>
                  <a:lnTo>
                    <a:pt x="109" y="78"/>
                  </a:lnTo>
                  <a:lnTo>
                    <a:pt x="109" y="75"/>
                  </a:lnTo>
                  <a:lnTo>
                    <a:pt x="109" y="73"/>
                  </a:lnTo>
                  <a:lnTo>
                    <a:pt x="112" y="70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0"/>
                  </a:lnTo>
                  <a:lnTo>
                    <a:pt x="109" y="70"/>
                  </a:lnTo>
                  <a:lnTo>
                    <a:pt x="109" y="67"/>
                  </a:lnTo>
                  <a:lnTo>
                    <a:pt x="112" y="67"/>
                  </a:lnTo>
                  <a:lnTo>
                    <a:pt x="112" y="65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09" y="62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7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49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39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9" y="36"/>
                  </a:lnTo>
                  <a:lnTo>
                    <a:pt x="109" y="39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2"/>
                  </a:lnTo>
                  <a:lnTo>
                    <a:pt x="125" y="39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4"/>
                  </a:lnTo>
                  <a:lnTo>
                    <a:pt x="119" y="34"/>
                  </a:lnTo>
                  <a:lnTo>
                    <a:pt x="122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30" y="39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5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3" y="49"/>
                  </a:lnTo>
                  <a:lnTo>
                    <a:pt x="145" y="49"/>
                  </a:lnTo>
                  <a:lnTo>
                    <a:pt x="145" y="49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8" y="47"/>
                  </a:lnTo>
                  <a:lnTo>
                    <a:pt x="145" y="49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51" y="49"/>
                  </a:lnTo>
                  <a:lnTo>
                    <a:pt x="153" y="49"/>
                  </a:lnTo>
                  <a:lnTo>
                    <a:pt x="156" y="52"/>
                  </a:lnTo>
                  <a:lnTo>
                    <a:pt x="156" y="54"/>
                  </a:lnTo>
                  <a:lnTo>
                    <a:pt x="153" y="54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48" y="54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70"/>
                  </a:lnTo>
                  <a:lnTo>
                    <a:pt x="145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51" y="70"/>
                  </a:lnTo>
                  <a:lnTo>
                    <a:pt x="151" y="70"/>
                  </a:lnTo>
                  <a:lnTo>
                    <a:pt x="153" y="67"/>
                  </a:lnTo>
                  <a:lnTo>
                    <a:pt x="156" y="65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58" y="60"/>
                  </a:lnTo>
                  <a:lnTo>
                    <a:pt x="161" y="60"/>
                  </a:lnTo>
                  <a:lnTo>
                    <a:pt x="158" y="57"/>
                  </a:lnTo>
                  <a:lnTo>
                    <a:pt x="158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49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4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9" y="47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79" y="47"/>
                  </a:lnTo>
                  <a:lnTo>
                    <a:pt x="176" y="47"/>
                  </a:lnTo>
                  <a:lnTo>
                    <a:pt x="176" y="44"/>
                  </a:lnTo>
                  <a:lnTo>
                    <a:pt x="176" y="42"/>
                  </a:lnTo>
                  <a:lnTo>
                    <a:pt x="174" y="42"/>
                  </a:lnTo>
                  <a:lnTo>
                    <a:pt x="174" y="39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82" y="39"/>
                  </a:lnTo>
                  <a:lnTo>
                    <a:pt x="184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2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3"/>
                  </a:lnTo>
                  <a:lnTo>
                    <a:pt x="207" y="23"/>
                  </a:lnTo>
                  <a:lnTo>
                    <a:pt x="207" y="26"/>
                  </a:lnTo>
                  <a:lnTo>
                    <a:pt x="210" y="26"/>
                  </a:lnTo>
                  <a:lnTo>
                    <a:pt x="213" y="26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0" y="13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3"/>
                  </a:lnTo>
                  <a:lnTo>
                    <a:pt x="207" y="13"/>
                  </a:lnTo>
                  <a:lnTo>
                    <a:pt x="207" y="13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205" y="10"/>
                  </a:lnTo>
                  <a:lnTo>
                    <a:pt x="200" y="10"/>
                  </a:lnTo>
                  <a:lnTo>
                    <a:pt x="200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7" y="5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8" y="5"/>
                  </a:lnTo>
                  <a:lnTo>
                    <a:pt x="218" y="3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5"/>
                  </a:lnTo>
                  <a:lnTo>
                    <a:pt x="223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8" y="5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3" y="3"/>
                  </a:lnTo>
                  <a:lnTo>
                    <a:pt x="236" y="3"/>
                  </a:lnTo>
                  <a:lnTo>
                    <a:pt x="239" y="0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5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9" y="10"/>
                  </a:lnTo>
                  <a:lnTo>
                    <a:pt x="239" y="13"/>
                  </a:lnTo>
                  <a:lnTo>
                    <a:pt x="236" y="13"/>
                  </a:lnTo>
                  <a:lnTo>
                    <a:pt x="236" y="13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6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6" y="10"/>
                  </a:lnTo>
                  <a:lnTo>
                    <a:pt x="246" y="13"/>
                  </a:lnTo>
                  <a:lnTo>
                    <a:pt x="246" y="16"/>
                  </a:lnTo>
                  <a:lnTo>
                    <a:pt x="246" y="16"/>
                  </a:lnTo>
                  <a:lnTo>
                    <a:pt x="246" y="18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9" y="16"/>
                  </a:lnTo>
                  <a:lnTo>
                    <a:pt x="251" y="13"/>
                  </a:lnTo>
                  <a:lnTo>
                    <a:pt x="254" y="13"/>
                  </a:lnTo>
                  <a:lnTo>
                    <a:pt x="254" y="10"/>
                  </a:lnTo>
                  <a:lnTo>
                    <a:pt x="257" y="10"/>
                  </a:lnTo>
                  <a:lnTo>
                    <a:pt x="254" y="13"/>
                  </a:lnTo>
                  <a:lnTo>
                    <a:pt x="254" y="13"/>
                  </a:lnTo>
                  <a:lnTo>
                    <a:pt x="257" y="13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31"/>
                  </a:lnTo>
                  <a:lnTo>
                    <a:pt x="264" y="34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59" y="34"/>
                  </a:lnTo>
                  <a:lnTo>
                    <a:pt x="259" y="36"/>
                  </a:lnTo>
                  <a:lnTo>
                    <a:pt x="262" y="36"/>
                  </a:lnTo>
                  <a:lnTo>
                    <a:pt x="262" y="36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2" y="42"/>
                  </a:lnTo>
                  <a:lnTo>
                    <a:pt x="262" y="42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4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9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4"/>
                  </a:lnTo>
                  <a:lnTo>
                    <a:pt x="270" y="49"/>
                  </a:lnTo>
                  <a:lnTo>
                    <a:pt x="270" y="52"/>
                  </a:lnTo>
                  <a:lnTo>
                    <a:pt x="267" y="52"/>
                  </a:lnTo>
                  <a:lnTo>
                    <a:pt x="270" y="54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7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5" y="49"/>
                  </a:lnTo>
                  <a:lnTo>
                    <a:pt x="283" y="49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4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2"/>
                  </a:lnTo>
                  <a:lnTo>
                    <a:pt x="285" y="44"/>
                  </a:lnTo>
                  <a:lnTo>
                    <a:pt x="288" y="44"/>
                  </a:lnTo>
                  <a:lnTo>
                    <a:pt x="288" y="44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5" y="47"/>
                  </a:lnTo>
                  <a:lnTo>
                    <a:pt x="285" y="49"/>
                  </a:lnTo>
                  <a:lnTo>
                    <a:pt x="285" y="49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8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8" y="57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288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5"/>
                  </a:lnTo>
                  <a:lnTo>
                    <a:pt x="293" y="67"/>
                  </a:lnTo>
                  <a:lnTo>
                    <a:pt x="295" y="67"/>
                  </a:lnTo>
                  <a:lnTo>
                    <a:pt x="293" y="67"/>
                  </a:lnTo>
                  <a:lnTo>
                    <a:pt x="293" y="67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3" y="70"/>
                  </a:lnTo>
                  <a:lnTo>
                    <a:pt x="293" y="70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5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88" y="78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88" y="80"/>
                  </a:lnTo>
                  <a:lnTo>
                    <a:pt x="290" y="80"/>
                  </a:lnTo>
                  <a:lnTo>
                    <a:pt x="290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5" y="88"/>
                  </a:lnTo>
                  <a:lnTo>
                    <a:pt x="295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9"/>
                  </a:lnTo>
                  <a:lnTo>
                    <a:pt x="293" y="99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8" y="106"/>
                  </a:lnTo>
                  <a:lnTo>
                    <a:pt x="298" y="106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6" y="122"/>
                  </a:lnTo>
                  <a:lnTo>
                    <a:pt x="306" y="122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7"/>
                  </a:lnTo>
                  <a:lnTo>
                    <a:pt x="306" y="124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6" y="132"/>
                  </a:lnTo>
                  <a:lnTo>
                    <a:pt x="316" y="132"/>
                  </a:lnTo>
                  <a:lnTo>
                    <a:pt x="316" y="135"/>
                  </a:lnTo>
                  <a:lnTo>
                    <a:pt x="316" y="135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5"/>
                  </a:lnTo>
                  <a:lnTo>
                    <a:pt x="321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4" y="150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7" y="153"/>
                  </a:lnTo>
                  <a:lnTo>
                    <a:pt x="327" y="153"/>
                  </a:lnTo>
                  <a:lnTo>
                    <a:pt x="324" y="153"/>
                  </a:lnTo>
                  <a:lnTo>
                    <a:pt x="324" y="156"/>
                  </a:lnTo>
                  <a:lnTo>
                    <a:pt x="324" y="156"/>
                  </a:lnTo>
                  <a:lnTo>
                    <a:pt x="327" y="156"/>
                  </a:lnTo>
                  <a:lnTo>
                    <a:pt x="327" y="156"/>
                  </a:lnTo>
                  <a:lnTo>
                    <a:pt x="329" y="158"/>
                  </a:lnTo>
                  <a:lnTo>
                    <a:pt x="327" y="158"/>
                  </a:lnTo>
                  <a:lnTo>
                    <a:pt x="327" y="161"/>
                  </a:lnTo>
                  <a:lnTo>
                    <a:pt x="327" y="161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6"/>
                  </a:lnTo>
                  <a:lnTo>
                    <a:pt x="327" y="166"/>
                  </a:lnTo>
                  <a:lnTo>
                    <a:pt x="327" y="166"/>
                  </a:lnTo>
                  <a:lnTo>
                    <a:pt x="324" y="169"/>
                  </a:lnTo>
                  <a:lnTo>
                    <a:pt x="327" y="169"/>
                  </a:lnTo>
                  <a:lnTo>
                    <a:pt x="327" y="169"/>
                  </a:lnTo>
                  <a:lnTo>
                    <a:pt x="329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9" y="171"/>
                  </a:lnTo>
                  <a:lnTo>
                    <a:pt x="327" y="174"/>
                  </a:lnTo>
                  <a:lnTo>
                    <a:pt x="327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7" y="184"/>
                  </a:lnTo>
                  <a:lnTo>
                    <a:pt x="327" y="184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32" y="189"/>
                  </a:lnTo>
                  <a:lnTo>
                    <a:pt x="332" y="189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29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2" y="194"/>
                  </a:lnTo>
                  <a:lnTo>
                    <a:pt x="329" y="194"/>
                  </a:lnTo>
                  <a:lnTo>
                    <a:pt x="329" y="197"/>
                  </a:lnTo>
                  <a:lnTo>
                    <a:pt x="329" y="197"/>
                  </a:lnTo>
                  <a:lnTo>
                    <a:pt x="327" y="197"/>
                  </a:lnTo>
                  <a:lnTo>
                    <a:pt x="327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7" y="194"/>
                  </a:lnTo>
                  <a:lnTo>
                    <a:pt x="327" y="194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4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19" y="197"/>
                  </a:lnTo>
                  <a:lnTo>
                    <a:pt x="319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6" y="189"/>
                  </a:lnTo>
                  <a:lnTo>
                    <a:pt x="308" y="192"/>
                  </a:lnTo>
                  <a:lnTo>
                    <a:pt x="308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5"/>
                  </a:lnTo>
                  <a:lnTo>
                    <a:pt x="314" y="205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3"/>
                  </a:lnTo>
                  <a:lnTo>
                    <a:pt x="311" y="213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4" y="215"/>
                  </a:lnTo>
                  <a:lnTo>
                    <a:pt x="314" y="218"/>
                  </a:lnTo>
                  <a:lnTo>
                    <a:pt x="311" y="218"/>
                  </a:lnTo>
                  <a:lnTo>
                    <a:pt x="311" y="220"/>
                  </a:lnTo>
                  <a:lnTo>
                    <a:pt x="311" y="220"/>
                  </a:lnTo>
                  <a:lnTo>
                    <a:pt x="314" y="220"/>
                  </a:lnTo>
                  <a:lnTo>
                    <a:pt x="314" y="220"/>
                  </a:lnTo>
                  <a:lnTo>
                    <a:pt x="314" y="223"/>
                  </a:lnTo>
                  <a:lnTo>
                    <a:pt x="314" y="223"/>
                  </a:lnTo>
                  <a:lnTo>
                    <a:pt x="311" y="223"/>
                  </a:lnTo>
                  <a:lnTo>
                    <a:pt x="308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3" y="223"/>
                  </a:lnTo>
                  <a:lnTo>
                    <a:pt x="303" y="223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8"/>
                  </a:lnTo>
                  <a:lnTo>
                    <a:pt x="303" y="228"/>
                  </a:lnTo>
                  <a:lnTo>
                    <a:pt x="301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5" y="233"/>
                  </a:lnTo>
                  <a:lnTo>
                    <a:pt x="293" y="233"/>
                  </a:lnTo>
                  <a:lnTo>
                    <a:pt x="293" y="233"/>
                  </a:lnTo>
                  <a:lnTo>
                    <a:pt x="290" y="233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88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0" y="233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0" y="236"/>
                  </a:lnTo>
                  <a:lnTo>
                    <a:pt x="280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0" y="239"/>
                  </a:lnTo>
                  <a:lnTo>
                    <a:pt x="280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5" y="246"/>
                  </a:lnTo>
                  <a:lnTo>
                    <a:pt x="275" y="249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80" y="254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9"/>
                  </a:lnTo>
                  <a:lnTo>
                    <a:pt x="283" y="259"/>
                  </a:lnTo>
                  <a:lnTo>
                    <a:pt x="283" y="262"/>
                  </a:lnTo>
                  <a:lnTo>
                    <a:pt x="283" y="265"/>
                  </a:lnTo>
                  <a:lnTo>
                    <a:pt x="285" y="265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5" y="272"/>
                  </a:lnTo>
                  <a:lnTo>
                    <a:pt x="285" y="272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5"/>
                  </a:lnTo>
                  <a:lnTo>
                    <a:pt x="290" y="288"/>
                  </a:lnTo>
                  <a:lnTo>
                    <a:pt x="290" y="290"/>
                  </a:lnTo>
                  <a:lnTo>
                    <a:pt x="293" y="293"/>
                  </a:lnTo>
                  <a:lnTo>
                    <a:pt x="293" y="296"/>
                  </a:lnTo>
                  <a:lnTo>
                    <a:pt x="293" y="298"/>
                  </a:lnTo>
                  <a:lnTo>
                    <a:pt x="293" y="301"/>
                  </a:lnTo>
                  <a:lnTo>
                    <a:pt x="293" y="303"/>
                  </a:lnTo>
                  <a:lnTo>
                    <a:pt x="293" y="303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11"/>
                  </a:lnTo>
                  <a:lnTo>
                    <a:pt x="290" y="314"/>
                  </a:lnTo>
                  <a:lnTo>
                    <a:pt x="290" y="316"/>
                  </a:lnTo>
                  <a:lnTo>
                    <a:pt x="290" y="319"/>
                  </a:lnTo>
                  <a:lnTo>
                    <a:pt x="290" y="319"/>
                  </a:lnTo>
                  <a:lnTo>
                    <a:pt x="288" y="319"/>
                  </a:lnTo>
                  <a:lnTo>
                    <a:pt x="288" y="322"/>
                  </a:lnTo>
                  <a:lnTo>
                    <a:pt x="288" y="322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32"/>
                  </a:lnTo>
                  <a:lnTo>
                    <a:pt x="290" y="332"/>
                  </a:lnTo>
                  <a:lnTo>
                    <a:pt x="288" y="335"/>
                  </a:lnTo>
                  <a:lnTo>
                    <a:pt x="288" y="335"/>
                  </a:lnTo>
                  <a:lnTo>
                    <a:pt x="290" y="335"/>
                  </a:lnTo>
                  <a:lnTo>
                    <a:pt x="290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90" y="337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90" y="342"/>
                  </a:lnTo>
                  <a:lnTo>
                    <a:pt x="293" y="342"/>
                  </a:lnTo>
                  <a:lnTo>
                    <a:pt x="293" y="345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5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0" y="355"/>
                  </a:lnTo>
                  <a:lnTo>
                    <a:pt x="290" y="358"/>
                  </a:lnTo>
                  <a:lnTo>
                    <a:pt x="290" y="360"/>
                  </a:lnTo>
                  <a:lnTo>
                    <a:pt x="293" y="363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71"/>
                  </a:lnTo>
                  <a:lnTo>
                    <a:pt x="293" y="371"/>
                  </a:lnTo>
                  <a:lnTo>
                    <a:pt x="290" y="371"/>
                  </a:lnTo>
                  <a:lnTo>
                    <a:pt x="290" y="373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9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1"/>
                  </a:lnTo>
                  <a:lnTo>
                    <a:pt x="285" y="371"/>
                  </a:lnTo>
                  <a:lnTo>
                    <a:pt x="285" y="368"/>
                  </a:lnTo>
                  <a:lnTo>
                    <a:pt x="283" y="368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68"/>
                  </a:lnTo>
                  <a:lnTo>
                    <a:pt x="280" y="368"/>
                  </a:lnTo>
                  <a:lnTo>
                    <a:pt x="277" y="371"/>
                  </a:lnTo>
                  <a:lnTo>
                    <a:pt x="277" y="371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2" y="373"/>
                  </a:lnTo>
                  <a:lnTo>
                    <a:pt x="272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64" y="371"/>
                  </a:lnTo>
                  <a:lnTo>
                    <a:pt x="262" y="371"/>
                  </a:lnTo>
                  <a:lnTo>
                    <a:pt x="262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3"/>
                  </a:lnTo>
                  <a:lnTo>
                    <a:pt x="259" y="373"/>
                  </a:lnTo>
                  <a:lnTo>
                    <a:pt x="257" y="373"/>
                  </a:lnTo>
                  <a:lnTo>
                    <a:pt x="257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9"/>
                  </a:lnTo>
                  <a:lnTo>
                    <a:pt x="251" y="381"/>
                  </a:lnTo>
                  <a:lnTo>
                    <a:pt x="251" y="381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4" y="384"/>
                  </a:lnTo>
                  <a:lnTo>
                    <a:pt x="244" y="384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4"/>
                  </a:lnTo>
                  <a:lnTo>
                    <a:pt x="241" y="384"/>
                  </a:lnTo>
                  <a:lnTo>
                    <a:pt x="241" y="384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39" y="381"/>
                  </a:lnTo>
                  <a:lnTo>
                    <a:pt x="239" y="381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6" y="386"/>
                  </a:lnTo>
                  <a:lnTo>
                    <a:pt x="236" y="386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1" y="386"/>
                  </a:lnTo>
                  <a:lnTo>
                    <a:pt x="231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4"/>
                  </a:lnTo>
                  <a:lnTo>
                    <a:pt x="226" y="384"/>
                  </a:lnTo>
                  <a:lnTo>
                    <a:pt x="226" y="381"/>
                  </a:lnTo>
                  <a:lnTo>
                    <a:pt x="223" y="381"/>
                  </a:lnTo>
                  <a:lnTo>
                    <a:pt x="223" y="379"/>
                  </a:lnTo>
                  <a:lnTo>
                    <a:pt x="223" y="376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3"/>
                  </a:lnTo>
                  <a:lnTo>
                    <a:pt x="213" y="373"/>
                  </a:lnTo>
                  <a:lnTo>
                    <a:pt x="210" y="371"/>
                  </a:lnTo>
                  <a:lnTo>
                    <a:pt x="210" y="371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5" y="373"/>
                  </a:lnTo>
                  <a:lnTo>
                    <a:pt x="205" y="373"/>
                  </a:lnTo>
                  <a:lnTo>
                    <a:pt x="202" y="371"/>
                  </a:lnTo>
                  <a:lnTo>
                    <a:pt x="202" y="371"/>
                  </a:lnTo>
                  <a:lnTo>
                    <a:pt x="195" y="368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2" y="366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89" y="358"/>
                  </a:lnTo>
                  <a:lnTo>
                    <a:pt x="187" y="355"/>
                  </a:lnTo>
                  <a:lnTo>
                    <a:pt x="187" y="355"/>
                  </a:lnTo>
                  <a:lnTo>
                    <a:pt x="184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4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50"/>
                  </a:lnTo>
                  <a:lnTo>
                    <a:pt x="174" y="353"/>
                  </a:lnTo>
                  <a:lnTo>
                    <a:pt x="174" y="353"/>
                  </a:lnTo>
                  <a:lnTo>
                    <a:pt x="179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4" y="358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7" y="360"/>
                  </a:lnTo>
                  <a:lnTo>
                    <a:pt x="187" y="363"/>
                  </a:lnTo>
                  <a:lnTo>
                    <a:pt x="187" y="363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9" y="368"/>
                  </a:lnTo>
                  <a:lnTo>
                    <a:pt x="189" y="368"/>
                  </a:lnTo>
                  <a:lnTo>
                    <a:pt x="189" y="371"/>
                  </a:lnTo>
                  <a:lnTo>
                    <a:pt x="189" y="371"/>
                  </a:lnTo>
                  <a:lnTo>
                    <a:pt x="189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2" y="371"/>
                  </a:lnTo>
                  <a:lnTo>
                    <a:pt x="182" y="371"/>
                  </a:lnTo>
                  <a:lnTo>
                    <a:pt x="179" y="371"/>
                  </a:lnTo>
                  <a:lnTo>
                    <a:pt x="179" y="368"/>
                  </a:lnTo>
                  <a:lnTo>
                    <a:pt x="176" y="368"/>
                  </a:lnTo>
                  <a:lnTo>
                    <a:pt x="174" y="368"/>
                  </a:lnTo>
                  <a:lnTo>
                    <a:pt x="174" y="368"/>
                  </a:lnTo>
                  <a:lnTo>
                    <a:pt x="171" y="368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4" y="366"/>
                  </a:lnTo>
                  <a:lnTo>
                    <a:pt x="174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6"/>
                  </a:lnTo>
                  <a:lnTo>
                    <a:pt x="174" y="363"/>
                  </a:lnTo>
                  <a:lnTo>
                    <a:pt x="171" y="363"/>
                  </a:lnTo>
                  <a:lnTo>
                    <a:pt x="171" y="363"/>
                  </a:lnTo>
                  <a:lnTo>
                    <a:pt x="169" y="360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3" y="358"/>
                  </a:lnTo>
                  <a:lnTo>
                    <a:pt x="166" y="360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0"/>
                  </a:lnTo>
                  <a:lnTo>
                    <a:pt x="163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3"/>
                  </a:lnTo>
                  <a:lnTo>
                    <a:pt x="161" y="363"/>
                  </a:lnTo>
                  <a:lnTo>
                    <a:pt x="163" y="363"/>
                  </a:lnTo>
                  <a:lnTo>
                    <a:pt x="163" y="363"/>
                  </a:lnTo>
                  <a:lnTo>
                    <a:pt x="166" y="366"/>
                  </a:lnTo>
                  <a:lnTo>
                    <a:pt x="166" y="368"/>
                  </a:lnTo>
                  <a:lnTo>
                    <a:pt x="166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8" y="373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6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3" y="368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48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3"/>
                  </a:lnTo>
                  <a:lnTo>
                    <a:pt x="143" y="360"/>
                  </a:lnTo>
                  <a:lnTo>
                    <a:pt x="143" y="363"/>
                  </a:lnTo>
                  <a:lnTo>
                    <a:pt x="143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5" y="366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3" y="368"/>
                  </a:lnTo>
                  <a:lnTo>
                    <a:pt x="143" y="371"/>
                  </a:lnTo>
                  <a:lnTo>
                    <a:pt x="140" y="371"/>
                  </a:lnTo>
                  <a:lnTo>
                    <a:pt x="140" y="368"/>
                  </a:lnTo>
                  <a:lnTo>
                    <a:pt x="138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8" y="363"/>
                  </a:lnTo>
                  <a:lnTo>
                    <a:pt x="135" y="363"/>
                  </a:lnTo>
                  <a:lnTo>
                    <a:pt x="135" y="363"/>
                  </a:lnTo>
                  <a:lnTo>
                    <a:pt x="135" y="360"/>
                  </a:lnTo>
                  <a:lnTo>
                    <a:pt x="135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27" y="350"/>
                  </a:lnTo>
                  <a:lnTo>
                    <a:pt x="127" y="350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2" y="353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2" y="347"/>
                  </a:lnTo>
                  <a:lnTo>
                    <a:pt x="122" y="347"/>
                  </a:lnTo>
                  <a:lnTo>
                    <a:pt x="122" y="350"/>
                  </a:lnTo>
                  <a:lnTo>
                    <a:pt x="119" y="350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7" y="347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9" y="350"/>
                  </a:lnTo>
                  <a:lnTo>
                    <a:pt x="119" y="350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09" y="353"/>
                  </a:lnTo>
                  <a:lnTo>
                    <a:pt x="109" y="355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4" y="360"/>
                  </a:lnTo>
                  <a:lnTo>
                    <a:pt x="104" y="360"/>
                  </a:lnTo>
                  <a:lnTo>
                    <a:pt x="107" y="360"/>
                  </a:lnTo>
                  <a:lnTo>
                    <a:pt x="107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99" y="368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1"/>
                  </a:lnTo>
                  <a:lnTo>
                    <a:pt x="99" y="371"/>
                  </a:lnTo>
                  <a:lnTo>
                    <a:pt x="101" y="373"/>
                  </a:lnTo>
                  <a:lnTo>
                    <a:pt x="104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9"/>
                  </a:lnTo>
                  <a:lnTo>
                    <a:pt x="109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12" y="376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7" y="373"/>
                  </a:lnTo>
                  <a:lnTo>
                    <a:pt x="117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22" y="371"/>
                  </a:lnTo>
                  <a:lnTo>
                    <a:pt x="122" y="371"/>
                  </a:lnTo>
                  <a:lnTo>
                    <a:pt x="122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6"/>
                  </a:lnTo>
                  <a:lnTo>
                    <a:pt x="125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3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2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7" y="384"/>
                  </a:lnTo>
                  <a:lnTo>
                    <a:pt x="117" y="384"/>
                  </a:lnTo>
                  <a:lnTo>
                    <a:pt x="119" y="381"/>
                  </a:lnTo>
                  <a:lnTo>
                    <a:pt x="117" y="379"/>
                  </a:lnTo>
                  <a:lnTo>
                    <a:pt x="117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2" y="379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09" y="381"/>
                  </a:lnTo>
                  <a:lnTo>
                    <a:pt x="109" y="381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6"/>
                  </a:lnTo>
                  <a:lnTo>
                    <a:pt x="107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7" y="389"/>
                  </a:lnTo>
                  <a:lnTo>
                    <a:pt x="104" y="389"/>
                  </a:lnTo>
                  <a:lnTo>
                    <a:pt x="101" y="389"/>
                  </a:lnTo>
                  <a:lnTo>
                    <a:pt x="101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6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4" y="389"/>
                  </a:lnTo>
                  <a:lnTo>
                    <a:pt x="91" y="389"/>
                  </a:lnTo>
                  <a:lnTo>
                    <a:pt x="88" y="386"/>
                  </a:lnTo>
                  <a:lnTo>
                    <a:pt x="88" y="386"/>
                  </a:lnTo>
                  <a:lnTo>
                    <a:pt x="88" y="384"/>
                  </a:lnTo>
                  <a:lnTo>
                    <a:pt x="88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6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5" y="381"/>
                  </a:lnTo>
                  <a:lnTo>
                    <a:pt x="75" y="384"/>
                  </a:lnTo>
                  <a:lnTo>
                    <a:pt x="73" y="384"/>
                  </a:lnTo>
                  <a:lnTo>
                    <a:pt x="73" y="384"/>
                  </a:lnTo>
                  <a:lnTo>
                    <a:pt x="70" y="384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68" y="386"/>
                  </a:lnTo>
                  <a:lnTo>
                    <a:pt x="68" y="386"/>
                  </a:lnTo>
                  <a:lnTo>
                    <a:pt x="68" y="389"/>
                  </a:lnTo>
                  <a:lnTo>
                    <a:pt x="68" y="389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3" y="392"/>
                  </a:lnTo>
                  <a:lnTo>
                    <a:pt x="63" y="392"/>
                  </a:lnTo>
                  <a:lnTo>
                    <a:pt x="60" y="392"/>
                  </a:lnTo>
                  <a:lnTo>
                    <a:pt x="57" y="392"/>
                  </a:lnTo>
                  <a:lnTo>
                    <a:pt x="57" y="392"/>
                  </a:lnTo>
                  <a:lnTo>
                    <a:pt x="55" y="392"/>
                  </a:lnTo>
                  <a:lnTo>
                    <a:pt x="52" y="392"/>
                  </a:lnTo>
                  <a:lnTo>
                    <a:pt x="50" y="392"/>
                  </a:lnTo>
                  <a:lnTo>
                    <a:pt x="50" y="394"/>
                  </a:lnTo>
                  <a:lnTo>
                    <a:pt x="47" y="394"/>
                  </a:lnTo>
                  <a:lnTo>
                    <a:pt x="47" y="394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89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39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4" y="389"/>
                  </a:lnTo>
                  <a:lnTo>
                    <a:pt x="31" y="389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4"/>
                  </a:lnTo>
                  <a:lnTo>
                    <a:pt x="26" y="394"/>
                  </a:lnTo>
                  <a:lnTo>
                    <a:pt x="24" y="394"/>
                  </a:lnTo>
                  <a:lnTo>
                    <a:pt x="21" y="397"/>
                  </a:lnTo>
                  <a:lnTo>
                    <a:pt x="21" y="397"/>
                  </a:lnTo>
                  <a:lnTo>
                    <a:pt x="18" y="394"/>
                  </a:lnTo>
                  <a:lnTo>
                    <a:pt x="16" y="394"/>
                  </a:lnTo>
                  <a:lnTo>
                    <a:pt x="16" y="392"/>
                  </a:lnTo>
                  <a:lnTo>
                    <a:pt x="13" y="389"/>
                  </a:lnTo>
                  <a:lnTo>
                    <a:pt x="16" y="389"/>
                  </a:lnTo>
                  <a:lnTo>
                    <a:pt x="16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18" y="384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6" y="384"/>
                  </a:lnTo>
                  <a:lnTo>
                    <a:pt x="16" y="384"/>
                  </a:lnTo>
                  <a:lnTo>
                    <a:pt x="16" y="386"/>
                  </a:lnTo>
                  <a:lnTo>
                    <a:pt x="13" y="386"/>
                  </a:lnTo>
                  <a:lnTo>
                    <a:pt x="13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8" y="386"/>
                  </a:lnTo>
                  <a:lnTo>
                    <a:pt x="8" y="384"/>
                  </a:lnTo>
                  <a:lnTo>
                    <a:pt x="8" y="384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6"/>
                  </a:lnTo>
                  <a:lnTo>
                    <a:pt x="3" y="373"/>
                  </a:lnTo>
                  <a:lnTo>
                    <a:pt x="0" y="371"/>
                  </a:lnTo>
                  <a:lnTo>
                    <a:pt x="0" y="371"/>
                  </a:lnTo>
                  <a:lnTo>
                    <a:pt x="0" y="368"/>
                  </a:lnTo>
                  <a:lnTo>
                    <a:pt x="0" y="36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5" name="Freeform 125"/>
            <p:cNvSpPr>
              <a:spLocks/>
            </p:cNvSpPr>
            <p:nvPr/>
          </p:nvSpPr>
          <p:spPr bwMode="auto">
            <a:xfrm>
              <a:off x="937" y="3261"/>
              <a:ext cx="332" cy="397"/>
            </a:xfrm>
            <a:custGeom>
              <a:avLst/>
              <a:gdLst>
                <a:gd name="T0" fmla="*/ 8 w 332"/>
                <a:gd name="T1" fmla="*/ 309 h 397"/>
                <a:gd name="T2" fmla="*/ 26 w 332"/>
                <a:gd name="T3" fmla="*/ 244 h 397"/>
                <a:gd name="T4" fmla="*/ 57 w 332"/>
                <a:gd name="T5" fmla="*/ 182 h 397"/>
                <a:gd name="T6" fmla="*/ 96 w 332"/>
                <a:gd name="T7" fmla="*/ 114 h 397"/>
                <a:gd name="T8" fmla="*/ 104 w 332"/>
                <a:gd name="T9" fmla="*/ 80 h 397"/>
                <a:gd name="T10" fmla="*/ 101 w 332"/>
                <a:gd name="T11" fmla="*/ 47 h 397"/>
                <a:gd name="T12" fmla="*/ 122 w 332"/>
                <a:gd name="T13" fmla="*/ 34 h 397"/>
                <a:gd name="T14" fmla="*/ 132 w 332"/>
                <a:gd name="T15" fmla="*/ 36 h 397"/>
                <a:gd name="T16" fmla="*/ 151 w 332"/>
                <a:gd name="T17" fmla="*/ 57 h 397"/>
                <a:gd name="T18" fmla="*/ 148 w 332"/>
                <a:gd name="T19" fmla="*/ 70 h 397"/>
                <a:gd name="T20" fmla="*/ 171 w 332"/>
                <a:gd name="T21" fmla="*/ 52 h 397"/>
                <a:gd name="T22" fmla="*/ 192 w 332"/>
                <a:gd name="T23" fmla="*/ 39 h 397"/>
                <a:gd name="T24" fmla="*/ 210 w 332"/>
                <a:gd name="T25" fmla="*/ 21 h 397"/>
                <a:gd name="T26" fmla="*/ 207 w 332"/>
                <a:gd name="T27" fmla="*/ 16 h 397"/>
                <a:gd name="T28" fmla="*/ 215 w 332"/>
                <a:gd name="T29" fmla="*/ 3 h 397"/>
                <a:gd name="T30" fmla="*/ 231 w 332"/>
                <a:gd name="T31" fmla="*/ 3 h 397"/>
                <a:gd name="T32" fmla="*/ 241 w 332"/>
                <a:gd name="T33" fmla="*/ 18 h 397"/>
                <a:gd name="T34" fmla="*/ 259 w 332"/>
                <a:gd name="T35" fmla="*/ 18 h 397"/>
                <a:gd name="T36" fmla="*/ 262 w 332"/>
                <a:gd name="T37" fmla="*/ 44 h 397"/>
                <a:gd name="T38" fmla="*/ 275 w 332"/>
                <a:gd name="T39" fmla="*/ 54 h 397"/>
                <a:gd name="T40" fmla="*/ 285 w 332"/>
                <a:gd name="T41" fmla="*/ 49 h 397"/>
                <a:gd name="T42" fmla="*/ 295 w 332"/>
                <a:gd name="T43" fmla="*/ 70 h 397"/>
                <a:gd name="T44" fmla="*/ 293 w 332"/>
                <a:gd name="T45" fmla="*/ 88 h 397"/>
                <a:gd name="T46" fmla="*/ 290 w 332"/>
                <a:gd name="T47" fmla="*/ 96 h 397"/>
                <a:gd name="T48" fmla="*/ 298 w 332"/>
                <a:gd name="T49" fmla="*/ 109 h 397"/>
                <a:gd name="T50" fmla="*/ 301 w 332"/>
                <a:gd name="T51" fmla="*/ 119 h 397"/>
                <a:gd name="T52" fmla="*/ 306 w 332"/>
                <a:gd name="T53" fmla="*/ 130 h 397"/>
                <a:gd name="T54" fmla="*/ 314 w 332"/>
                <a:gd name="T55" fmla="*/ 132 h 397"/>
                <a:gd name="T56" fmla="*/ 324 w 332"/>
                <a:gd name="T57" fmla="*/ 145 h 397"/>
                <a:gd name="T58" fmla="*/ 327 w 332"/>
                <a:gd name="T59" fmla="*/ 161 h 397"/>
                <a:gd name="T60" fmla="*/ 324 w 332"/>
                <a:gd name="T61" fmla="*/ 176 h 397"/>
                <a:gd name="T62" fmla="*/ 327 w 332"/>
                <a:gd name="T63" fmla="*/ 184 h 397"/>
                <a:gd name="T64" fmla="*/ 327 w 332"/>
                <a:gd name="T65" fmla="*/ 197 h 397"/>
                <a:gd name="T66" fmla="*/ 319 w 332"/>
                <a:gd name="T67" fmla="*/ 200 h 397"/>
                <a:gd name="T68" fmla="*/ 306 w 332"/>
                <a:gd name="T69" fmla="*/ 197 h 397"/>
                <a:gd name="T70" fmla="*/ 311 w 332"/>
                <a:gd name="T71" fmla="*/ 207 h 397"/>
                <a:gd name="T72" fmla="*/ 303 w 332"/>
                <a:gd name="T73" fmla="*/ 228 h 397"/>
                <a:gd name="T74" fmla="*/ 283 w 332"/>
                <a:gd name="T75" fmla="*/ 233 h 397"/>
                <a:gd name="T76" fmla="*/ 277 w 332"/>
                <a:gd name="T77" fmla="*/ 254 h 397"/>
                <a:gd name="T78" fmla="*/ 290 w 332"/>
                <a:gd name="T79" fmla="*/ 290 h 397"/>
                <a:gd name="T80" fmla="*/ 290 w 332"/>
                <a:gd name="T81" fmla="*/ 329 h 397"/>
                <a:gd name="T82" fmla="*/ 293 w 332"/>
                <a:gd name="T83" fmla="*/ 347 h 397"/>
                <a:gd name="T84" fmla="*/ 293 w 332"/>
                <a:gd name="T85" fmla="*/ 371 h 397"/>
                <a:gd name="T86" fmla="*/ 280 w 332"/>
                <a:gd name="T87" fmla="*/ 368 h 397"/>
                <a:gd name="T88" fmla="*/ 249 w 332"/>
                <a:gd name="T89" fmla="*/ 384 h 397"/>
                <a:gd name="T90" fmla="*/ 239 w 332"/>
                <a:gd name="T91" fmla="*/ 384 h 397"/>
                <a:gd name="T92" fmla="*/ 207 w 332"/>
                <a:gd name="T93" fmla="*/ 373 h 397"/>
                <a:gd name="T94" fmla="*/ 171 w 332"/>
                <a:gd name="T95" fmla="*/ 347 h 397"/>
                <a:gd name="T96" fmla="*/ 187 w 332"/>
                <a:gd name="T97" fmla="*/ 373 h 397"/>
                <a:gd name="T98" fmla="*/ 163 w 332"/>
                <a:gd name="T99" fmla="*/ 358 h 397"/>
                <a:gd name="T100" fmla="*/ 151 w 332"/>
                <a:gd name="T101" fmla="*/ 366 h 397"/>
                <a:gd name="T102" fmla="*/ 145 w 332"/>
                <a:gd name="T103" fmla="*/ 360 h 397"/>
                <a:gd name="T104" fmla="*/ 138 w 332"/>
                <a:gd name="T105" fmla="*/ 358 h 397"/>
                <a:gd name="T106" fmla="*/ 125 w 332"/>
                <a:gd name="T107" fmla="*/ 353 h 397"/>
                <a:gd name="T108" fmla="*/ 112 w 332"/>
                <a:gd name="T109" fmla="*/ 353 h 397"/>
                <a:gd name="T110" fmla="*/ 107 w 332"/>
                <a:gd name="T111" fmla="*/ 376 h 397"/>
                <a:gd name="T112" fmla="*/ 122 w 332"/>
                <a:gd name="T113" fmla="*/ 376 h 397"/>
                <a:gd name="T114" fmla="*/ 109 w 332"/>
                <a:gd name="T115" fmla="*/ 386 h 397"/>
                <a:gd name="T116" fmla="*/ 78 w 332"/>
                <a:gd name="T117" fmla="*/ 381 h 397"/>
                <a:gd name="T118" fmla="*/ 44 w 332"/>
                <a:gd name="T119" fmla="*/ 389 h 397"/>
                <a:gd name="T120" fmla="*/ 21 w 332"/>
                <a:gd name="T121" fmla="*/ 389 h 397"/>
                <a:gd name="T122" fmla="*/ 8 w 332"/>
                <a:gd name="T123" fmla="*/ 38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397">
                  <a:moveTo>
                    <a:pt x="0" y="366"/>
                  </a:move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6" y="358"/>
                  </a:lnTo>
                  <a:lnTo>
                    <a:pt x="6" y="355"/>
                  </a:lnTo>
                  <a:lnTo>
                    <a:pt x="3" y="355"/>
                  </a:lnTo>
                  <a:lnTo>
                    <a:pt x="3" y="353"/>
                  </a:lnTo>
                  <a:lnTo>
                    <a:pt x="3" y="350"/>
                  </a:lnTo>
                  <a:lnTo>
                    <a:pt x="3" y="347"/>
                  </a:lnTo>
                  <a:lnTo>
                    <a:pt x="6" y="345"/>
                  </a:lnTo>
                  <a:lnTo>
                    <a:pt x="6" y="342"/>
                  </a:lnTo>
                  <a:lnTo>
                    <a:pt x="6" y="340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8" y="335"/>
                  </a:lnTo>
                  <a:lnTo>
                    <a:pt x="8" y="335"/>
                  </a:lnTo>
                  <a:lnTo>
                    <a:pt x="8" y="332"/>
                  </a:lnTo>
                  <a:lnTo>
                    <a:pt x="8" y="329"/>
                  </a:lnTo>
                  <a:lnTo>
                    <a:pt x="8" y="327"/>
                  </a:lnTo>
                  <a:lnTo>
                    <a:pt x="8" y="324"/>
                  </a:lnTo>
                  <a:lnTo>
                    <a:pt x="11" y="324"/>
                  </a:lnTo>
                  <a:lnTo>
                    <a:pt x="11" y="322"/>
                  </a:lnTo>
                  <a:lnTo>
                    <a:pt x="13" y="319"/>
                  </a:lnTo>
                  <a:lnTo>
                    <a:pt x="13" y="316"/>
                  </a:lnTo>
                  <a:lnTo>
                    <a:pt x="11" y="314"/>
                  </a:lnTo>
                  <a:lnTo>
                    <a:pt x="11" y="311"/>
                  </a:lnTo>
                  <a:lnTo>
                    <a:pt x="8" y="311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8" y="306"/>
                  </a:lnTo>
                  <a:lnTo>
                    <a:pt x="8" y="303"/>
                  </a:lnTo>
                  <a:lnTo>
                    <a:pt x="8" y="301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8" y="296"/>
                  </a:lnTo>
                  <a:lnTo>
                    <a:pt x="8" y="293"/>
                  </a:lnTo>
                  <a:lnTo>
                    <a:pt x="8" y="293"/>
                  </a:lnTo>
                  <a:lnTo>
                    <a:pt x="11" y="290"/>
                  </a:lnTo>
                  <a:lnTo>
                    <a:pt x="11" y="288"/>
                  </a:lnTo>
                  <a:lnTo>
                    <a:pt x="11" y="288"/>
                  </a:lnTo>
                  <a:lnTo>
                    <a:pt x="11" y="285"/>
                  </a:lnTo>
                  <a:lnTo>
                    <a:pt x="13" y="280"/>
                  </a:lnTo>
                  <a:lnTo>
                    <a:pt x="16" y="277"/>
                  </a:lnTo>
                  <a:lnTo>
                    <a:pt x="18" y="275"/>
                  </a:lnTo>
                  <a:lnTo>
                    <a:pt x="18" y="272"/>
                  </a:lnTo>
                  <a:lnTo>
                    <a:pt x="21" y="267"/>
                  </a:lnTo>
                  <a:lnTo>
                    <a:pt x="21" y="267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59"/>
                  </a:lnTo>
                  <a:lnTo>
                    <a:pt x="24" y="259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9"/>
                  </a:lnTo>
                  <a:lnTo>
                    <a:pt x="26" y="246"/>
                  </a:lnTo>
                  <a:lnTo>
                    <a:pt x="26" y="244"/>
                  </a:lnTo>
                  <a:lnTo>
                    <a:pt x="26" y="241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31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4" y="223"/>
                  </a:lnTo>
                  <a:lnTo>
                    <a:pt x="34" y="220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0"/>
                  </a:lnTo>
                  <a:lnTo>
                    <a:pt x="37" y="205"/>
                  </a:lnTo>
                  <a:lnTo>
                    <a:pt x="37" y="202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42" y="197"/>
                  </a:lnTo>
                  <a:lnTo>
                    <a:pt x="47" y="194"/>
                  </a:lnTo>
                  <a:lnTo>
                    <a:pt x="50" y="189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2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7" y="182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6"/>
                  </a:lnTo>
                  <a:lnTo>
                    <a:pt x="63" y="174"/>
                  </a:lnTo>
                  <a:lnTo>
                    <a:pt x="65" y="174"/>
                  </a:lnTo>
                  <a:lnTo>
                    <a:pt x="65" y="171"/>
                  </a:lnTo>
                  <a:lnTo>
                    <a:pt x="68" y="169"/>
                  </a:lnTo>
                  <a:lnTo>
                    <a:pt x="68" y="163"/>
                  </a:lnTo>
                  <a:lnTo>
                    <a:pt x="70" y="158"/>
                  </a:lnTo>
                  <a:lnTo>
                    <a:pt x="73" y="153"/>
                  </a:lnTo>
                  <a:lnTo>
                    <a:pt x="75" y="148"/>
                  </a:lnTo>
                  <a:lnTo>
                    <a:pt x="78" y="145"/>
                  </a:lnTo>
                  <a:lnTo>
                    <a:pt x="81" y="145"/>
                  </a:lnTo>
                  <a:lnTo>
                    <a:pt x="83" y="143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8" y="137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4" y="122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7"/>
                  </a:lnTo>
                  <a:lnTo>
                    <a:pt x="96" y="114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101" y="96"/>
                  </a:lnTo>
                  <a:lnTo>
                    <a:pt x="101" y="93"/>
                  </a:lnTo>
                  <a:lnTo>
                    <a:pt x="104" y="91"/>
                  </a:lnTo>
                  <a:lnTo>
                    <a:pt x="107" y="91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4" y="83"/>
                  </a:lnTo>
                  <a:lnTo>
                    <a:pt x="104" y="80"/>
                  </a:lnTo>
                  <a:lnTo>
                    <a:pt x="107" y="80"/>
                  </a:lnTo>
                  <a:lnTo>
                    <a:pt x="109" y="78"/>
                  </a:lnTo>
                  <a:lnTo>
                    <a:pt x="109" y="75"/>
                  </a:lnTo>
                  <a:lnTo>
                    <a:pt x="109" y="73"/>
                  </a:lnTo>
                  <a:lnTo>
                    <a:pt x="112" y="70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0"/>
                  </a:lnTo>
                  <a:lnTo>
                    <a:pt x="109" y="70"/>
                  </a:lnTo>
                  <a:lnTo>
                    <a:pt x="109" y="67"/>
                  </a:lnTo>
                  <a:lnTo>
                    <a:pt x="112" y="67"/>
                  </a:lnTo>
                  <a:lnTo>
                    <a:pt x="112" y="65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09" y="62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7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49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39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9" y="36"/>
                  </a:lnTo>
                  <a:lnTo>
                    <a:pt x="109" y="39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2"/>
                  </a:lnTo>
                  <a:lnTo>
                    <a:pt x="125" y="39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4"/>
                  </a:lnTo>
                  <a:lnTo>
                    <a:pt x="119" y="34"/>
                  </a:lnTo>
                  <a:lnTo>
                    <a:pt x="122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30" y="39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5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3" y="49"/>
                  </a:lnTo>
                  <a:lnTo>
                    <a:pt x="145" y="49"/>
                  </a:lnTo>
                  <a:lnTo>
                    <a:pt x="145" y="49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8" y="47"/>
                  </a:lnTo>
                  <a:lnTo>
                    <a:pt x="145" y="49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51" y="49"/>
                  </a:lnTo>
                  <a:lnTo>
                    <a:pt x="153" y="49"/>
                  </a:lnTo>
                  <a:lnTo>
                    <a:pt x="156" y="52"/>
                  </a:lnTo>
                  <a:lnTo>
                    <a:pt x="156" y="54"/>
                  </a:lnTo>
                  <a:lnTo>
                    <a:pt x="153" y="54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48" y="54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70"/>
                  </a:lnTo>
                  <a:lnTo>
                    <a:pt x="145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51" y="70"/>
                  </a:lnTo>
                  <a:lnTo>
                    <a:pt x="151" y="70"/>
                  </a:lnTo>
                  <a:lnTo>
                    <a:pt x="153" y="67"/>
                  </a:lnTo>
                  <a:lnTo>
                    <a:pt x="156" y="65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58" y="60"/>
                  </a:lnTo>
                  <a:lnTo>
                    <a:pt x="161" y="60"/>
                  </a:lnTo>
                  <a:lnTo>
                    <a:pt x="158" y="57"/>
                  </a:lnTo>
                  <a:lnTo>
                    <a:pt x="158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49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4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9" y="47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79" y="47"/>
                  </a:lnTo>
                  <a:lnTo>
                    <a:pt x="176" y="47"/>
                  </a:lnTo>
                  <a:lnTo>
                    <a:pt x="176" y="44"/>
                  </a:lnTo>
                  <a:lnTo>
                    <a:pt x="176" y="42"/>
                  </a:lnTo>
                  <a:lnTo>
                    <a:pt x="174" y="42"/>
                  </a:lnTo>
                  <a:lnTo>
                    <a:pt x="174" y="39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82" y="39"/>
                  </a:lnTo>
                  <a:lnTo>
                    <a:pt x="184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2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3"/>
                  </a:lnTo>
                  <a:lnTo>
                    <a:pt x="207" y="23"/>
                  </a:lnTo>
                  <a:lnTo>
                    <a:pt x="207" y="26"/>
                  </a:lnTo>
                  <a:lnTo>
                    <a:pt x="210" y="26"/>
                  </a:lnTo>
                  <a:lnTo>
                    <a:pt x="213" y="26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0" y="13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3"/>
                  </a:lnTo>
                  <a:lnTo>
                    <a:pt x="207" y="13"/>
                  </a:lnTo>
                  <a:lnTo>
                    <a:pt x="207" y="13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205" y="10"/>
                  </a:lnTo>
                  <a:lnTo>
                    <a:pt x="200" y="10"/>
                  </a:lnTo>
                  <a:lnTo>
                    <a:pt x="200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7" y="5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8" y="5"/>
                  </a:lnTo>
                  <a:lnTo>
                    <a:pt x="218" y="3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5"/>
                  </a:lnTo>
                  <a:lnTo>
                    <a:pt x="223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8" y="5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3" y="3"/>
                  </a:lnTo>
                  <a:lnTo>
                    <a:pt x="236" y="3"/>
                  </a:lnTo>
                  <a:lnTo>
                    <a:pt x="239" y="0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5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9" y="10"/>
                  </a:lnTo>
                  <a:lnTo>
                    <a:pt x="239" y="13"/>
                  </a:lnTo>
                  <a:lnTo>
                    <a:pt x="236" y="13"/>
                  </a:lnTo>
                  <a:lnTo>
                    <a:pt x="236" y="13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6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6" y="10"/>
                  </a:lnTo>
                  <a:lnTo>
                    <a:pt x="246" y="13"/>
                  </a:lnTo>
                  <a:lnTo>
                    <a:pt x="246" y="16"/>
                  </a:lnTo>
                  <a:lnTo>
                    <a:pt x="246" y="16"/>
                  </a:lnTo>
                  <a:lnTo>
                    <a:pt x="246" y="18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9" y="16"/>
                  </a:lnTo>
                  <a:lnTo>
                    <a:pt x="251" y="13"/>
                  </a:lnTo>
                  <a:lnTo>
                    <a:pt x="254" y="13"/>
                  </a:lnTo>
                  <a:lnTo>
                    <a:pt x="254" y="10"/>
                  </a:lnTo>
                  <a:lnTo>
                    <a:pt x="257" y="10"/>
                  </a:lnTo>
                  <a:lnTo>
                    <a:pt x="254" y="13"/>
                  </a:lnTo>
                  <a:lnTo>
                    <a:pt x="254" y="13"/>
                  </a:lnTo>
                  <a:lnTo>
                    <a:pt x="257" y="13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31"/>
                  </a:lnTo>
                  <a:lnTo>
                    <a:pt x="264" y="34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59" y="34"/>
                  </a:lnTo>
                  <a:lnTo>
                    <a:pt x="259" y="36"/>
                  </a:lnTo>
                  <a:lnTo>
                    <a:pt x="262" y="36"/>
                  </a:lnTo>
                  <a:lnTo>
                    <a:pt x="262" y="36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2" y="42"/>
                  </a:lnTo>
                  <a:lnTo>
                    <a:pt x="262" y="42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4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9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4"/>
                  </a:lnTo>
                  <a:lnTo>
                    <a:pt x="270" y="49"/>
                  </a:lnTo>
                  <a:lnTo>
                    <a:pt x="270" y="52"/>
                  </a:lnTo>
                  <a:lnTo>
                    <a:pt x="267" y="52"/>
                  </a:lnTo>
                  <a:lnTo>
                    <a:pt x="270" y="54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7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5" y="49"/>
                  </a:lnTo>
                  <a:lnTo>
                    <a:pt x="283" y="49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4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2"/>
                  </a:lnTo>
                  <a:lnTo>
                    <a:pt x="285" y="44"/>
                  </a:lnTo>
                  <a:lnTo>
                    <a:pt x="288" y="44"/>
                  </a:lnTo>
                  <a:lnTo>
                    <a:pt x="288" y="44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5" y="47"/>
                  </a:lnTo>
                  <a:lnTo>
                    <a:pt x="285" y="49"/>
                  </a:lnTo>
                  <a:lnTo>
                    <a:pt x="285" y="49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8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8" y="57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288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5"/>
                  </a:lnTo>
                  <a:lnTo>
                    <a:pt x="293" y="67"/>
                  </a:lnTo>
                  <a:lnTo>
                    <a:pt x="295" y="67"/>
                  </a:lnTo>
                  <a:lnTo>
                    <a:pt x="293" y="67"/>
                  </a:lnTo>
                  <a:lnTo>
                    <a:pt x="293" y="67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3" y="70"/>
                  </a:lnTo>
                  <a:lnTo>
                    <a:pt x="293" y="70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5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88" y="78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88" y="80"/>
                  </a:lnTo>
                  <a:lnTo>
                    <a:pt x="290" y="80"/>
                  </a:lnTo>
                  <a:lnTo>
                    <a:pt x="290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5" y="88"/>
                  </a:lnTo>
                  <a:lnTo>
                    <a:pt x="295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9"/>
                  </a:lnTo>
                  <a:lnTo>
                    <a:pt x="293" y="99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8" y="106"/>
                  </a:lnTo>
                  <a:lnTo>
                    <a:pt x="298" y="106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6" y="122"/>
                  </a:lnTo>
                  <a:lnTo>
                    <a:pt x="306" y="122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7"/>
                  </a:lnTo>
                  <a:lnTo>
                    <a:pt x="306" y="124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6" y="132"/>
                  </a:lnTo>
                  <a:lnTo>
                    <a:pt x="316" y="132"/>
                  </a:lnTo>
                  <a:lnTo>
                    <a:pt x="316" y="135"/>
                  </a:lnTo>
                  <a:lnTo>
                    <a:pt x="316" y="135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5"/>
                  </a:lnTo>
                  <a:lnTo>
                    <a:pt x="321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4" y="150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7" y="153"/>
                  </a:lnTo>
                  <a:lnTo>
                    <a:pt x="327" y="153"/>
                  </a:lnTo>
                  <a:lnTo>
                    <a:pt x="324" y="153"/>
                  </a:lnTo>
                  <a:lnTo>
                    <a:pt x="324" y="156"/>
                  </a:lnTo>
                  <a:lnTo>
                    <a:pt x="324" y="156"/>
                  </a:lnTo>
                  <a:lnTo>
                    <a:pt x="327" y="156"/>
                  </a:lnTo>
                  <a:lnTo>
                    <a:pt x="327" y="156"/>
                  </a:lnTo>
                  <a:lnTo>
                    <a:pt x="329" y="158"/>
                  </a:lnTo>
                  <a:lnTo>
                    <a:pt x="327" y="158"/>
                  </a:lnTo>
                  <a:lnTo>
                    <a:pt x="327" y="161"/>
                  </a:lnTo>
                  <a:lnTo>
                    <a:pt x="327" y="161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6"/>
                  </a:lnTo>
                  <a:lnTo>
                    <a:pt x="327" y="166"/>
                  </a:lnTo>
                  <a:lnTo>
                    <a:pt x="327" y="166"/>
                  </a:lnTo>
                  <a:lnTo>
                    <a:pt x="324" y="169"/>
                  </a:lnTo>
                  <a:lnTo>
                    <a:pt x="327" y="169"/>
                  </a:lnTo>
                  <a:lnTo>
                    <a:pt x="327" y="169"/>
                  </a:lnTo>
                  <a:lnTo>
                    <a:pt x="329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9" y="171"/>
                  </a:lnTo>
                  <a:lnTo>
                    <a:pt x="327" y="174"/>
                  </a:lnTo>
                  <a:lnTo>
                    <a:pt x="327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7" y="184"/>
                  </a:lnTo>
                  <a:lnTo>
                    <a:pt x="327" y="184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32" y="189"/>
                  </a:lnTo>
                  <a:lnTo>
                    <a:pt x="332" y="189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29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2" y="194"/>
                  </a:lnTo>
                  <a:lnTo>
                    <a:pt x="329" y="194"/>
                  </a:lnTo>
                  <a:lnTo>
                    <a:pt x="329" y="197"/>
                  </a:lnTo>
                  <a:lnTo>
                    <a:pt x="329" y="197"/>
                  </a:lnTo>
                  <a:lnTo>
                    <a:pt x="327" y="197"/>
                  </a:lnTo>
                  <a:lnTo>
                    <a:pt x="327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7" y="194"/>
                  </a:lnTo>
                  <a:lnTo>
                    <a:pt x="327" y="194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4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19" y="197"/>
                  </a:lnTo>
                  <a:lnTo>
                    <a:pt x="319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6" y="189"/>
                  </a:lnTo>
                  <a:lnTo>
                    <a:pt x="308" y="192"/>
                  </a:lnTo>
                  <a:lnTo>
                    <a:pt x="308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5"/>
                  </a:lnTo>
                  <a:lnTo>
                    <a:pt x="314" y="205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3"/>
                  </a:lnTo>
                  <a:lnTo>
                    <a:pt x="311" y="213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4" y="215"/>
                  </a:lnTo>
                  <a:lnTo>
                    <a:pt x="314" y="218"/>
                  </a:lnTo>
                  <a:lnTo>
                    <a:pt x="311" y="218"/>
                  </a:lnTo>
                  <a:lnTo>
                    <a:pt x="311" y="220"/>
                  </a:lnTo>
                  <a:lnTo>
                    <a:pt x="311" y="220"/>
                  </a:lnTo>
                  <a:lnTo>
                    <a:pt x="314" y="220"/>
                  </a:lnTo>
                  <a:lnTo>
                    <a:pt x="314" y="220"/>
                  </a:lnTo>
                  <a:lnTo>
                    <a:pt x="314" y="223"/>
                  </a:lnTo>
                  <a:lnTo>
                    <a:pt x="314" y="223"/>
                  </a:lnTo>
                  <a:lnTo>
                    <a:pt x="311" y="223"/>
                  </a:lnTo>
                  <a:lnTo>
                    <a:pt x="308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3" y="223"/>
                  </a:lnTo>
                  <a:lnTo>
                    <a:pt x="303" y="223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8"/>
                  </a:lnTo>
                  <a:lnTo>
                    <a:pt x="303" y="228"/>
                  </a:lnTo>
                  <a:lnTo>
                    <a:pt x="301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5" y="233"/>
                  </a:lnTo>
                  <a:lnTo>
                    <a:pt x="293" y="233"/>
                  </a:lnTo>
                  <a:lnTo>
                    <a:pt x="293" y="233"/>
                  </a:lnTo>
                  <a:lnTo>
                    <a:pt x="290" y="233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88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0" y="233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0" y="236"/>
                  </a:lnTo>
                  <a:lnTo>
                    <a:pt x="280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0" y="239"/>
                  </a:lnTo>
                  <a:lnTo>
                    <a:pt x="280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5" y="246"/>
                  </a:lnTo>
                  <a:lnTo>
                    <a:pt x="275" y="249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80" y="254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9"/>
                  </a:lnTo>
                  <a:lnTo>
                    <a:pt x="283" y="259"/>
                  </a:lnTo>
                  <a:lnTo>
                    <a:pt x="283" y="262"/>
                  </a:lnTo>
                  <a:lnTo>
                    <a:pt x="283" y="265"/>
                  </a:lnTo>
                  <a:lnTo>
                    <a:pt x="285" y="265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5" y="272"/>
                  </a:lnTo>
                  <a:lnTo>
                    <a:pt x="285" y="272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5"/>
                  </a:lnTo>
                  <a:lnTo>
                    <a:pt x="290" y="288"/>
                  </a:lnTo>
                  <a:lnTo>
                    <a:pt x="290" y="290"/>
                  </a:lnTo>
                  <a:lnTo>
                    <a:pt x="293" y="293"/>
                  </a:lnTo>
                  <a:lnTo>
                    <a:pt x="293" y="296"/>
                  </a:lnTo>
                  <a:lnTo>
                    <a:pt x="293" y="298"/>
                  </a:lnTo>
                  <a:lnTo>
                    <a:pt x="293" y="301"/>
                  </a:lnTo>
                  <a:lnTo>
                    <a:pt x="293" y="303"/>
                  </a:lnTo>
                  <a:lnTo>
                    <a:pt x="293" y="303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11"/>
                  </a:lnTo>
                  <a:lnTo>
                    <a:pt x="290" y="314"/>
                  </a:lnTo>
                  <a:lnTo>
                    <a:pt x="290" y="316"/>
                  </a:lnTo>
                  <a:lnTo>
                    <a:pt x="290" y="319"/>
                  </a:lnTo>
                  <a:lnTo>
                    <a:pt x="290" y="319"/>
                  </a:lnTo>
                  <a:lnTo>
                    <a:pt x="288" y="319"/>
                  </a:lnTo>
                  <a:lnTo>
                    <a:pt x="288" y="322"/>
                  </a:lnTo>
                  <a:lnTo>
                    <a:pt x="288" y="322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32"/>
                  </a:lnTo>
                  <a:lnTo>
                    <a:pt x="290" y="332"/>
                  </a:lnTo>
                  <a:lnTo>
                    <a:pt x="288" y="335"/>
                  </a:lnTo>
                  <a:lnTo>
                    <a:pt x="288" y="335"/>
                  </a:lnTo>
                  <a:lnTo>
                    <a:pt x="290" y="335"/>
                  </a:lnTo>
                  <a:lnTo>
                    <a:pt x="290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90" y="337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90" y="342"/>
                  </a:lnTo>
                  <a:lnTo>
                    <a:pt x="293" y="342"/>
                  </a:lnTo>
                  <a:lnTo>
                    <a:pt x="293" y="345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5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0" y="355"/>
                  </a:lnTo>
                  <a:lnTo>
                    <a:pt x="290" y="358"/>
                  </a:lnTo>
                  <a:lnTo>
                    <a:pt x="290" y="360"/>
                  </a:lnTo>
                  <a:lnTo>
                    <a:pt x="293" y="363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71"/>
                  </a:lnTo>
                  <a:lnTo>
                    <a:pt x="293" y="371"/>
                  </a:lnTo>
                  <a:lnTo>
                    <a:pt x="290" y="371"/>
                  </a:lnTo>
                  <a:lnTo>
                    <a:pt x="290" y="373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9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1"/>
                  </a:lnTo>
                  <a:lnTo>
                    <a:pt x="285" y="371"/>
                  </a:lnTo>
                  <a:lnTo>
                    <a:pt x="285" y="368"/>
                  </a:lnTo>
                  <a:lnTo>
                    <a:pt x="283" y="368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68"/>
                  </a:lnTo>
                  <a:lnTo>
                    <a:pt x="280" y="368"/>
                  </a:lnTo>
                  <a:lnTo>
                    <a:pt x="277" y="371"/>
                  </a:lnTo>
                  <a:lnTo>
                    <a:pt x="277" y="371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2" y="373"/>
                  </a:lnTo>
                  <a:lnTo>
                    <a:pt x="272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64" y="371"/>
                  </a:lnTo>
                  <a:lnTo>
                    <a:pt x="262" y="371"/>
                  </a:lnTo>
                  <a:lnTo>
                    <a:pt x="262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3"/>
                  </a:lnTo>
                  <a:lnTo>
                    <a:pt x="259" y="373"/>
                  </a:lnTo>
                  <a:lnTo>
                    <a:pt x="257" y="373"/>
                  </a:lnTo>
                  <a:lnTo>
                    <a:pt x="257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9"/>
                  </a:lnTo>
                  <a:lnTo>
                    <a:pt x="251" y="381"/>
                  </a:lnTo>
                  <a:lnTo>
                    <a:pt x="251" y="381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4" y="384"/>
                  </a:lnTo>
                  <a:lnTo>
                    <a:pt x="244" y="384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4"/>
                  </a:lnTo>
                  <a:lnTo>
                    <a:pt x="241" y="384"/>
                  </a:lnTo>
                  <a:lnTo>
                    <a:pt x="241" y="384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39" y="381"/>
                  </a:lnTo>
                  <a:lnTo>
                    <a:pt x="239" y="381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6" y="386"/>
                  </a:lnTo>
                  <a:lnTo>
                    <a:pt x="236" y="386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1" y="386"/>
                  </a:lnTo>
                  <a:lnTo>
                    <a:pt x="231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4"/>
                  </a:lnTo>
                  <a:lnTo>
                    <a:pt x="226" y="384"/>
                  </a:lnTo>
                  <a:lnTo>
                    <a:pt x="226" y="381"/>
                  </a:lnTo>
                  <a:lnTo>
                    <a:pt x="223" y="381"/>
                  </a:lnTo>
                  <a:lnTo>
                    <a:pt x="223" y="379"/>
                  </a:lnTo>
                  <a:lnTo>
                    <a:pt x="223" y="376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3"/>
                  </a:lnTo>
                  <a:lnTo>
                    <a:pt x="213" y="373"/>
                  </a:lnTo>
                  <a:lnTo>
                    <a:pt x="210" y="371"/>
                  </a:lnTo>
                  <a:lnTo>
                    <a:pt x="210" y="371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5" y="373"/>
                  </a:lnTo>
                  <a:lnTo>
                    <a:pt x="205" y="373"/>
                  </a:lnTo>
                  <a:lnTo>
                    <a:pt x="202" y="371"/>
                  </a:lnTo>
                  <a:lnTo>
                    <a:pt x="202" y="371"/>
                  </a:lnTo>
                  <a:lnTo>
                    <a:pt x="195" y="368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2" y="366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89" y="358"/>
                  </a:lnTo>
                  <a:lnTo>
                    <a:pt x="187" y="355"/>
                  </a:lnTo>
                  <a:lnTo>
                    <a:pt x="187" y="355"/>
                  </a:lnTo>
                  <a:lnTo>
                    <a:pt x="184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4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50"/>
                  </a:lnTo>
                  <a:lnTo>
                    <a:pt x="174" y="353"/>
                  </a:lnTo>
                  <a:lnTo>
                    <a:pt x="174" y="353"/>
                  </a:lnTo>
                  <a:lnTo>
                    <a:pt x="179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4" y="358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7" y="360"/>
                  </a:lnTo>
                  <a:lnTo>
                    <a:pt x="187" y="363"/>
                  </a:lnTo>
                  <a:lnTo>
                    <a:pt x="187" y="363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9" y="368"/>
                  </a:lnTo>
                  <a:lnTo>
                    <a:pt x="189" y="368"/>
                  </a:lnTo>
                  <a:lnTo>
                    <a:pt x="189" y="371"/>
                  </a:lnTo>
                  <a:lnTo>
                    <a:pt x="189" y="371"/>
                  </a:lnTo>
                  <a:lnTo>
                    <a:pt x="189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2" y="371"/>
                  </a:lnTo>
                  <a:lnTo>
                    <a:pt x="182" y="371"/>
                  </a:lnTo>
                  <a:lnTo>
                    <a:pt x="179" y="371"/>
                  </a:lnTo>
                  <a:lnTo>
                    <a:pt x="179" y="368"/>
                  </a:lnTo>
                  <a:lnTo>
                    <a:pt x="176" y="368"/>
                  </a:lnTo>
                  <a:lnTo>
                    <a:pt x="174" y="368"/>
                  </a:lnTo>
                  <a:lnTo>
                    <a:pt x="174" y="368"/>
                  </a:lnTo>
                  <a:lnTo>
                    <a:pt x="171" y="368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4" y="366"/>
                  </a:lnTo>
                  <a:lnTo>
                    <a:pt x="174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6"/>
                  </a:lnTo>
                  <a:lnTo>
                    <a:pt x="174" y="363"/>
                  </a:lnTo>
                  <a:lnTo>
                    <a:pt x="171" y="363"/>
                  </a:lnTo>
                  <a:lnTo>
                    <a:pt x="171" y="363"/>
                  </a:lnTo>
                  <a:lnTo>
                    <a:pt x="169" y="360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3" y="358"/>
                  </a:lnTo>
                  <a:lnTo>
                    <a:pt x="166" y="360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0"/>
                  </a:lnTo>
                  <a:lnTo>
                    <a:pt x="163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3"/>
                  </a:lnTo>
                  <a:lnTo>
                    <a:pt x="161" y="363"/>
                  </a:lnTo>
                  <a:lnTo>
                    <a:pt x="163" y="363"/>
                  </a:lnTo>
                  <a:lnTo>
                    <a:pt x="163" y="363"/>
                  </a:lnTo>
                  <a:lnTo>
                    <a:pt x="166" y="366"/>
                  </a:lnTo>
                  <a:lnTo>
                    <a:pt x="166" y="368"/>
                  </a:lnTo>
                  <a:lnTo>
                    <a:pt x="166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8" y="373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6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3" y="368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48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3"/>
                  </a:lnTo>
                  <a:lnTo>
                    <a:pt x="143" y="360"/>
                  </a:lnTo>
                  <a:lnTo>
                    <a:pt x="143" y="363"/>
                  </a:lnTo>
                  <a:lnTo>
                    <a:pt x="143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5" y="366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3" y="368"/>
                  </a:lnTo>
                  <a:lnTo>
                    <a:pt x="143" y="371"/>
                  </a:lnTo>
                  <a:lnTo>
                    <a:pt x="140" y="371"/>
                  </a:lnTo>
                  <a:lnTo>
                    <a:pt x="140" y="368"/>
                  </a:lnTo>
                  <a:lnTo>
                    <a:pt x="138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8" y="363"/>
                  </a:lnTo>
                  <a:lnTo>
                    <a:pt x="135" y="363"/>
                  </a:lnTo>
                  <a:lnTo>
                    <a:pt x="135" y="363"/>
                  </a:lnTo>
                  <a:lnTo>
                    <a:pt x="135" y="360"/>
                  </a:lnTo>
                  <a:lnTo>
                    <a:pt x="135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27" y="350"/>
                  </a:lnTo>
                  <a:lnTo>
                    <a:pt x="127" y="350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2" y="353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2" y="347"/>
                  </a:lnTo>
                  <a:lnTo>
                    <a:pt x="122" y="347"/>
                  </a:lnTo>
                  <a:lnTo>
                    <a:pt x="122" y="350"/>
                  </a:lnTo>
                  <a:lnTo>
                    <a:pt x="119" y="350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7" y="347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9" y="350"/>
                  </a:lnTo>
                  <a:lnTo>
                    <a:pt x="119" y="350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09" y="353"/>
                  </a:lnTo>
                  <a:lnTo>
                    <a:pt x="109" y="355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4" y="360"/>
                  </a:lnTo>
                  <a:lnTo>
                    <a:pt x="104" y="360"/>
                  </a:lnTo>
                  <a:lnTo>
                    <a:pt x="107" y="360"/>
                  </a:lnTo>
                  <a:lnTo>
                    <a:pt x="107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99" y="368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1"/>
                  </a:lnTo>
                  <a:lnTo>
                    <a:pt x="99" y="371"/>
                  </a:lnTo>
                  <a:lnTo>
                    <a:pt x="101" y="373"/>
                  </a:lnTo>
                  <a:lnTo>
                    <a:pt x="104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9"/>
                  </a:lnTo>
                  <a:lnTo>
                    <a:pt x="109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12" y="376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7" y="373"/>
                  </a:lnTo>
                  <a:lnTo>
                    <a:pt x="117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22" y="371"/>
                  </a:lnTo>
                  <a:lnTo>
                    <a:pt x="122" y="371"/>
                  </a:lnTo>
                  <a:lnTo>
                    <a:pt x="122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6"/>
                  </a:lnTo>
                  <a:lnTo>
                    <a:pt x="125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3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2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7" y="384"/>
                  </a:lnTo>
                  <a:lnTo>
                    <a:pt x="117" y="384"/>
                  </a:lnTo>
                  <a:lnTo>
                    <a:pt x="119" y="381"/>
                  </a:lnTo>
                  <a:lnTo>
                    <a:pt x="117" y="379"/>
                  </a:lnTo>
                  <a:lnTo>
                    <a:pt x="117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2" y="379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09" y="381"/>
                  </a:lnTo>
                  <a:lnTo>
                    <a:pt x="109" y="381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6"/>
                  </a:lnTo>
                  <a:lnTo>
                    <a:pt x="107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7" y="389"/>
                  </a:lnTo>
                  <a:lnTo>
                    <a:pt x="104" y="389"/>
                  </a:lnTo>
                  <a:lnTo>
                    <a:pt x="101" y="389"/>
                  </a:lnTo>
                  <a:lnTo>
                    <a:pt x="101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6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4" y="389"/>
                  </a:lnTo>
                  <a:lnTo>
                    <a:pt x="91" y="389"/>
                  </a:lnTo>
                  <a:lnTo>
                    <a:pt x="88" y="386"/>
                  </a:lnTo>
                  <a:lnTo>
                    <a:pt x="88" y="386"/>
                  </a:lnTo>
                  <a:lnTo>
                    <a:pt x="88" y="384"/>
                  </a:lnTo>
                  <a:lnTo>
                    <a:pt x="88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6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5" y="381"/>
                  </a:lnTo>
                  <a:lnTo>
                    <a:pt x="75" y="384"/>
                  </a:lnTo>
                  <a:lnTo>
                    <a:pt x="73" y="384"/>
                  </a:lnTo>
                  <a:lnTo>
                    <a:pt x="73" y="384"/>
                  </a:lnTo>
                  <a:lnTo>
                    <a:pt x="70" y="384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68" y="386"/>
                  </a:lnTo>
                  <a:lnTo>
                    <a:pt x="68" y="386"/>
                  </a:lnTo>
                  <a:lnTo>
                    <a:pt x="68" y="389"/>
                  </a:lnTo>
                  <a:lnTo>
                    <a:pt x="68" y="389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3" y="392"/>
                  </a:lnTo>
                  <a:lnTo>
                    <a:pt x="63" y="392"/>
                  </a:lnTo>
                  <a:lnTo>
                    <a:pt x="60" y="392"/>
                  </a:lnTo>
                  <a:lnTo>
                    <a:pt x="57" y="392"/>
                  </a:lnTo>
                  <a:lnTo>
                    <a:pt x="57" y="392"/>
                  </a:lnTo>
                  <a:lnTo>
                    <a:pt x="55" y="392"/>
                  </a:lnTo>
                  <a:lnTo>
                    <a:pt x="52" y="392"/>
                  </a:lnTo>
                  <a:lnTo>
                    <a:pt x="50" y="392"/>
                  </a:lnTo>
                  <a:lnTo>
                    <a:pt x="50" y="394"/>
                  </a:lnTo>
                  <a:lnTo>
                    <a:pt x="47" y="394"/>
                  </a:lnTo>
                  <a:lnTo>
                    <a:pt x="47" y="394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89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39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4" y="389"/>
                  </a:lnTo>
                  <a:lnTo>
                    <a:pt x="31" y="389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4"/>
                  </a:lnTo>
                  <a:lnTo>
                    <a:pt x="26" y="394"/>
                  </a:lnTo>
                  <a:lnTo>
                    <a:pt x="24" y="394"/>
                  </a:lnTo>
                  <a:lnTo>
                    <a:pt x="21" y="397"/>
                  </a:lnTo>
                  <a:lnTo>
                    <a:pt x="21" y="397"/>
                  </a:lnTo>
                  <a:lnTo>
                    <a:pt x="18" y="394"/>
                  </a:lnTo>
                  <a:lnTo>
                    <a:pt x="16" y="394"/>
                  </a:lnTo>
                  <a:lnTo>
                    <a:pt x="16" y="392"/>
                  </a:lnTo>
                  <a:lnTo>
                    <a:pt x="13" y="389"/>
                  </a:lnTo>
                  <a:lnTo>
                    <a:pt x="16" y="389"/>
                  </a:lnTo>
                  <a:lnTo>
                    <a:pt x="16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18" y="384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6" y="384"/>
                  </a:lnTo>
                  <a:lnTo>
                    <a:pt x="16" y="384"/>
                  </a:lnTo>
                  <a:lnTo>
                    <a:pt x="16" y="386"/>
                  </a:lnTo>
                  <a:lnTo>
                    <a:pt x="13" y="386"/>
                  </a:lnTo>
                  <a:lnTo>
                    <a:pt x="13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8" y="386"/>
                  </a:lnTo>
                  <a:lnTo>
                    <a:pt x="8" y="384"/>
                  </a:lnTo>
                  <a:lnTo>
                    <a:pt x="8" y="384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6"/>
                  </a:lnTo>
                  <a:lnTo>
                    <a:pt x="3" y="373"/>
                  </a:lnTo>
                  <a:lnTo>
                    <a:pt x="0" y="371"/>
                  </a:lnTo>
                  <a:lnTo>
                    <a:pt x="0" y="371"/>
                  </a:lnTo>
                  <a:lnTo>
                    <a:pt x="0" y="368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6" name="Freeform 126"/>
            <p:cNvSpPr>
              <a:spLocks/>
            </p:cNvSpPr>
            <p:nvPr/>
          </p:nvSpPr>
          <p:spPr bwMode="auto">
            <a:xfrm>
              <a:off x="937" y="3261"/>
              <a:ext cx="332" cy="397"/>
            </a:xfrm>
            <a:custGeom>
              <a:avLst/>
              <a:gdLst>
                <a:gd name="T0" fmla="*/ 8 w 332"/>
                <a:gd name="T1" fmla="*/ 309 h 397"/>
                <a:gd name="T2" fmla="*/ 26 w 332"/>
                <a:gd name="T3" fmla="*/ 244 h 397"/>
                <a:gd name="T4" fmla="*/ 57 w 332"/>
                <a:gd name="T5" fmla="*/ 182 h 397"/>
                <a:gd name="T6" fmla="*/ 96 w 332"/>
                <a:gd name="T7" fmla="*/ 114 h 397"/>
                <a:gd name="T8" fmla="*/ 104 w 332"/>
                <a:gd name="T9" fmla="*/ 80 h 397"/>
                <a:gd name="T10" fmla="*/ 101 w 332"/>
                <a:gd name="T11" fmla="*/ 47 h 397"/>
                <a:gd name="T12" fmla="*/ 122 w 332"/>
                <a:gd name="T13" fmla="*/ 34 h 397"/>
                <a:gd name="T14" fmla="*/ 132 w 332"/>
                <a:gd name="T15" fmla="*/ 36 h 397"/>
                <a:gd name="T16" fmla="*/ 151 w 332"/>
                <a:gd name="T17" fmla="*/ 57 h 397"/>
                <a:gd name="T18" fmla="*/ 148 w 332"/>
                <a:gd name="T19" fmla="*/ 70 h 397"/>
                <a:gd name="T20" fmla="*/ 171 w 332"/>
                <a:gd name="T21" fmla="*/ 52 h 397"/>
                <a:gd name="T22" fmla="*/ 192 w 332"/>
                <a:gd name="T23" fmla="*/ 39 h 397"/>
                <a:gd name="T24" fmla="*/ 210 w 332"/>
                <a:gd name="T25" fmla="*/ 21 h 397"/>
                <a:gd name="T26" fmla="*/ 207 w 332"/>
                <a:gd name="T27" fmla="*/ 16 h 397"/>
                <a:gd name="T28" fmla="*/ 215 w 332"/>
                <a:gd name="T29" fmla="*/ 3 h 397"/>
                <a:gd name="T30" fmla="*/ 231 w 332"/>
                <a:gd name="T31" fmla="*/ 3 h 397"/>
                <a:gd name="T32" fmla="*/ 241 w 332"/>
                <a:gd name="T33" fmla="*/ 18 h 397"/>
                <a:gd name="T34" fmla="*/ 259 w 332"/>
                <a:gd name="T35" fmla="*/ 18 h 397"/>
                <a:gd name="T36" fmla="*/ 262 w 332"/>
                <a:gd name="T37" fmla="*/ 44 h 397"/>
                <a:gd name="T38" fmla="*/ 275 w 332"/>
                <a:gd name="T39" fmla="*/ 54 h 397"/>
                <a:gd name="T40" fmla="*/ 285 w 332"/>
                <a:gd name="T41" fmla="*/ 49 h 397"/>
                <a:gd name="T42" fmla="*/ 295 w 332"/>
                <a:gd name="T43" fmla="*/ 70 h 397"/>
                <a:gd name="T44" fmla="*/ 293 w 332"/>
                <a:gd name="T45" fmla="*/ 88 h 397"/>
                <a:gd name="T46" fmla="*/ 290 w 332"/>
                <a:gd name="T47" fmla="*/ 96 h 397"/>
                <a:gd name="T48" fmla="*/ 298 w 332"/>
                <a:gd name="T49" fmla="*/ 109 h 397"/>
                <a:gd name="T50" fmla="*/ 301 w 332"/>
                <a:gd name="T51" fmla="*/ 119 h 397"/>
                <a:gd name="T52" fmla="*/ 306 w 332"/>
                <a:gd name="T53" fmla="*/ 130 h 397"/>
                <a:gd name="T54" fmla="*/ 314 w 332"/>
                <a:gd name="T55" fmla="*/ 132 h 397"/>
                <a:gd name="T56" fmla="*/ 324 w 332"/>
                <a:gd name="T57" fmla="*/ 145 h 397"/>
                <a:gd name="T58" fmla="*/ 327 w 332"/>
                <a:gd name="T59" fmla="*/ 161 h 397"/>
                <a:gd name="T60" fmla="*/ 324 w 332"/>
                <a:gd name="T61" fmla="*/ 176 h 397"/>
                <a:gd name="T62" fmla="*/ 327 w 332"/>
                <a:gd name="T63" fmla="*/ 184 h 397"/>
                <a:gd name="T64" fmla="*/ 327 w 332"/>
                <a:gd name="T65" fmla="*/ 197 h 397"/>
                <a:gd name="T66" fmla="*/ 319 w 332"/>
                <a:gd name="T67" fmla="*/ 200 h 397"/>
                <a:gd name="T68" fmla="*/ 306 w 332"/>
                <a:gd name="T69" fmla="*/ 197 h 397"/>
                <a:gd name="T70" fmla="*/ 311 w 332"/>
                <a:gd name="T71" fmla="*/ 207 h 397"/>
                <a:gd name="T72" fmla="*/ 303 w 332"/>
                <a:gd name="T73" fmla="*/ 228 h 397"/>
                <a:gd name="T74" fmla="*/ 283 w 332"/>
                <a:gd name="T75" fmla="*/ 233 h 397"/>
                <a:gd name="T76" fmla="*/ 277 w 332"/>
                <a:gd name="T77" fmla="*/ 254 h 397"/>
                <a:gd name="T78" fmla="*/ 290 w 332"/>
                <a:gd name="T79" fmla="*/ 290 h 397"/>
                <a:gd name="T80" fmla="*/ 290 w 332"/>
                <a:gd name="T81" fmla="*/ 329 h 397"/>
                <a:gd name="T82" fmla="*/ 293 w 332"/>
                <a:gd name="T83" fmla="*/ 347 h 397"/>
                <a:gd name="T84" fmla="*/ 293 w 332"/>
                <a:gd name="T85" fmla="*/ 371 h 397"/>
                <a:gd name="T86" fmla="*/ 280 w 332"/>
                <a:gd name="T87" fmla="*/ 368 h 397"/>
                <a:gd name="T88" fmla="*/ 249 w 332"/>
                <a:gd name="T89" fmla="*/ 384 h 397"/>
                <a:gd name="T90" fmla="*/ 239 w 332"/>
                <a:gd name="T91" fmla="*/ 384 h 397"/>
                <a:gd name="T92" fmla="*/ 207 w 332"/>
                <a:gd name="T93" fmla="*/ 373 h 397"/>
                <a:gd name="T94" fmla="*/ 171 w 332"/>
                <a:gd name="T95" fmla="*/ 347 h 397"/>
                <a:gd name="T96" fmla="*/ 187 w 332"/>
                <a:gd name="T97" fmla="*/ 373 h 397"/>
                <a:gd name="T98" fmla="*/ 163 w 332"/>
                <a:gd name="T99" fmla="*/ 358 h 397"/>
                <a:gd name="T100" fmla="*/ 151 w 332"/>
                <a:gd name="T101" fmla="*/ 366 h 397"/>
                <a:gd name="T102" fmla="*/ 145 w 332"/>
                <a:gd name="T103" fmla="*/ 360 h 397"/>
                <a:gd name="T104" fmla="*/ 138 w 332"/>
                <a:gd name="T105" fmla="*/ 358 h 397"/>
                <a:gd name="T106" fmla="*/ 125 w 332"/>
                <a:gd name="T107" fmla="*/ 353 h 397"/>
                <a:gd name="T108" fmla="*/ 112 w 332"/>
                <a:gd name="T109" fmla="*/ 353 h 397"/>
                <a:gd name="T110" fmla="*/ 107 w 332"/>
                <a:gd name="T111" fmla="*/ 376 h 397"/>
                <a:gd name="T112" fmla="*/ 122 w 332"/>
                <a:gd name="T113" fmla="*/ 376 h 397"/>
                <a:gd name="T114" fmla="*/ 109 w 332"/>
                <a:gd name="T115" fmla="*/ 386 h 397"/>
                <a:gd name="T116" fmla="*/ 78 w 332"/>
                <a:gd name="T117" fmla="*/ 381 h 397"/>
                <a:gd name="T118" fmla="*/ 44 w 332"/>
                <a:gd name="T119" fmla="*/ 389 h 397"/>
                <a:gd name="T120" fmla="*/ 21 w 332"/>
                <a:gd name="T121" fmla="*/ 389 h 397"/>
                <a:gd name="T122" fmla="*/ 8 w 332"/>
                <a:gd name="T123" fmla="*/ 38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397">
                  <a:moveTo>
                    <a:pt x="0" y="366"/>
                  </a:moveTo>
                  <a:lnTo>
                    <a:pt x="3" y="366"/>
                  </a:lnTo>
                  <a:lnTo>
                    <a:pt x="3" y="363"/>
                  </a:lnTo>
                  <a:lnTo>
                    <a:pt x="3" y="360"/>
                  </a:lnTo>
                  <a:lnTo>
                    <a:pt x="6" y="358"/>
                  </a:lnTo>
                  <a:lnTo>
                    <a:pt x="6" y="355"/>
                  </a:lnTo>
                  <a:lnTo>
                    <a:pt x="3" y="355"/>
                  </a:lnTo>
                  <a:lnTo>
                    <a:pt x="3" y="353"/>
                  </a:lnTo>
                  <a:lnTo>
                    <a:pt x="3" y="350"/>
                  </a:lnTo>
                  <a:lnTo>
                    <a:pt x="3" y="347"/>
                  </a:lnTo>
                  <a:lnTo>
                    <a:pt x="6" y="345"/>
                  </a:lnTo>
                  <a:lnTo>
                    <a:pt x="6" y="342"/>
                  </a:lnTo>
                  <a:lnTo>
                    <a:pt x="6" y="340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8" y="335"/>
                  </a:lnTo>
                  <a:lnTo>
                    <a:pt x="8" y="335"/>
                  </a:lnTo>
                  <a:lnTo>
                    <a:pt x="8" y="332"/>
                  </a:lnTo>
                  <a:lnTo>
                    <a:pt x="8" y="329"/>
                  </a:lnTo>
                  <a:lnTo>
                    <a:pt x="8" y="327"/>
                  </a:lnTo>
                  <a:lnTo>
                    <a:pt x="8" y="324"/>
                  </a:lnTo>
                  <a:lnTo>
                    <a:pt x="11" y="324"/>
                  </a:lnTo>
                  <a:lnTo>
                    <a:pt x="11" y="322"/>
                  </a:lnTo>
                  <a:lnTo>
                    <a:pt x="13" y="319"/>
                  </a:lnTo>
                  <a:lnTo>
                    <a:pt x="13" y="316"/>
                  </a:lnTo>
                  <a:lnTo>
                    <a:pt x="11" y="314"/>
                  </a:lnTo>
                  <a:lnTo>
                    <a:pt x="11" y="311"/>
                  </a:lnTo>
                  <a:lnTo>
                    <a:pt x="8" y="311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8" y="306"/>
                  </a:lnTo>
                  <a:lnTo>
                    <a:pt x="8" y="303"/>
                  </a:lnTo>
                  <a:lnTo>
                    <a:pt x="8" y="301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8" y="296"/>
                  </a:lnTo>
                  <a:lnTo>
                    <a:pt x="8" y="293"/>
                  </a:lnTo>
                  <a:lnTo>
                    <a:pt x="8" y="293"/>
                  </a:lnTo>
                  <a:lnTo>
                    <a:pt x="11" y="290"/>
                  </a:lnTo>
                  <a:lnTo>
                    <a:pt x="11" y="288"/>
                  </a:lnTo>
                  <a:lnTo>
                    <a:pt x="11" y="288"/>
                  </a:lnTo>
                  <a:lnTo>
                    <a:pt x="11" y="285"/>
                  </a:lnTo>
                  <a:lnTo>
                    <a:pt x="13" y="280"/>
                  </a:lnTo>
                  <a:lnTo>
                    <a:pt x="16" y="277"/>
                  </a:lnTo>
                  <a:lnTo>
                    <a:pt x="18" y="275"/>
                  </a:lnTo>
                  <a:lnTo>
                    <a:pt x="18" y="272"/>
                  </a:lnTo>
                  <a:lnTo>
                    <a:pt x="21" y="267"/>
                  </a:lnTo>
                  <a:lnTo>
                    <a:pt x="21" y="267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59"/>
                  </a:lnTo>
                  <a:lnTo>
                    <a:pt x="24" y="259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9"/>
                  </a:lnTo>
                  <a:lnTo>
                    <a:pt x="26" y="246"/>
                  </a:lnTo>
                  <a:lnTo>
                    <a:pt x="26" y="244"/>
                  </a:lnTo>
                  <a:lnTo>
                    <a:pt x="26" y="241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31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4" y="223"/>
                  </a:lnTo>
                  <a:lnTo>
                    <a:pt x="34" y="220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0"/>
                  </a:lnTo>
                  <a:lnTo>
                    <a:pt x="37" y="205"/>
                  </a:lnTo>
                  <a:lnTo>
                    <a:pt x="37" y="202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42" y="197"/>
                  </a:lnTo>
                  <a:lnTo>
                    <a:pt x="47" y="194"/>
                  </a:lnTo>
                  <a:lnTo>
                    <a:pt x="50" y="189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2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5" y="182"/>
                  </a:lnTo>
                  <a:lnTo>
                    <a:pt x="57" y="182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6"/>
                  </a:lnTo>
                  <a:lnTo>
                    <a:pt x="63" y="174"/>
                  </a:lnTo>
                  <a:lnTo>
                    <a:pt x="65" y="174"/>
                  </a:lnTo>
                  <a:lnTo>
                    <a:pt x="65" y="171"/>
                  </a:lnTo>
                  <a:lnTo>
                    <a:pt x="68" y="169"/>
                  </a:lnTo>
                  <a:lnTo>
                    <a:pt x="68" y="163"/>
                  </a:lnTo>
                  <a:lnTo>
                    <a:pt x="70" y="158"/>
                  </a:lnTo>
                  <a:lnTo>
                    <a:pt x="73" y="153"/>
                  </a:lnTo>
                  <a:lnTo>
                    <a:pt x="75" y="148"/>
                  </a:lnTo>
                  <a:lnTo>
                    <a:pt x="78" y="145"/>
                  </a:lnTo>
                  <a:lnTo>
                    <a:pt x="81" y="145"/>
                  </a:lnTo>
                  <a:lnTo>
                    <a:pt x="83" y="143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8" y="137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91" y="127"/>
                  </a:lnTo>
                  <a:lnTo>
                    <a:pt x="94" y="124"/>
                  </a:lnTo>
                  <a:lnTo>
                    <a:pt x="94" y="122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7"/>
                  </a:lnTo>
                  <a:lnTo>
                    <a:pt x="96" y="114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101" y="96"/>
                  </a:lnTo>
                  <a:lnTo>
                    <a:pt x="101" y="93"/>
                  </a:lnTo>
                  <a:lnTo>
                    <a:pt x="104" y="91"/>
                  </a:lnTo>
                  <a:lnTo>
                    <a:pt x="107" y="91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4" y="83"/>
                  </a:lnTo>
                  <a:lnTo>
                    <a:pt x="104" y="80"/>
                  </a:lnTo>
                  <a:lnTo>
                    <a:pt x="107" y="80"/>
                  </a:lnTo>
                  <a:lnTo>
                    <a:pt x="109" y="78"/>
                  </a:lnTo>
                  <a:lnTo>
                    <a:pt x="109" y="75"/>
                  </a:lnTo>
                  <a:lnTo>
                    <a:pt x="109" y="73"/>
                  </a:lnTo>
                  <a:lnTo>
                    <a:pt x="112" y="70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0"/>
                  </a:lnTo>
                  <a:lnTo>
                    <a:pt x="109" y="70"/>
                  </a:lnTo>
                  <a:lnTo>
                    <a:pt x="109" y="67"/>
                  </a:lnTo>
                  <a:lnTo>
                    <a:pt x="112" y="67"/>
                  </a:lnTo>
                  <a:lnTo>
                    <a:pt x="112" y="65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09" y="62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7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49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39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9" y="36"/>
                  </a:lnTo>
                  <a:lnTo>
                    <a:pt x="109" y="39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2"/>
                  </a:lnTo>
                  <a:lnTo>
                    <a:pt x="125" y="39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4"/>
                  </a:lnTo>
                  <a:lnTo>
                    <a:pt x="119" y="34"/>
                  </a:lnTo>
                  <a:lnTo>
                    <a:pt x="122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30" y="39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5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3" y="49"/>
                  </a:lnTo>
                  <a:lnTo>
                    <a:pt x="145" y="49"/>
                  </a:lnTo>
                  <a:lnTo>
                    <a:pt x="145" y="49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8" y="47"/>
                  </a:lnTo>
                  <a:lnTo>
                    <a:pt x="145" y="49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51" y="49"/>
                  </a:lnTo>
                  <a:lnTo>
                    <a:pt x="153" y="49"/>
                  </a:lnTo>
                  <a:lnTo>
                    <a:pt x="156" y="52"/>
                  </a:lnTo>
                  <a:lnTo>
                    <a:pt x="156" y="54"/>
                  </a:lnTo>
                  <a:lnTo>
                    <a:pt x="153" y="54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48" y="54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70"/>
                  </a:lnTo>
                  <a:lnTo>
                    <a:pt x="145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70"/>
                  </a:lnTo>
                  <a:lnTo>
                    <a:pt x="148" y="70"/>
                  </a:lnTo>
                  <a:lnTo>
                    <a:pt x="151" y="70"/>
                  </a:lnTo>
                  <a:lnTo>
                    <a:pt x="151" y="70"/>
                  </a:lnTo>
                  <a:lnTo>
                    <a:pt x="153" y="67"/>
                  </a:lnTo>
                  <a:lnTo>
                    <a:pt x="156" y="65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58" y="60"/>
                  </a:lnTo>
                  <a:lnTo>
                    <a:pt x="161" y="60"/>
                  </a:lnTo>
                  <a:lnTo>
                    <a:pt x="158" y="57"/>
                  </a:lnTo>
                  <a:lnTo>
                    <a:pt x="158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9" y="52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49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4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6" y="47"/>
                  </a:lnTo>
                  <a:lnTo>
                    <a:pt x="179" y="47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79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79" y="47"/>
                  </a:lnTo>
                  <a:lnTo>
                    <a:pt x="176" y="47"/>
                  </a:lnTo>
                  <a:lnTo>
                    <a:pt x="176" y="44"/>
                  </a:lnTo>
                  <a:lnTo>
                    <a:pt x="176" y="42"/>
                  </a:lnTo>
                  <a:lnTo>
                    <a:pt x="174" y="42"/>
                  </a:lnTo>
                  <a:lnTo>
                    <a:pt x="174" y="39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82" y="39"/>
                  </a:lnTo>
                  <a:lnTo>
                    <a:pt x="184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4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2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205" y="23"/>
                  </a:lnTo>
                  <a:lnTo>
                    <a:pt x="207" y="23"/>
                  </a:lnTo>
                  <a:lnTo>
                    <a:pt x="207" y="26"/>
                  </a:lnTo>
                  <a:lnTo>
                    <a:pt x="210" y="26"/>
                  </a:lnTo>
                  <a:lnTo>
                    <a:pt x="213" y="26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0" y="23"/>
                  </a:lnTo>
                  <a:lnTo>
                    <a:pt x="210" y="21"/>
                  </a:lnTo>
                  <a:lnTo>
                    <a:pt x="210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0" y="13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10" y="13"/>
                  </a:lnTo>
                  <a:lnTo>
                    <a:pt x="210" y="13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205" y="13"/>
                  </a:lnTo>
                  <a:lnTo>
                    <a:pt x="207" y="13"/>
                  </a:lnTo>
                  <a:lnTo>
                    <a:pt x="207" y="13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205" y="10"/>
                  </a:lnTo>
                  <a:lnTo>
                    <a:pt x="200" y="10"/>
                  </a:lnTo>
                  <a:lnTo>
                    <a:pt x="200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207" y="5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0"/>
                  </a:lnTo>
                  <a:lnTo>
                    <a:pt x="213" y="0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5" y="3"/>
                  </a:lnTo>
                  <a:lnTo>
                    <a:pt x="218" y="5"/>
                  </a:lnTo>
                  <a:lnTo>
                    <a:pt x="218" y="3"/>
                  </a:lnTo>
                  <a:lnTo>
                    <a:pt x="220" y="3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3"/>
                  </a:lnTo>
                  <a:lnTo>
                    <a:pt x="223" y="5"/>
                  </a:lnTo>
                  <a:lnTo>
                    <a:pt x="223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8" y="5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28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31" y="8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3" y="3"/>
                  </a:lnTo>
                  <a:lnTo>
                    <a:pt x="236" y="3"/>
                  </a:lnTo>
                  <a:lnTo>
                    <a:pt x="239" y="0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5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8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9" y="10"/>
                  </a:lnTo>
                  <a:lnTo>
                    <a:pt x="236" y="10"/>
                  </a:lnTo>
                  <a:lnTo>
                    <a:pt x="236" y="10"/>
                  </a:lnTo>
                  <a:lnTo>
                    <a:pt x="239" y="10"/>
                  </a:lnTo>
                  <a:lnTo>
                    <a:pt x="239" y="13"/>
                  </a:lnTo>
                  <a:lnTo>
                    <a:pt x="236" y="13"/>
                  </a:lnTo>
                  <a:lnTo>
                    <a:pt x="236" y="13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6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1" y="16"/>
                  </a:lnTo>
                  <a:lnTo>
                    <a:pt x="241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6" y="10"/>
                  </a:lnTo>
                  <a:lnTo>
                    <a:pt x="246" y="13"/>
                  </a:lnTo>
                  <a:lnTo>
                    <a:pt x="246" y="16"/>
                  </a:lnTo>
                  <a:lnTo>
                    <a:pt x="246" y="16"/>
                  </a:lnTo>
                  <a:lnTo>
                    <a:pt x="246" y="18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9" y="16"/>
                  </a:lnTo>
                  <a:lnTo>
                    <a:pt x="251" y="13"/>
                  </a:lnTo>
                  <a:lnTo>
                    <a:pt x="254" y="13"/>
                  </a:lnTo>
                  <a:lnTo>
                    <a:pt x="254" y="10"/>
                  </a:lnTo>
                  <a:lnTo>
                    <a:pt x="257" y="10"/>
                  </a:lnTo>
                  <a:lnTo>
                    <a:pt x="254" y="13"/>
                  </a:lnTo>
                  <a:lnTo>
                    <a:pt x="254" y="13"/>
                  </a:lnTo>
                  <a:lnTo>
                    <a:pt x="257" y="13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62" y="31"/>
                  </a:lnTo>
                  <a:lnTo>
                    <a:pt x="264" y="34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59" y="34"/>
                  </a:lnTo>
                  <a:lnTo>
                    <a:pt x="259" y="36"/>
                  </a:lnTo>
                  <a:lnTo>
                    <a:pt x="262" y="36"/>
                  </a:lnTo>
                  <a:lnTo>
                    <a:pt x="262" y="36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9" y="39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2" y="42"/>
                  </a:lnTo>
                  <a:lnTo>
                    <a:pt x="262" y="42"/>
                  </a:lnTo>
                  <a:lnTo>
                    <a:pt x="262" y="39"/>
                  </a:lnTo>
                  <a:lnTo>
                    <a:pt x="262" y="39"/>
                  </a:lnTo>
                  <a:lnTo>
                    <a:pt x="264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6"/>
                  </a:lnTo>
                  <a:lnTo>
                    <a:pt x="267" y="39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67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4"/>
                  </a:lnTo>
                  <a:lnTo>
                    <a:pt x="270" y="49"/>
                  </a:lnTo>
                  <a:lnTo>
                    <a:pt x="270" y="52"/>
                  </a:lnTo>
                  <a:lnTo>
                    <a:pt x="267" y="52"/>
                  </a:lnTo>
                  <a:lnTo>
                    <a:pt x="270" y="54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5" y="54"/>
                  </a:lnTo>
                  <a:lnTo>
                    <a:pt x="277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5" y="49"/>
                  </a:lnTo>
                  <a:lnTo>
                    <a:pt x="283" y="49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4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2"/>
                  </a:lnTo>
                  <a:lnTo>
                    <a:pt x="285" y="44"/>
                  </a:lnTo>
                  <a:lnTo>
                    <a:pt x="288" y="44"/>
                  </a:lnTo>
                  <a:lnTo>
                    <a:pt x="288" y="44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8" y="47"/>
                  </a:lnTo>
                  <a:lnTo>
                    <a:pt x="285" y="47"/>
                  </a:lnTo>
                  <a:lnTo>
                    <a:pt x="285" y="49"/>
                  </a:lnTo>
                  <a:lnTo>
                    <a:pt x="285" y="49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49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8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8" y="57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288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0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5"/>
                  </a:lnTo>
                  <a:lnTo>
                    <a:pt x="293" y="67"/>
                  </a:lnTo>
                  <a:lnTo>
                    <a:pt x="295" y="67"/>
                  </a:lnTo>
                  <a:lnTo>
                    <a:pt x="293" y="67"/>
                  </a:lnTo>
                  <a:lnTo>
                    <a:pt x="293" y="67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3" y="70"/>
                  </a:lnTo>
                  <a:lnTo>
                    <a:pt x="293" y="70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5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90" y="78"/>
                  </a:lnTo>
                  <a:lnTo>
                    <a:pt x="288" y="78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88" y="80"/>
                  </a:lnTo>
                  <a:lnTo>
                    <a:pt x="290" y="80"/>
                  </a:lnTo>
                  <a:lnTo>
                    <a:pt x="290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3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5" y="88"/>
                  </a:lnTo>
                  <a:lnTo>
                    <a:pt x="295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3" y="91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1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0" y="93"/>
                  </a:lnTo>
                  <a:lnTo>
                    <a:pt x="293" y="93"/>
                  </a:lnTo>
                  <a:lnTo>
                    <a:pt x="293" y="93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6"/>
                  </a:lnTo>
                  <a:lnTo>
                    <a:pt x="290" y="99"/>
                  </a:lnTo>
                  <a:lnTo>
                    <a:pt x="293" y="99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3" y="104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5" y="106"/>
                  </a:lnTo>
                  <a:lnTo>
                    <a:pt x="298" y="106"/>
                  </a:lnTo>
                  <a:lnTo>
                    <a:pt x="298" y="106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3" y="112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6" y="122"/>
                  </a:lnTo>
                  <a:lnTo>
                    <a:pt x="306" y="122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7"/>
                  </a:lnTo>
                  <a:lnTo>
                    <a:pt x="306" y="124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27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2"/>
                  </a:lnTo>
                  <a:lnTo>
                    <a:pt x="306" y="132"/>
                  </a:lnTo>
                  <a:lnTo>
                    <a:pt x="306" y="130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2"/>
                  </a:lnTo>
                  <a:lnTo>
                    <a:pt x="311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6" y="132"/>
                  </a:lnTo>
                  <a:lnTo>
                    <a:pt x="316" y="132"/>
                  </a:lnTo>
                  <a:lnTo>
                    <a:pt x="316" y="135"/>
                  </a:lnTo>
                  <a:lnTo>
                    <a:pt x="316" y="135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4" y="143"/>
                  </a:lnTo>
                  <a:lnTo>
                    <a:pt x="321" y="143"/>
                  </a:lnTo>
                  <a:lnTo>
                    <a:pt x="321" y="143"/>
                  </a:lnTo>
                  <a:lnTo>
                    <a:pt x="321" y="145"/>
                  </a:lnTo>
                  <a:lnTo>
                    <a:pt x="321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5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4" y="150"/>
                  </a:lnTo>
                  <a:lnTo>
                    <a:pt x="327" y="150"/>
                  </a:lnTo>
                  <a:lnTo>
                    <a:pt x="327" y="150"/>
                  </a:lnTo>
                  <a:lnTo>
                    <a:pt x="327" y="153"/>
                  </a:lnTo>
                  <a:lnTo>
                    <a:pt x="327" y="153"/>
                  </a:lnTo>
                  <a:lnTo>
                    <a:pt x="324" y="153"/>
                  </a:lnTo>
                  <a:lnTo>
                    <a:pt x="324" y="156"/>
                  </a:lnTo>
                  <a:lnTo>
                    <a:pt x="324" y="156"/>
                  </a:lnTo>
                  <a:lnTo>
                    <a:pt x="327" y="156"/>
                  </a:lnTo>
                  <a:lnTo>
                    <a:pt x="327" y="156"/>
                  </a:lnTo>
                  <a:lnTo>
                    <a:pt x="329" y="158"/>
                  </a:lnTo>
                  <a:lnTo>
                    <a:pt x="327" y="158"/>
                  </a:lnTo>
                  <a:lnTo>
                    <a:pt x="327" y="161"/>
                  </a:lnTo>
                  <a:lnTo>
                    <a:pt x="327" y="161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3"/>
                  </a:lnTo>
                  <a:lnTo>
                    <a:pt x="329" y="166"/>
                  </a:lnTo>
                  <a:lnTo>
                    <a:pt x="327" y="166"/>
                  </a:lnTo>
                  <a:lnTo>
                    <a:pt x="327" y="166"/>
                  </a:lnTo>
                  <a:lnTo>
                    <a:pt x="324" y="169"/>
                  </a:lnTo>
                  <a:lnTo>
                    <a:pt x="327" y="169"/>
                  </a:lnTo>
                  <a:lnTo>
                    <a:pt x="327" y="169"/>
                  </a:lnTo>
                  <a:lnTo>
                    <a:pt x="329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9" y="171"/>
                  </a:lnTo>
                  <a:lnTo>
                    <a:pt x="327" y="174"/>
                  </a:lnTo>
                  <a:lnTo>
                    <a:pt x="327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4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6"/>
                  </a:lnTo>
                  <a:lnTo>
                    <a:pt x="324" y="176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79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4" y="184"/>
                  </a:lnTo>
                  <a:lnTo>
                    <a:pt x="327" y="184"/>
                  </a:lnTo>
                  <a:lnTo>
                    <a:pt x="327" y="184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4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7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32" y="189"/>
                  </a:lnTo>
                  <a:lnTo>
                    <a:pt x="332" y="189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29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2" y="194"/>
                  </a:lnTo>
                  <a:lnTo>
                    <a:pt x="329" y="194"/>
                  </a:lnTo>
                  <a:lnTo>
                    <a:pt x="329" y="197"/>
                  </a:lnTo>
                  <a:lnTo>
                    <a:pt x="329" y="197"/>
                  </a:lnTo>
                  <a:lnTo>
                    <a:pt x="327" y="197"/>
                  </a:lnTo>
                  <a:lnTo>
                    <a:pt x="327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7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4" y="194"/>
                  </a:lnTo>
                  <a:lnTo>
                    <a:pt x="327" y="194"/>
                  </a:lnTo>
                  <a:lnTo>
                    <a:pt x="327" y="194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4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21" y="197"/>
                  </a:lnTo>
                  <a:lnTo>
                    <a:pt x="319" y="197"/>
                  </a:lnTo>
                  <a:lnTo>
                    <a:pt x="319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200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7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2"/>
                  </a:lnTo>
                  <a:lnTo>
                    <a:pt x="314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06" y="189"/>
                  </a:lnTo>
                  <a:lnTo>
                    <a:pt x="308" y="192"/>
                  </a:lnTo>
                  <a:lnTo>
                    <a:pt x="308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4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06" y="200"/>
                  </a:lnTo>
                  <a:lnTo>
                    <a:pt x="308" y="200"/>
                  </a:lnTo>
                  <a:lnTo>
                    <a:pt x="308" y="200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1" y="205"/>
                  </a:lnTo>
                  <a:lnTo>
                    <a:pt x="314" y="205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4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07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3"/>
                  </a:lnTo>
                  <a:lnTo>
                    <a:pt x="311" y="213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4" y="215"/>
                  </a:lnTo>
                  <a:lnTo>
                    <a:pt x="314" y="218"/>
                  </a:lnTo>
                  <a:lnTo>
                    <a:pt x="311" y="218"/>
                  </a:lnTo>
                  <a:lnTo>
                    <a:pt x="311" y="220"/>
                  </a:lnTo>
                  <a:lnTo>
                    <a:pt x="311" y="220"/>
                  </a:lnTo>
                  <a:lnTo>
                    <a:pt x="314" y="220"/>
                  </a:lnTo>
                  <a:lnTo>
                    <a:pt x="314" y="220"/>
                  </a:lnTo>
                  <a:lnTo>
                    <a:pt x="314" y="223"/>
                  </a:lnTo>
                  <a:lnTo>
                    <a:pt x="314" y="223"/>
                  </a:lnTo>
                  <a:lnTo>
                    <a:pt x="311" y="223"/>
                  </a:lnTo>
                  <a:lnTo>
                    <a:pt x="308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6" y="223"/>
                  </a:lnTo>
                  <a:lnTo>
                    <a:pt x="303" y="223"/>
                  </a:lnTo>
                  <a:lnTo>
                    <a:pt x="303" y="223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6"/>
                  </a:lnTo>
                  <a:lnTo>
                    <a:pt x="303" y="228"/>
                  </a:lnTo>
                  <a:lnTo>
                    <a:pt x="303" y="228"/>
                  </a:lnTo>
                  <a:lnTo>
                    <a:pt x="301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8" y="233"/>
                  </a:lnTo>
                  <a:lnTo>
                    <a:pt x="295" y="233"/>
                  </a:lnTo>
                  <a:lnTo>
                    <a:pt x="293" y="233"/>
                  </a:lnTo>
                  <a:lnTo>
                    <a:pt x="293" y="233"/>
                  </a:lnTo>
                  <a:lnTo>
                    <a:pt x="290" y="233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90" y="231"/>
                  </a:lnTo>
                  <a:lnTo>
                    <a:pt x="288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5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3" y="233"/>
                  </a:lnTo>
                  <a:lnTo>
                    <a:pt x="280" y="233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0" y="236"/>
                  </a:lnTo>
                  <a:lnTo>
                    <a:pt x="280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3" y="239"/>
                  </a:lnTo>
                  <a:lnTo>
                    <a:pt x="280" y="239"/>
                  </a:lnTo>
                  <a:lnTo>
                    <a:pt x="280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5" y="246"/>
                  </a:lnTo>
                  <a:lnTo>
                    <a:pt x="275" y="249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80" y="254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7"/>
                  </a:lnTo>
                  <a:lnTo>
                    <a:pt x="280" y="259"/>
                  </a:lnTo>
                  <a:lnTo>
                    <a:pt x="283" y="259"/>
                  </a:lnTo>
                  <a:lnTo>
                    <a:pt x="283" y="262"/>
                  </a:lnTo>
                  <a:lnTo>
                    <a:pt x="283" y="265"/>
                  </a:lnTo>
                  <a:lnTo>
                    <a:pt x="285" y="265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5" y="272"/>
                  </a:lnTo>
                  <a:lnTo>
                    <a:pt x="285" y="272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0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8" y="285"/>
                  </a:lnTo>
                  <a:lnTo>
                    <a:pt x="290" y="288"/>
                  </a:lnTo>
                  <a:lnTo>
                    <a:pt x="290" y="290"/>
                  </a:lnTo>
                  <a:lnTo>
                    <a:pt x="293" y="293"/>
                  </a:lnTo>
                  <a:lnTo>
                    <a:pt x="293" y="296"/>
                  </a:lnTo>
                  <a:lnTo>
                    <a:pt x="293" y="298"/>
                  </a:lnTo>
                  <a:lnTo>
                    <a:pt x="293" y="301"/>
                  </a:lnTo>
                  <a:lnTo>
                    <a:pt x="293" y="303"/>
                  </a:lnTo>
                  <a:lnTo>
                    <a:pt x="293" y="303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6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09"/>
                  </a:lnTo>
                  <a:lnTo>
                    <a:pt x="293" y="311"/>
                  </a:lnTo>
                  <a:lnTo>
                    <a:pt x="290" y="314"/>
                  </a:lnTo>
                  <a:lnTo>
                    <a:pt x="290" y="316"/>
                  </a:lnTo>
                  <a:lnTo>
                    <a:pt x="290" y="319"/>
                  </a:lnTo>
                  <a:lnTo>
                    <a:pt x="290" y="319"/>
                  </a:lnTo>
                  <a:lnTo>
                    <a:pt x="288" y="319"/>
                  </a:lnTo>
                  <a:lnTo>
                    <a:pt x="288" y="322"/>
                  </a:lnTo>
                  <a:lnTo>
                    <a:pt x="288" y="322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29"/>
                  </a:lnTo>
                  <a:lnTo>
                    <a:pt x="290" y="332"/>
                  </a:lnTo>
                  <a:lnTo>
                    <a:pt x="290" y="332"/>
                  </a:lnTo>
                  <a:lnTo>
                    <a:pt x="288" y="335"/>
                  </a:lnTo>
                  <a:lnTo>
                    <a:pt x="288" y="335"/>
                  </a:lnTo>
                  <a:lnTo>
                    <a:pt x="290" y="335"/>
                  </a:lnTo>
                  <a:lnTo>
                    <a:pt x="290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37"/>
                  </a:lnTo>
                  <a:lnTo>
                    <a:pt x="288" y="337"/>
                  </a:lnTo>
                  <a:lnTo>
                    <a:pt x="290" y="337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90" y="342"/>
                  </a:lnTo>
                  <a:lnTo>
                    <a:pt x="293" y="342"/>
                  </a:lnTo>
                  <a:lnTo>
                    <a:pt x="293" y="345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93" y="347"/>
                  </a:lnTo>
                  <a:lnTo>
                    <a:pt x="290" y="347"/>
                  </a:lnTo>
                  <a:lnTo>
                    <a:pt x="290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47"/>
                  </a:lnTo>
                  <a:lnTo>
                    <a:pt x="288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88" y="355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0" y="355"/>
                  </a:lnTo>
                  <a:lnTo>
                    <a:pt x="290" y="358"/>
                  </a:lnTo>
                  <a:lnTo>
                    <a:pt x="290" y="360"/>
                  </a:lnTo>
                  <a:lnTo>
                    <a:pt x="293" y="363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6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68"/>
                  </a:lnTo>
                  <a:lnTo>
                    <a:pt x="293" y="371"/>
                  </a:lnTo>
                  <a:lnTo>
                    <a:pt x="293" y="371"/>
                  </a:lnTo>
                  <a:lnTo>
                    <a:pt x="290" y="371"/>
                  </a:lnTo>
                  <a:lnTo>
                    <a:pt x="290" y="373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1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3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8" y="376"/>
                  </a:lnTo>
                  <a:lnTo>
                    <a:pt x="285" y="376"/>
                  </a:lnTo>
                  <a:lnTo>
                    <a:pt x="285" y="379"/>
                  </a:lnTo>
                  <a:lnTo>
                    <a:pt x="285" y="376"/>
                  </a:lnTo>
                  <a:lnTo>
                    <a:pt x="285" y="376"/>
                  </a:lnTo>
                  <a:lnTo>
                    <a:pt x="285" y="371"/>
                  </a:lnTo>
                  <a:lnTo>
                    <a:pt x="285" y="371"/>
                  </a:lnTo>
                  <a:lnTo>
                    <a:pt x="285" y="368"/>
                  </a:lnTo>
                  <a:lnTo>
                    <a:pt x="283" y="368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71"/>
                  </a:lnTo>
                  <a:lnTo>
                    <a:pt x="283" y="368"/>
                  </a:lnTo>
                  <a:lnTo>
                    <a:pt x="280" y="368"/>
                  </a:lnTo>
                  <a:lnTo>
                    <a:pt x="277" y="371"/>
                  </a:lnTo>
                  <a:lnTo>
                    <a:pt x="277" y="371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5" y="373"/>
                  </a:lnTo>
                  <a:lnTo>
                    <a:pt x="272" y="373"/>
                  </a:lnTo>
                  <a:lnTo>
                    <a:pt x="272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70" y="373"/>
                  </a:lnTo>
                  <a:lnTo>
                    <a:pt x="264" y="371"/>
                  </a:lnTo>
                  <a:lnTo>
                    <a:pt x="262" y="371"/>
                  </a:lnTo>
                  <a:lnTo>
                    <a:pt x="262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1"/>
                  </a:lnTo>
                  <a:lnTo>
                    <a:pt x="259" y="373"/>
                  </a:lnTo>
                  <a:lnTo>
                    <a:pt x="259" y="373"/>
                  </a:lnTo>
                  <a:lnTo>
                    <a:pt x="257" y="373"/>
                  </a:lnTo>
                  <a:lnTo>
                    <a:pt x="257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6"/>
                  </a:lnTo>
                  <a:lnTo>
                    <a:pt x="257" y="376"/>
                  </a:lnTo>
                  <a:lnTo>
                    <a:pt x="254" y="376"/>
                  </a:lnTo>
                  <a:lnTo>
                    <a:pt x="254" y="379"/>
                  </a:lnTo>
                  <a:lnTo>
                    <a:pt x="251" y="381"/>
                  </a:lnTo>
                  <a:lnTo>
                    <a:pt x="251" y="381"/>
                  </a:lnTo>
                  <a:lnTo>
                    <a:pt x="249" y="384"/>
                  </a:lnTo>
                  <a:lnTo>
                    <a:pt x="249" y="384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6" y="384"/>
                  </a:lnTo>
                  <a:lnTo>
                    <a:pt x="244" y="384"/>
                  </a:lnTo>
                  <a:lnTo>
                    <a:pt x="244" y="384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1"/>
                  </a:lnTo>
                  <a:lnTo>
                    <a:pt x="244" y="384"/>
                  </a:lnTo>
                  <a:lnTo>
                    <a:pt x="241" y="384"/>
                  </a:lnTo>
                  <a:lnTo>
                    <a:pt x="241" y="384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41" y="381"/>
                  </a:lnTo>
                  <a:lnTo>
                    <a:pt x="239" y="381"/>
                  </a:lnTo>
                  <a:lnTo>
                    <a:pt x="239" y="381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9" y="384"/>
                  </a:lnTo>
                  <a:lnTo>
                    <a:pt x="236" y="386"/>
                  </a:lnTo>
                  <a:lnTo>
                    <a:pt x="236" y="386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1" y="386"/>
                  </a:lnTo>
                  <a:lnTo>
                    <a:pt x="231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6"/>
                  </a:lnTo>
                  <a:lnTo>
                    <a:pt x="228" y="384"/>
                  </a:lnTo>
                  <a:lnTo>
                    <a:pt x="226" y="384"/>
                  </a:lnTo>
                  <a:lnTo>
                    <a:pt x="226" y="381"/>
                  </a:lnTo>
                  <a:lnTo>
                    <a:pt x="223" y="381"/>
                  </a:lnTo>
                  <a:lnTo>
                    <a:pt x="223" y="379"/>
                  </a:lnTo>
                  <a:lnTo>
                    <a:pt x="223" y="376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3"/>
                  </a:lnTo>
                  <a:lnTo>
                    <a:pt x="213" y="373"/>
                  </a:lnTo>
                  <a:lnTo>
                    <a:pt x="210" y="371"/>
                  </a:lnTo>
                  <a:lnTo>
                    <a:pt x="210" y="371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7" y="373"/>
                  </a:lnTo>
                  <a:lnTo>
                    <a:pt x="205" y="373"/>
                  </a:lnTo>
                  <a:lnTo>
                    <a:pt x="205" y="373"/>
                  </a:lnTo>
                  <a:lnTo>
                    <a:pt x="202" y="371"/>
                  </a:lnTo>
                  <a:lnTo>
                    <a:pt x="202" y="371"/>
                  </a:lnTo>
                  <a:lnTo>
                    <a:pt x="195" y="368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5" y="366"/>
                  </a:lnTo>
                  <a:lnTo>
                    <a:pt x="192" y="366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3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189" y="358"/>
                  </a:lnTo>
                  <a:lnTo>
                    <a:pt x="187" y="355"/>
                  </a:lnTo>
                  <a:lnTo>
                    <a:pt x="187" y="355"/>
                  </a:lnTo>
                  <a:lnTo>
                    <a:pt x="184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4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50"/>
                  </a:lnTo>
                  <a:lnTo>
                    <a:pt x="174" y="353"/>
                  </a:lnTo>
                  <a:lnTo>
                    <a:pt x="174" y="353"/>
                  </a:lnTo>
                  <a:lnTo>
                    <a:pt x="179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4" y="358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7" y="360"/>
                  </a:lnTo>
                  <a:lnTo>
                    <a:pt x="187" y="363"/>
                  </a:lnTo>
                  <a:lnTo>
                    <a:pt x="187" y="363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9" y="368"/>
                  </a:lnTo>
                  <a:lnTo>
                    <a:pt x="189" y="368"/>
                  </a:lnTo>
                  <a:lnTo>
                    <a:pt x="189" y="371"/>
                  </a:lnTo>
                  <a:lnTo>
                    <a:pt x="189" y="371"/>
                  </a:lnTo>
                  <a:lnTo>
                    <a:pt x="189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7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2" y="371"/>
                  </a:lnTo>
                  <a:lnTo>
                    <a:pt x="182" y="371"/>
                  </a:lnTo>
                  <a:lnTo>
                    <a:pt x="179" y="371"/>
                  </a:lnTo>
                  <a:lnTo>
                    <a:pt x="179" y="368"/>
                  </a:lnTo>
                  <a:lnTo>
                    <a:pt x="176" y="368"/>
                  </a:lnTo>
                  <a:lnTo>
                    <a:pt x="174" y="368"/>
                  </a:lnTo>
                  <a:lnTo>
                    <a:pt x="174" y="368"/>
                  </a:lnTo>
                  <a:lnTo>
                    <a:pt x="171" y="368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4" y="366"/>
                  </a:lnTo>
                  <a:lnTo>
                    <a:pt x="174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6"/>
                  </a:lnTo>
                  <a:lnTo>
                    <a:pt x="174" y="363"/>
                  </a:lnTo>
                  <a:lnTo>
                    <a:pt x="171" y="363"/>
                  </a:lnTo>
                  <a:lnTo>
                    <a:pt x="171" y="363"/>
                  </a:lnTo>
                  <a:lnTo>
                    <a:pt x="169" y="360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3" y="358"/>
                  </a:lnTo>
                  <a:lnTo>
                    <a:pt x="166" y="360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0"/>
                  </a:lnTo>
                  <a:lnTo>
                    <a:pt x="163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3"/>
                  </a:lnTo>
                  <a:lnTo>
                    <a:pt x="161" y="363"/>
                  </a:lnTo>
                  <a:lnTo>
                    <a:pt x="163" y="363"/>
                  </a:lnTo>
                  <a:lnTo>
                    <a:pt x="163" y="363"/>
                  </a:lnTo>
                  <a:lnTo>
                    <a:pt x="166" y="366"/>
                  </a:lnTo>
                  <a:lnTo>
                    <a:pt x="166" y="368"/>
                  </a:lnTo>
                  <a:lnTo>
                    <a:pt x="166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8" y="373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71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6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3" y="368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3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48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8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0"/>
                  </a:lnTo>
                  <a:lnTo>
                    <a:pt x="145" y="363"/>
                  </a:lnTo>
                  <a:lnTo>
                    <a:pt x="143" y="360"/>
                  </a:lnTo>
                  <a:lnTo>
                    <a:pt x="143" y="363"/>
                  </a:lnTo>
                  <a:lnTo>
                    <a:pt x="143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0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3" y="366"/>
                  </a:lnTo>
                  <a:lnTo>
                    <a:pt x="145" y="366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5" y="368"/>
                  </a:lnTo>
                  <a:lnTo>
                    <a:pt x="143" y="368"/>
                  </a:lnTo>
                  <a:lnTo>
                    <a:pt x="143" y="371"/>
                  </a:lnTo>
                  <a:lnTo>
                    <a:pt x="140" y="371"/>
                  </a:lnTo>
                  <a:lnTo>
                    <a:pt x="140" y="368"/>
                  </a:lnTo>
                  <a:lnTo>
                    <a:pt x="138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8" y="363"/>
                  </a:lnTo>
                  <a:lnTo>
                    <a:pt x="135" y="363"/>
                  </a:lnTo>
                  <a:lnTo>
                    <a:pt x="135" y="363"/>
                  </a:lnTo>
                  <a:lnTo>
                    <a:pt x="135" y="360"/>
                  </a:lnTo>
                  <a:lnTo>
                    <a:pt x="135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8"/>
                  </a:lnTo>
                  <a:lnTo>
                    <a:pt x="138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5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5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30" y="350"/>
                  </a:lnTo>
                  <a:lnTo>
                    <a:pt x="127" y="350"/>
                  </a:lnTo>
                  <a:lnTo>
                    <a:pt x="127" y="350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3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5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2" y="353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2" y="347"/>
                  </a:lnTo>
                  <a:lnTo>
                    <a:pt x="122" y="347"/>
                  </a:lnTo>
                  <a:lnTo>
                    <a:pt x="122" y="350"/>
                  </a:lnTo>
                  <a:lnTo>
                    <a:pt x="119" y="350"/>
                  </a:lnTo>
                  <a:lnTo>
                    <a:pt x="119" y="347"/>
                  </a:lnTo>
                  <a:lnTo>
                    <a:pt x="119" y="347"/>
                  </a:lnTo>
                  <a:lnTo>
                    <a:pt x="117" y="347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7" y="350"/>
                  </a:lnTo>
                  <a:lnTo>
                    <a:pt x="119" y="350"/>
                  </a:lnTo>
                  <a:lnTo>
                    <a:pt x="119" y="350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7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12" y="353"/>
                  </a:lnTo>
                  <a:lnTo>
                    <a:pt x="109" y="353"/>
                  </a:lnTo>
                  <a:lnTo>
                    <a:pt x="109" y="355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4" y="360"/>
                  </a:lnTo>
                  <a:lnTo>
                    <a:pt x="104" y="360"/>
                  </a:lnTo>
                  <a:lnTo>
                    <a:pt x="107" y="360"/>
                  </a:lnTo>
                  <a:lnTo>
                    <a:pt x="107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4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99" y="368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1"/>
                  </a:lnTo>
                  <a:lnTo>
                    <a:pt x="99" y="371"/>
                  </a:lnTo>
                  <a:lnTo>
                    <a:pt x="101" y="373"/>
                  </a:lnTo>
                  <a:lnTo>
                    <a:pt x="104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9"/>
                  </a:lnTo>
                  <a:lnTo>
                    <a:pt x="109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7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12" y="376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4" y="373"/>
                  </a:lnTo>
                  <a:lnTo>
                    <a:pt x="117" y="373"/>
                  </a:lnTo>
                  <a:lnTo>
                    <a:pt x="117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19" y="373"/>
                  </a:lnTo>
                  <a:lnTo>
                    <a:pt x="122" y="371"/>
                  </a:lnTo>
                  <a:lnTo>
                    <a:pt x="122" y="371"/>
                  </a:lnTo>
                  <a:lnTo>
                    <a:pt x="122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3"/>
                  </a:lnTo>
                  <a:lnTo>
                    <a:pt x="125" y="376"/>
                  </a:lnTo>
                  <a:lnTo>
                    <a:pt x="125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6"/>
                  </a:lnTo>
                  <a:lnTo>
                    <a:pt x="122" y="373"/>
                  </a:lnTo>
                  <a:lnTo>
                    <a:pt x="122" y="376"/>
                  </a:lnTo>
                  <a:lnTo>
                    <a:pt x="122" y="379"/>
                  </a:lnTo>
                  <a:lnTo>
                    <a:pt x="122" y="379"/>
                  </a:lnTo>
                  <a:lnTo>
                    <a:pt x="122" y="381"/>
                  </a:lnTo>
                  <a:lnTo>
                    <a:pt x="122" y="381"/>
                  </a:lnTo>
                  <a:lnTo>
                    <a:pt x="122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17" y="384"/>
                  </a:lnTo>
                  <a:lnTo>
                    <a:pt x="117" y="384"/>
                  </a:lnTo>
                  <a:lnTo>
                    <a:pt x="119" y="381"/>
                  </a:lnTo>
                  <a:lnTo>
                    <a:pt x="117" y="379"/>
                  </a:lnTo>
                  <a:lnTo>
                    <a:pt x="117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4" y="379"/>
                  </a:lnTo>
                  <a:lnTo>
                    <a:pt x="112" y="379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09" y="381"/>
                  </a:lnTo>
                  <a:lnTo>
                    <a:pt x="109" y="381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4"/>
                  </a:lnTo>
                  <a:lnTo>
                    <a:pt x="107" y="386"/>
                  </a:lnTo>
                  <a:lnTo>
                    <a:pt x="107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6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7" y="389"/>
                  </a:lnTo>
                  <a:lnTo>
                    <a:pt x="104" y="389"/>
                  </a:lnTo>
                  <a:lnTo>
                    <a:pt x="101" y="389"/>
                  </a:lnTo>
                  <a:lnTo>
                    <a:pt x="101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9" y="389"/>
                  </a:lnTo>
                  <a:lnTo>
                    <a:pt x="96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4" y="389"/>
                  </a:lnTo>
                  <a:lnTo>
                    <a:pt x="91" y="389"/>
                  </a:lnTo>
                  <a:lnTo>
                    <a:pt x="88" y="386"/>
                  </a:lnTo>
                  <a:lnTo>
                    <a:pt x="88" y="386"/>
                  </a:lnTo>
                  <a:lnTo>
                    <a:pt x="88" y="384"/>
                  </a:lnTo>
                  <a:lnTo>
                    <a:pt x="88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6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81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8" y="381"/>
                  </a:lnTo>
                  <a:lnTo>
                    <a:pt x="75" y="381"/>
                  </a:lnTo>
                  <a:lnTo>
                    <a:pt x="75" y="384"/>
                  </a:lnTo>
                  <a:lnTo>
                    <a:pt x="73" y="384"/>
                  </a:lnTo>
                  <a:lnTo>
                    <a:pt x="73" y="384"/>
                  </a:lnTo>
                  <a:lnTo>
                    <a:pt x="70" y="384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70" y="386"/>
                  </a:lnTo>
                  <a:lnTo>
                    <a:pt x="68" y="386"/>
                  </a:lnTo>
                  <a:lnTo>
                    <a:pt x="68" y="386"/>
                  </a:lnTo>
                  <a:lnTo>
                    <a:pt x="68" y="389"/>
                  </a:lnTo>
                  <a:lnTo>
                    <a:pt x="68" y="389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5" y="392"/>
                  </a:lnTo>
                  <a:lnTo>
                    <a:pt x="63" y="392"/>
                  </a:lnTo>
                  <a:lnTo>
                    <a:pt x="63" y="392"/>
                  </a:lnTo>
                  <a:lnTo>
                    <a:pt x="60" y="392"/>
                  </a:lnTo>
                  <a:lnTo>
                    <a:pt x="57" y="392"/>
                  </a:lnTo>
                  <a:lnTo>
                    <a:pt x="57" y="392"/>
                  </a:lnTo>
                  <a:lnTo>
                    <a:pt x="55" y="392"/>
                  </a:lnTo>
                  <a:lnTo>
                    <a:pt x="52" y="392"/>
                  </a:lnTo>
                  <a:lnTo>
                    <a:pt x="50" y="392"/>
                  </a:lnTo>
                  <a:lnTo>
                    <a:pt x="50" y="394"/>
                  </a:lnTo>
                  <a:lnTo>
                    <a:pt x="47" y="394"/>
                  </a:lnTo>
                  <a:lnTo>
                    <a:pt x="47" y="394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92"/>
                  </a:lnTo>
                  <a:lnTo>
                    <a:pt x="44" y="389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42" y="386"/>
                  </a:lnTo>
                  <a:lnTo>
                    <a:pt x="39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7" y="386"/>
                  </a:lnTo>
                  <a:lnTo>
                    <a:pt x="34" y="386"/>
                  </a:lnTo>
                  <a:lnTo>
                    <a:pt x="34" y="386"/>
                  </a:lnTo>
                  <a:lnTo>
                    <a:pt x="34" y="389"/>
                  </a:lnTo>
                  <a:lnTo>
                    <a:pt x="31" y="389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4"/>
                  </a:lnTo>
                  <a:lnTo>
                    <a:pt x="26" y="394"/>
                  </a:lnTo>
                  <a:lnTo>
                    <a:pt x="24" y="394"/>
                  </a:lnTo>
                  <a:lnTo>
                    <a:pt x="21" y="397"/>
                  </a:lnTo>
                  <a:lnTo>
                    <a:pt x="21" y="397"/>
                  </a:lnTo>
                  <a:lnTo>
                    <a:pt x="18" y="394"/>
                  </a:lnTo>
                  <a:lnTo>
                    <a:pt x="16" y="394"/>
                  </a:lnTo>
                  <a:lnTo>
                    <a:pt x="16" y="392"/>
                  </a:lnTo>
                  <a:lnTo>
                    <a:pt x="13" y="389"/>
                  </a:lnTo>
                  <a:lnTo>
                    <a:pt x="16" y="389"/>
                  </a:lnTo>
                  <a:lnTo>
                    <a:pt x="16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18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21" y="389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18" y="384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6" y="384"/>
                  </a:lnTo>
                  <a:lnTo>
                    <a:pt x="16" y="384"/>
                  </a:lnTo>
                  <a:lnTo>
                    <a:pt x="16" y="386"/>
                  </a:lnTo>
                  <a:lnTo>
                    <a:pt x="13" y="386"/>
                  </a:lnTo>
                  <a:lnTo>
                    <a:pt x="13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11" y="386"/>
                  </a:lnTo>
                  <a:lnTo>
                    <a:pt x="8" y="386"/>
                  </a:lnTo>
                  <a:lnTo>
                    <a:pt x="8" y="384"/>
                  </a:lnTo>
                  <a:lnTo>
                    <a:pt x="8" y="384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6"/>
                  </a:lnTo>
                  <a:lnTo>
                    <a:pt x="3" y="373"/>
                  </a:lnTo>
                  <a:lnTo>
                    <a:pt x="0" y="371"/>
                  </a:lnTo>
                  <a:lnTo>
                    <a:pt x="0" y="371"/>
                  </a:lnTo>
                  <a:lnTo>
                    <a:pt x="0" y="368"/>
                  </a:lnTo>
                  <a:lnTo>
                    <a:pt x="0" y="36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7" name="Freeform 127"/>
            <p:cNvSpPr>
              <a:spLocks/>
            </p:cNvSpPr>
            <p:nvPr/>
          </p:nvSpPr>
          <p:spPr bwMode="auto">
            <a:xfrm>
              <a:off x="1064" y="3624"/>
              <a:ext cx="8" cy="5"/>
            </a:xfrm>
            <a:custGeom>
              <a:avLst/>
              <a:gdLst>
                <a:gd name="T0" fmla="*/ 0 w 8"/>
                <a:gd name="T1" fmla="*/ 5 h 5"/>
                <a:gd name="T2" fmla="*/ 3 w 8"/>
                <a:gd name="T3" fmla="*/ 3 h 5"/>
                <a:gd name="T4" fmla="*/ 3 w 8"/>
                <a:gd name="T5" fmla="*/ 3 h 5"/>
                <a:gd name="T6" fmla="*/ 3 w 8"/>
                <a:gd name="T7" fmla="*/ 3 h 5"/>
                <a:gd name="T8" fmla="*/ 0 w 8"/>
                <a:gd name="T9" fmla="*/ 0 h 5"/>
                <a:gd name="T10" fmla="*/ 3 w 8"/>
                <a:gd name="T11" fmla="*/ 0 h 5"/>
                <a:gd name="T12" fmla="*/ 5 w 8"/>
                <a:gd name="T13" fmla="*/ 0 h 5"/>
                <a:gd name="T14" fmla="*/ 5 w 8"/>
                <a:gd name="T15" fmla="*/ 3 h 5"/>
                <a:gd name="T16" fmla="*/ 8 w 8"/>
                <a:gd name="T17" fmla="*/ 3 h 5"/>
                <a:gd name="T18" fmla="*/ 8 w 8"/>
                <a:gd name="T19" fmla="*/ 3 h 5"/>
                <a:gd name="T20" fmla="*/ 8 w 8"/>
                <a:gd name="T21" fmla="*/ 5 h 5"/>
                <a:gd name="T22" fmla="*/ 8 w 8"/>
                <a:gd name="T23" fmla="*/ 5 h 5"/>
                <a:gd name="T24" fmla="*/ 5 w 8"/>
                <a:gd name="T25" fmla="*/ 5 h 5"/>
                <a:gd name="T26" fmla="*/ 5 w 8"/>
                <a:gd name="T27" fmla="*/ 5 h 5"/>
                <a:gd name="T28" fmla="*/ 5 w 8"/>
                <a:gd name="T29" fmla="*/ 5 h 5"/>
                <a:gd name="T30" fmla="*/ 3 w 8"/>
                <a:gd name="T31" fmla="*/ 5 h 5"/>
                <a:gd name="T32" fmla="*/ 3 w 8"/>
                <a:gd name="T33" fmla="*/ 5 h 5"/>
                <a:gd name="T34" fmla="*/ 3 w 8"/>
                <a:gd name="T35" fmla="*/ 5 h 5"/>
                <a:gd name="T36" fmla="*/ 0 w 8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8" name="Freeform 128"/>
            <p:cNvSpPr>
              <a:spLocks/>
            </p:cNvSpPr>
            <p:nvPr/>
          </p:nvSpPr>
          <p:spPr bwMode="auto">
            <a:xfrm>
              <a:off x="1064" y="3624"/>
              <a:ext cx="8" cy="5"/>
            </a:xfrm>
            <a:custGeom>
              <a:avLst/>
              <a:gdLst>
                <a:gd name="T0" fmla="*/ 0 w 8"/>
                <a:gd name="T1" fmla="*/ 5 h 5"/>
                <a:gd name="T2" fmla="*/ 3 w 8"/>
                <a:gd name="T3" fmla="*/ 3 h 5"/>
                <a:gd name="T4" fmla="*/ 3 w 8"/>
                <a:gd name="T5" fmla="*/ 3 h 5"/>
                <a:gd name="T6" fmla="*/ 3 w 8"/>
                <a:gd name="T7" fmla="*/ 3 h 5"/>
                <a:gd name="T8" fmla="*/ 0 w 8"/>
                <a:gd name="T9" fmla="*/ 0 h 5"/>
                <a:gd name="T10" fmla="*/ 3 w 8"/>
                <a:gd name="T11" fmla="*/ 0 h 5"/>
                <a:gd name="T12" fmla="*/ 5 w 8"/>
                <a:gd name="T13" fmla="*/ 0 h 5"/>
                <a:gd name="T14" fmla="*/ 5 w 8"/>
                <a:gd name="T15" fmla="*/ 3 h 5"/>
                <a:gd name="T16" fmla="*/ 8 w 8"/>
                <a:gd name="T17" fmla="*/ 3 h 5"/>
                <a:gd name="T18" fmla="*/ 8 w 8"/>
                <a:gd name="T19" fmla="*/ 3 h 5"/>
                <a:gd name="T20" fmla="*/ 8 w 8"/>
                <a:gd name="T21" fmla="*/ 5 h 5"/>
                <a:gd name="T22" fmla="*/ 8 w 8"/>
                <a:gd name="T23" fmla="*/ 5 h 5"/>
                <a:gd name="T24" fmla="*/ 5 w 8"/>
                <a:gd name="T25" fmla="*/ 5 h 5"/>
                <a:gd name="T26" fmla="*/ 5 w 8"/>
                <a:gd name="T27" fmla="*/ 5 h 5"/>
                <a:gd name="T28" fmla="*/ 5 w 8"/>
                <a:gd name="T29" fmla="*/ 5 h 5"/>
                <a:gd name="T30" fmla="*/ 3 w 8"/>
                <a:gd name="T31" fmla="*/ 5 h 5"/>
                <a:gd name="T32" fmla="*/ 3 w 8"/>
                <a:gd name="T33" fmla="*/ 5 h 5"/>
                <a:gd name="T34" fmla="*/ 3 w 8"/>
                <a:gd name="T35" fmla="*/ 5 h 5"/>
                <a:gd name="T36" fmla="*/ 0 w 8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89" name="Freeform 129"/>
            <p:cNvSpPr>
              <a:spLocks/>
            </p:cNvSpPr>
            <p:nvPr/>
          </p:nvSpPr>
          <p:spPr bwMode="auto">
            <a:xfrm>
              <a:off x="1064" y="3624"/>
              <a:ext cx="8" cy="5"/>
            </a:xfrm>
            <a:custGeom>
              <a:avLst/>
              <a:gdLst>
                <a:gd name="T0" fmla="*/ 0 w 8"/>
                <a:gd name="T1" fmla="*/ 5 h 5"/>
                <a:gd name="T2" fmla="*/ 3 w 8"/>
                <a:gd name="T3" fmla="*/ 3 h 5"/>
                <a:gd name="T4" fmla="*/ 3 w 8"/>
                <a:gd name="T5" fmla="*/ 3 h 5"/>
                <a:gd name="T6" fmla="*/ 3 w 8"/>
                <a:gd name="T7" fmla="*/ 3 h 5"/>
                <a:gd name="T8" fmla="*/ 0 w 8"/>
                <a:gd name="T9" fmla="*/ 0 h 5"/>
                <a:gd name="T10" fmla="*/ 3 w 8"/>
                <a:gd name="T11" fmla="*/ 0 h 5"/>
                <a:gd name="T12" fmla="*/ 5 w 8"/>
                <a:gd name="T13" fmla="*/ 0 h 5"/>
                <a:gd name="T14" fmla="*/ 5 w 8"/>
                <a:gd name="T15" fmla="*/ 3 h 5"/>
                <a:gd name="T16" fmla="*/ 8 w 8"/>
                <a:gd name="T17" fmla="*/ 3 h 5"/>
                <a:gd name="T18" fmla="*/ 8 w 8"/>
                <a:gd name="T19" fmla="*/ 3 h 5"/>
                <a:gd name="T20" fmla="*/ 8 w 8"/>
                <a:gd name="T21" fmla="*/ 5 h 5"/>
                <a:gd name="T22" fmla="*/ 8 w 8"/>
                <a:gd name="T23" fmla="*/ 5 h 5"/>
                <a:gd name="T24" fmla="*/ 5 w 8"/>
                <a:gd name="T25" fmla="*/ 5 h 5"/>
                <a:gd name="T26" fmla="*/ 5 w 8"/>
                <a:gd name="T27" fmla="*/ 5 h 5"/>
                <a:gd name="T28" fmla="*/ 5 w 8"/>
                <a:gd name="T29" fmla="*/ 5 h 5"/>
                <a:gd name="T30" fmla="*/ 3 w 8"/>
                <a:gd name="T31" fmla="*/ 5 h 5"/>
                <a:gd name="T32" fmla="*/ 3 w 8"/>
                <a:gd name="T33" fmla="*/ 5 h 5"/>
                <a:gd name="T34" fmla="*/ 3 w 8"/>
                <a:gd name="T35" fmla="*/ 5 h 5"/>
                <a:gd name="T36" fmla="*/ 0 w 8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0" name="Freeform 130"/>
            <p:cNvSpPr>
              <a:spLocks/>
            </p:cNvSpPr>
            <p:nvPr/>
          </p:nvSpPr>
          <p:spPr bwMode="auto">
            <a:xfrm>
              <a:off x="1064" y="3624"/>
              <a:ext cx="8" cy="5"/>
            </a:xfrm>
            <a:custGeom>
              <a:avLst/>
              <a:gdLst>
                <a:gd name="T0" fmla="*/ 0 w 8"/>
                <a:gd name="T1" fmla="*/ 5 h 5"/>
                <a:gd name="T2" fmla="*/ 3 w 8"/>
                <a:gd name="T3" fmla="*/ 3 h 5"/>
                <a:gd name="T4" fmla="*/ 3 w 8"/>
                <a:gd name="T5" fmla="*/ 3 h 5"/>
                <a:gd name="T6" fmla="*/ 3 w 8"/>
                <a:gd name="T7" fmla="*/ 3 h 5"/>
                <a:gd name="T8" fmla="*/ 0 w 8"/>
                <a:gd name="T9" fmla="*/ 0 h 5"/>
                <a:gd name="T10" fmla="*/ 3 w 8"/>
                <a:gd name="T11" fmla="*/ 0 h 5"/>
                <a:gd name="T12" fmla="*/ 5 w 8"/>
                <a:gd name="T13" fmla="*/ 0 h 5"/>
                <a:gd name="T14" fmla="*/ 5 w 8"/>
                <a:gd name="T15" fmla="*/ 3 h 5"/>
                <a:gd name="T16" fmla="*/ 8 w 8"/>
                <a:gd name="T17" fmla="*/ 3 h 5"/>
                <a:gd name="T18" fmla="*/ 8 w 8"/>
                <a:gd name="T19" fmla="*/ 3 h 5"/>
                <a:gd name="T20" fmla="*/ 8 w 8"/>
                <a:gd name="T21" fmla="*/ 5 h 5"/>
                <a:gd name="T22" fmla="*/ 8 w 8"/>
                <a:gd name="T23" fmla="*/ 5 h 5"/>
                <a:gd name="T24" fmla="*/ 5 w 8"/>
                <a:gd name="T25" fmla="*/ 5 h 5"/>
                <a:gd name="T26" fmla="*/ 5 w 8"/>
                <a:gd name="T27" fmla="*/ 5 h 5"/>
                <a:gd name="T28" fmla="*/ 5 w 8"/>
                <a:gd name="T29" fmla="*/ 5 h 5"/>
                <a:gd name="T30" fmla="*/ 3 w 8"/>
                <a:gd name="T31" fmla="*/ 5 h 5"/>
                <a:gd name="T32" fmla="*/ 3 w 8"/>
                <a:gd name="T33" fmla="*/ 5 h 5"/>
                <a:gd name="T34" fmla="*/ 3 w 8"/>
                <a:gd name="T35" fmla="*/ 5 h 5"/>
                <a:gd name="T36" fmla="*/ 0 w 8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1" name="Freeform 131"/>
            <p:cNvSpPr>
              <a:spLocks/>
            </p:cNvSpPr>
            <p:nvPr/>
          </p:nvSpPr>
          <p:spPr bwMode="auto">
            <a:xfrm>
              <a:off x="1100" y="3126"/>
              <a:ext cx="544" cy="576"/>
            </a:xfrm>
            <a:custGeom>
              <a:avLst/>
              <a:gdLst>
                <a:gd name="T0" fmla="*/ 29 w 544"/>
                <a:gd name="T1" fmla="*/ 73 h 576"/>
                <a:gd name="T2" fmla="*/ 65 w 544"/>
                <a:gd name="T3" fmla="*/ 57 h 576"/>
                <a:gd name="T4" fmla="*/ 88 w 544"/>
                <a:gd name="T5" fmla="*/ 29 h 576"/>
                <a:gd name="T6" fmla="*/ 122 w 544"/>
                <a:gd name="T7" fmla="*/ 8 h 576"/>
                <a:gd name="T8" fmla="*/ 156 w 544"/>
                <a:gd name="T9" fmla="*/ 24 h 576"/>
                <a:gd name="T10" fmla="*/ 174 w 544"/>
                <a:gd name="T11" fmla="*/ 37 h 576"/>
                <a:gd name="T12" fmla="*/ 195 w 544"/>
                <a:gd name="T13" fmla="*/ 62 h 576"/>
                <a:gd name="T14" fmla="*/ 200 w 544"/>
                <a:gd name="T15" fmla="*/ 34 h 576"/>
                <a:gd name="T16" fmla="*/ 233 w 544"/>
                <a:gd name="T17" fmla="*/ 39 h 576"/>
                <a:gd name="T18" fmla="*/ 257 w 544"/>
                <a:gd name="T19" fmla="*/ 44 h 576"/>
                <a:gd name="T20" fmla="*/ 264 w 544"/>
                <a:gd name="T21" fmla="*/ 11 h 576"/>
                <a:gd name="T22" fmla="*/ 285 w 544"/>
                <a:gd name="T23" fmla="*/ 34 h 576"/>
                <a:gd name="T24" fmla="*/ 337 w 544"/>
                <a:gd name="T25" fmla="*/ 34 h 576"/>
                <a:gd name="T26" fmla="*/ 345 w 544"/>
                <a:gd name="T27" fmla="*/ 42 h 576"/>
                <a:gd name="T28" fmla="*/ 360 w 544"/>
                <a:gd name="T29" fmla="*/ 68 h 576"/>
                <a:gd name="T30" fmla="*/ 384 w 544"/>
                <a:gd name="T31" fmla="*/ 99 h 576"/>
                <a:gd name="T32" fmla="*/ 386 w 544"/>
                <a:gd name="T33" fmla="*/ 140 h 576"/>
                <a:gd name="T34" fmla="*/ 409 w 544"/>
                <a:gd name="T35" fmla="*/ 182 h 576"/>
                <a:gd name="T36" fmla="*/ 441 w 544"/>
                <a:gd name="T37" fmla="*/ 213 h 576"/>
                <a:gd name="T38" fmla="*/ 469 w 544"/>
                <a:gd name="T39" fmla="*/ 249 h 576"/>
                <a:gd name="T40" fmla="*/ 516 w 544"/>
                <a:gd name="T41" fmla="*/ 280 h 576"/>
                <a:gd name="T42" fmla="*/ 541 w 544"/>
                <a:gd name="T43" fmla="*/ 322 h 576"/>
                <a:gd name="T44" fmla="*/ 534 w 544"/>
                <a:gd name="T45" fmla="*/ 355 h 576"/>
                <a:gd name="T46" fmla="*/ 500 w 544"/>
                <a:gd name="T47" fmla="*/ 358 h 576"/>
                <a:gd name="T48" fmla="*/ 430 w 544"/>
                <a:gd name="T49" fmla="*/ 423 h 576"/>
                <a:gd name="T50" fmla="*/ 446 w 544"/>
                <a:gd name="T51" fmla="*/ 485 h 576"/>
                <a:gd name="T52" fmla="*/ 456 w 544"/>
                <a:gd name="T53" fmla="*/ 524 h 576"/>
                <a:gd name="T54" fmla="*/ 425 w 544"/>
                <a:gd name="T55" fmla="*/ 524 h 576"/>
                <a:gd name="T56" fmla="*/ 391 w 544"/>
                <a:gd name="T57" fmla="*/ 511 h 576"/>
                <a:gd name="T58" fmla="*/ 360 w 544"/>
                <a:gd name="T59" fmla="*/ 516 h 576"/>
                <a:gd name="T60" fmla="*/ 296 w 544"/>
                <a:gd name="T61" fmla="*/ 521 h 576"/>
                <a:gd name="T62" fmla="*/ 259 w 544"/>
                <a:gd name="T63" fmla="*/ 550 h 576"/>
                <a:gd name="T64" fmla="*/ 218 w 544"/>
                <a:gd name="T65" fmla="*/ 540 h 576"/>
                <a:gd name="T66" fmla="*/ 179 w 544"/>
                <a:gd name="T67" fmla="*/ 529 h 576"/>
                <a:gd name="T68" fmla="*/ 169 w 544"/>
                <a:gd name="T69" fmla="*/ 547 h 576"/>
                <a:gd name="T70" fmla="*/ 140 w 544"/>
                <a:gd name="T71" fmla="*/ 558 h 576"/>
                <a:gd name="T72" fmla="*/ 117 w 544"/>
                <a:gd name="T73" fmla="*/ 537 h 576"/>
                <a:gd name="T74" fmla="*/ 88 w 544"/>
                <a:gd name="T75" fmla="*/ 521 h 576"/>
                <a:gd name="T76" fmla="*/ 78 w 544"/>
                <a:gd name="T77" fmla="*/ 516 h 576"/>
                <a:gd name="T78" fmla="*/ 120 w 544"/>
                <a:gd name="T79" fmla="*/ 506 h 576"/>
                <a:gd name="T80" fmla="*/ 122 w 544"/>
                <a:gd name="T81" fmla="*/ 485 h 576"/>
                <a:gd name="T82" fmla="*/ 127 w 544"/>
                <a:gd name="T83" fmla="*/ 462 h 576"/>
                <a:gd name="T84" fmla="*/ 122 w 544"/>
                <a:gd name="T85" fmla="*/ 402 h 576"/>
                <a:gd name="T86" fmla="*/ 127 w 544"/>
                <a:gd name="T87" fmla="*/ 368 h 576"/>
                <a:gd name="T88" fmla="*/ 148 w 544"/>
                <a:gd name="T89" fmla="*/ 345 h 576"/>
                <a:gd name="T90" fmla="*/ 145 w 544"/>
                <a:gd name="T91" fmla="*/ 327 h 576"/>
                <a:gd name="T92" fmla="*/ 161 w 544"/>
                <a:gd name="T93" fmla="*/ 332 h 576"/>
                <a:gd name="T94" fmla="*/ 161 w 544"/>
                <a:gd name="T95" fmla="*/ 317 h 576"/>
                <a:gd name="T96" fmla="*/ 166 w 544"/>
                <a:gd name="T97" fmla="*/ 298 h 576"/>
                <a:gd name="T98" fmla="*/ 158 w 544"/>
                <a:gd name="T99" fmla="*/ 278 h 576"/>
                <a:gd name="T100" fmla="*/ 143 w 544"/>
                <a:gd name="T101" fmla="*/ 265 h 576"/>
                <a:gd name="T102" fmla="*/ 140 w 544"/>
                <a:gd name="T103" fmla="*/ 252 h 576"/>
                <a:gd name="T104" fmla="*/ 130 w 544"/>
                <a:gd name="T105" fmla="*/ 239 h 576"/>
                <a:gd name="T106" fmla="*/ 130 w 544"/>
                <a:gd name="T107" fmla="*/ 218 h 576"/>
                <a:gd name="T108" fmla="*/ 127 w 544"/>
                <a:gd name="T109" fmla="*/ 187 h 576"/>
                <a:gd name="T110" fmla="*/ 104 w 544"/>
                <a:gd name="T111" fmla="*/ 187 h 576"/>
                <a:gd name="T112" fmla="*/ 96 w 544"/>
                <a:gd name="T113" fmla="*/ 158 h 576"/>
                <a:gd name="T114" fmla="*/ 73 w 544"/>
                <a:gd name="T115" fmla="*/ 153 h 576"/>
                <a:gd name="T116" fmla="*/ 60 w 544"/>
                <a:gd name="T117" fmla="*/ 135 h 576"/>
                <a:gd name="T118" fmla="*/ 47 w 544"/>
                <a:gd name="T119" fmla="*/ 145 h 576"/>
                <a:gd name="T120" fmla="*/ 34 w 544"/>
                <a:gd name="T121" fmla="*/ 166 h 576"/>
                <a:gd name="T122" fmla="*/ 16 w 544"/>
                <a:gd name="T123" fmla="*/ 138 h 576"/>
                <a:gd name="T124" fmla="*/ 6 w 544"/>
                <a:gd name="T125" fmla="*/ 107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576">
                  <a:moveTo>
                    <a:pt x="0" y="91"/>
                  </a:moveTo>
                  <a:lnTo>
                    <a:pt x="0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1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3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4" y="75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8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7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8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3"/>
                  </a:lnTo>
                  <a:lnTo>
                    <a:pt x="63" y="73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2"/>
                  </a:lnTo>
                  <a:lnTo>
                    <a:pt x="60" y="60"/>
                  </a:lnTo>
                  <a:lnTo>
                    <a:pt x="57" y="57"/>
                  </a:lnTo>
                  <a:lnTo>
                    <a:pt x="60" y="55"/>
                  </a:lnTo>
                  <a:lnTo>
                    <a:pt x="60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6" y="47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4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4" y="21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0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5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3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3" y="13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21"/>
                  </a:lnTo>
                  <a:lnTo>
                    <a:pt x="156" y="21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1" y="31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71" y="34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9" y="37"/>
                  </a:lnTo>
                  <a:lnTo>
                    <a:pt x="169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4" y="39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9"/>
                  </a:lnTo>
                  <a:lnTo>
                    <a:pt x="176" y="39"/>
                  </a:lnTo>
                  <a:lnTo>
                    <a:pt x="179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2" y="52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2" y="57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92" y="60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7" y="62"/>
                  </a:lnTo>
                  <a:lnTo>
                    <a:pt x="197" y="60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197" y="55"/>
                  </a:lnTo>
                  <a:lnTo>
                    <a:pt x="197" y="55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5" y="55"/>
                  </a:lnTo>
                  <a:lnTo>
                    <a:pt x="205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10" y="55"/>
                  </a:lnTo>
                  <a:lnTo>
                    <a:pt x="210" y="55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08" y="52"/>
                  </a:lnTo>
                  <a:lnTo>
                    <a:pt x="208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7"/>
                  </a:lnTo>
                  <a:lnTo>
                    <a:pt x="202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4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7" y="37"/>
                  </a:lnTo>
                  <a:lnTo>
                    <a:pt x="200" y="37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5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3" y="39"/>
                  </a:lnTo>
                  <a:lnTo>
                    <a:pt x="236" y="39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4" y="39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9"/>
                  </a:lnTo>
                  <a:lnTo>
                    <a:pt x="244" y="49"/>
                  </a:lnTo>
                  <a:lnTo>
                    <a:pt x="246" y="49"/>
                  </a:lnTo>
                  <a:lnTo>
                    <a:pt x="246" y="49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9" y="52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52" y="49"/>
                  </a:lnTo>
                  <a:lnTo>
                    <a:pt x="252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7"/>
                  </a:lnTo>
                  <a:lnTo>
                    <a:pt x="257" y="37"/>
                  </a:lnTo>
                  <a:lnTo>
                    <a:pt x="257" y="34"/>
                  </a:lnTo>
                  <a:lnTo>
                    <a:pt x="257" y="34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29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4"/>
                  </a:lnTo>
                  <a:lnTo>
                    <a:pt x="254" y="24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7" y="16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8"/>
                  </a:lnTo>
                  <a:lnTo>
                    <a:pt x="264" y="8"/>
                  </a:lnTo>
                  <a:lnTo>
                    <a:pt x="267" y="8"/>
                  </a:lnTo>
                  <a:lnTo>
                    <a:pt x="272" y="8"/>
                  </a:lnTo>
                  <a:lnTo>
                    <a:pt x="272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6"/>
                  </a:lnTo>
                  <a:lnTo>
                    <a:pt x="275" y="16"/>
                  </a:lnTo>
                  <a:lnTo>
                    <a:pt x="275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5" y="31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31"/>
                  </a:lnTo>
                  <a:lnTo>
                    <a:pt x="290" y="29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8" y="31"/>
                  </a:lnTo>
                  <a:lnTo>
                    <a:pt x="301" y="31"/>
                  </a:lnTo>
                  <a:lnTo>
                    <a:pt x="303" y="31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6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4" y="29"/>
                  </a:lnTo>
                  <a:lnTo>
                    <a:pt x="327" y="26"/>
                  </a:lnTo>
                  <a:lnTo>
                    <a:pt x="327" y="26"/>
                  </a:lnTo>
                  <a:lnTo>
                    <a:pt x="329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2" y="29"/>
                  </a:lnTo>
                  <a:lnTo>
                    <a:pt x="332" y="29"/>
                  </a:lnTo>
                  <a:lnTo>
                    <a:pt x="334" y="29"/>
                  </a:lnTo>
                  <a:lnTo>
                    <a:pt x="334" y="31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9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2" y="39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50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53" y="44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5" y="52"/>
                  </a:lnTo>
                  <a:lnTo>
                    <a:pt x="355" y="52"/>
                  </a:lnTo>
                  <a:lnTo>
                    <a:pt x="353" y="52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7"/>
                  </a:lnTo>
                  <a:lnTo>
                    <a:pt x="353" y="57"/>
                  </a:lnTo>
                  <a:lnTo>
                    <a:pt x="353" y="60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5"/>
                  </a:lnTo>
                  <a:lnTo>
                    <a:pt x="358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3" y="70"/>
                  </a:lnTo>
                  <a:lnTo>
                    <a:pt x="363" y="70"/>
                  </a:lnTo>
                  <a:lnTo>
                    <a:pt x="363" y="73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8"/>
                  </a:lnTo>
                  <a:lnTo>
                    <a:pt x="368" y="91"/>
                  </a:lnTo>
                  <a:lnTo>
                    <a:pt x="368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8" y="94"/>
                  </a:lnTo>
                  <a:lnTo>
                    <a:pt x="378" y="94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9" y="101"/>
                  </a:lnTo>
                  <a:lnTo>
                    <a:pt x="389" y="99"/>
                  </a:lnTo>
                  <a:lnTo>
                    <a:pt x="391" y="99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7"/>
                  </a:lnTo>
                  <a:lnTo>
                    <a:pt x="391" y="107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4" y="112"/>
                  </a:lnTo>
                  <a:lnTo>
                    <a:pt x="394" y="112"/>
                  </a:lnTo>
                  <a:lnTo>
                    <a:pt x="397" y="112"/>
                  </a:lnTo>
                  <a:lnTo>
                    <a:pt x="399" y="112"/>
                  </a:lnTo>
                  <a:lnTo>
                    <a:pt x="399" y="114"/>
                  </a:lnTo>
                  <a:lnTo>
                    <a:pt x="399" y="114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397" y="119"/>
                  </a:lnTo>
                  <a:lnTo>
                    <a:pt x="397" y="122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1" y="127"/>
                  </a:lnTo>
                  <a:lnTo>
                    <a:pt x="391" y="127"/>
                  </a:lnTo>
                  <a:lnTo>
                    <a:pt x="391" y="130"/>
                  </a:lnTo>
                  <a:lnTo>
                    <a:pt x="391" y="132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89" y="138"/>
                  </a:lnTo>
                  <a:lnTo>
                    <a:pt x="386" y="138"/>
                  </a:lnTo>
                  <a:lnTo>
                    <a:pt x="386" y="140"/>
                  </a:lnTo>
                  <a:lnTo>
                    <a:pt x="384" y="140"/>
                  </a:lnTo>
                  <a:lnTo>
                    <a:pt x="384" y="140"/>
                  </a:lnTo>
                  <a:lnTo>
                    <a:pt x="384" y="143"/>
                  </a:lnTo>
                  <a:lnTo>
                    <a:pt x="384" y="143"/>
                  </a:lnTo>
                  <a:lnTo>
                    <a:pt x="384" y="145"/>
                  </a:lnTo>
                  <a:lnTo>
                    <a:pt x="384" y="145"/>
                  </a:lnTo>
                  <a:lnTo>
                    <a:pt x="386" y="145"/>
                  </a:lnTo>
                  <a:lnTo>
                    <a:pt x="386" y="145"/>
                  </a:lnTo>
                  <a:lnTo>
                    <a:pt x="386" y="148"/>
                  </a:lnTo>
                  <a:lnTo>
                    <a:pt x="389" y="151"/>
                  </a:lnTo>
                  <a:lnTo>
                    <a:pt x="389" y="151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4" y="153"/>
                  </a:lnTo>
                  <a:lnTo>
                    <a:pt x="394" y="153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8"/>
                  </a:lnTo>
                  <a:lnTo>
                    <a:pt x="397" y="161"/>
                  </a:lnTo>
                  <a:lnTo>
                    <a:pt x="397" y="161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9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9" y="166"/>
                  </a:lnTo>
                  <a:lnTo>
                    <a:pt x="399" y="166"/>
                  </a:lnTo>
                  <a:lnTo>
                    <a:pt x="402" y="164"/>
                  </a:lnTo>
                  <a:lnTo>
                    <a:pt x="402" y="166"/>
                  </a:lnTo>
                  <a:lnTo>
                    <a:pt x="402" y="169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2" y="174"/>
                  </a:lnTo>
                  <a:lnTo>
                    <a:pt x="402" y="174"/>
                  </a:lnTo>
                  <a:lnTo>
                    <a:pt x="402" y="177"/>
                  </a:lnTo>
                  <a:lnTo>
                    <a:pt x="404" y="177"/>
                  </a:lnTo>
                  <a:lnTo>
                    <a:pt x="404" y="179"/>
                  </a:lnTo>
                  <a:lnTo>
                    <a:pt x="407" y="182"/>
                  </a:lnTo>
                  <a:lnTo>
                    <a:pt x="407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92"/>
                  </a:lnTo>
                  <a:lnTo>
                    <a:pt x="412" y="192"/>
                  </a:lnTo>
                  <a:lnTo>
                    <a:pt x="412" y="192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2" y="197"/>
                  </a:lnTo>
                  <a:lnTo>
                    <a:pt x="412" y="197"/>
                  </a:lnTo>
                  <a:lnTo>
                    <a:pt x="412" y="200"/>
                  </a:lnTo>
                  <a:lnTo>
                    <a:pt x="415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2"/>
                  </a:lnTo>
                  <a:lnTo>
                    <a:pt x="420" y="202"/>
                  </a:lnTo>
                  <a:lnTo>
                    <a:pt x="422" y="202"/>
                  </a:lnTo>
                  <a:lnTo>
                    <a:pt x="422" y="205"/>
                  </a:lnTo>
                  <a:lnTo>
                    <a:pt x="422" y="205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5" y="210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8" y="213"/>
                  </a:lnTo>
                  <a:lnTo>
                    <a:pt x="428" y="213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5" y="215"/>
                  </a:lnTo>
                  <a:lnTo>
                    <a:pt x="438" y="215"/>
                  </a:lnTo>
                  <a:lnTo>
                    <a:pt x="435" y="215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41" y="213"/>
                  </a:lnTo>
                  <a:lnTo>
                    <a:pt x="443" y="215"/>
                  </a:lnTo>
                  <a:lnTo>
                    <a:pt x="443" y="215"/>
                  </a:lnTo>
                  <a:lnTo>
                    <a:pt x="446" y="215"/>
                  </a:lnTo>
                  <a:lnTo>
                    <a:pt x="448" y="218"/>
                  </a:lnTo>
                  <a:lnTo>
                    <a:pt x="448" y="218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3" y="221"/>
                  </a:lnTo>
                  <a:lnTo>
                    <a:pt x="453" y="221"/>
                  </a:lnTo>
                  <a:lnTo>
                    <a:pt x="453" y="223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4" y="236"/>
                  </a:lnTo>
                  <a:lnTo>
                    <a:pt x="464" y="236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4" y="239"/>
                  </a:lnTo>
                  <a:lnTo>
                    <a:pt x="464" y="239"/>
                  </a:lnTo>
                  <a:lnTo>
                    <a:pt x="464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6" y="244"/>
                  </a:lnTo>
                  <a:lnTo>
                    <a:pt x="469" y="244"/>
                  </a:lnTo>
                  <a:lnTo>
                    <a:pt x="469" y="247"/>
                  </a:lnTo>
                  <a:lnTo>
                    <a:pt x="469" y="247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72" y="252"/>
                  </a:lnTo>
                  <a:lnTo>
                    <a:pt x="474" y="252"/>
                  </a:lnTo>
                  <a:lnTo>
                    <a:pt x="474" y="254"/>
                  </a:lnTo>
                  <a:lnTo>
                    <a:pt x="477" y="254"/>
                  </a:lnTo>
                  <a:lnTo>
                    <a:pt x="479" y="254"/>
                  </a:lnTo>
                  <a:lnTo>
                    <a:pt x="479" y="252"/>
                  </a:lnTo>
                  <a:lnTo>
                    <a:pt x="482" y="252"/>
                  </a:lnTo>
                  <a:lnTo>
                    <a:pt x="482" y="254"/>
                  </a:lnTo>
                  <a:lnTo>
                    <a:pt x="485" y="257"/>
                  </a:lnTo>
                  <a:lnTo>
                    <a:pt x="487" y="257"/>
                  </a:lnTo>
                  <a:lnTo>
                    <a:pt x="490" y="259"/>
                  </a:lnTo>
                  <a:lnTo>
                    <a:pt x="490" y="259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2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70"/>
                  </a:lnTo>
                  <a:lnTo>
                    <a:pt x="495" y="270"/>
                  </a:lnTo>
                  <a:lnTo>
                    <a:pt x="495" y="272"/>
                  </a:lnTo>
                  <a:lnTo>
                    <a:pt x="495" y="272"/>
                  </a:lnTo>
                  <a:lnTo>
                    <a:pt x="495" y="275"/>
                  </a:lnTo>
                  <a:lnTo>
                    <a:pt x="495" y="275"/>
                  </a:lnTo>
                  <a:lnTo>
                    <a:pt x="495" y="278"/>
                  </a:lnTo>
                  <a:lnTo>
                    <a:pt x="497" y="278"/>
                  </a:lnTo>
                  <a:lnTo>
                    <a:pt x="497" y="280"/>
                  </a:lnTo>
                  <a:lnTo>
                    <a:pt x="500" y="280"/>
                  </a:lnTo>
                  <a:lnTo>
                    <a:pt x="503" y="283"/>
                  </a:lnTo>
                  <a:lnTo>
                    <a:pt x="505" y="283"/>
                  </a:lnTo>
                  <a:lnTo>
                    <a:pt x="508" y="283"/>
                  </a:lnTo>
                  <a:lnTo>
                    <a:pt x="508" y="283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10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3"/>
                  </a:lnTo>
                  <a:lnTo>
                    <a:pt x="516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21" y="283"/>
                  </a:lnTo>
                  <a:lnTo>
                    <a:pt x="521" y="285"/>
                  </a:lnTo>
                  <a:lnTo>
                    <a:pt x="521" y="285"/>
                  </a:lnTo>
                  <a:lnTo>
                    <a:pt x="521" y="288"/>
                  </a:lnTo>
                  <a:lnTo>
                    <a:pt x="521" y="291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9" y="296"/>
                  </a:lnTo>
                  <a:lnTo>
                    <a:pt x="531" y="293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4" y="296"/>
                  </a:lnTo>
                  <a:lnTo>
                    <a:pt x="534" y="298"/>
                  </a:lnTo>
                  <a:lnTo>
                    <a:pt x="534" y="301"/>
                  </a:lnTo>
                  <a:lnTo>
                    <a:pt x="536" y="304"/>
                  </a:lnTo>
                  <a:lnTo>
                    <a:pt x="539" y="304"/>
                  </a:lnTo>
                  <a:lnTo>
                    <a:pt x="539" y="306"/>
                  </a:lnTo>
                  <a:lnTo>
                    <a:pt x="541" y="309"/>
                  </a:lnTo>
                  <a:lnTo>
                    <a:pt x="541" y="311"/>
                  </a:lnTo>
                  <a:lnTo>
                    <a:pt x="541" y="311"/>
                  </a:lnTo>
                  <a:lnTo>
                    <a:pt x="539" y="311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4" y="314"/>
                  </a:lnTo>
                  <a:lnTo>
                    <a:pt x="544" y="317"/>
                  </a:lnTo>
                  <a:lnTo>
                    <a:pt x="544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9"/>
                  </a:lnTo>
                  <a:lnTo>
                    <a:pt x="541" y="319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32"/>
                  </a:lnTo>
                  <a:lnTo>
                    <a:pt x="541" y="332"/>
                  </a:lnTo>
                  <a:lnTo>
                    <a:pt x="541" y="335"/>
                  </a:lnTo>
                  <a:lnTo>
                    <a:pt x="541" y="337"/>
                  </a:lnTo>
                  <a:lnTo>
                    <a:pt x="541" y="337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2"/>
                  </a:lnTo>
                  <a:lnTo>
                    <a:pt x="541" y="342"/>
                  </a:lnTo>
                  <a:lnTo>
                    <a:pt x="539" y="345"/>
                  </a:lnTo>
                  <a:lnTo>
                    <a:pt x="539" y="345"/>
                  </a:lnTo>
                  <a:lnTo>
                    <a:pt x="539" y="348"/>
                  </a:lnTo>
                  <a:lnTo>
                    <a:pt x="539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31" y="361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55"/>
                  </a:lnTo>
                  <a:lnTo>
                    <a:pt x="523" y="355"/>
                  </a:lnTo>
                  <a:lnTo>
                    <a:pt x="523" y="353"/>
                  </a:lnTo>
                  <a:lnTo>
                    <a:pt x="523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18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0" y="350"/>
                  </a:lnTo>
                  <a:lnTo>
                    <a:pt x="510" y="348"/>
                  </a:lnTo>
                  <a:lnTo>
                    <a:pt x="508" y="348"/>
                  </a:lnTo>
                  <a:lnTo>
                    <a:pt x="508" y="345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3" y="350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497" y="353"/>
                  </a:lnTo>
                  <a:lnTo>
                    <a:pt x="497" y="353"/>
                  </a:lnTo>
                  <a:lnTo>
                    <a:pt x="500" y="353"/>
                  </a:lnTo>
                  <a:lnTo>
                    <a:pt x="500" y="353"/>
                  </a:lnTo>
                  <a:lnTo>
                    <a:pt x="500" y="355"/>
                  </a:lnTo>
                  <a:lnTo>
                    <a:pt x="500" y="355"/>
                  </a:lnTo>
                  <a:lnTo>
                    <a:pt x="500" y="358"/>
                  </a:lnTo>
                  <a:lnTo>
                    <a:pt x="500" y="358"/>
                  </a:lnTo>
                  <a:lnTo>
                    <a:pt x="500" y="361"/>
                  </a:lnTo>
                  <a:lnTo>
                    <a:pt x="500" y="363"/>
                  </a:lnTo>
                  <a:lnTo>
                    <a:pt x="500" y="366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71"/>
                  </a:lnTo>
                  <a:lnTo>
                    <a:pt x="500" y="371"/>
                  </a:lnTo>
                  <a:lnTo>
                    <a:pt x="500" y="374"/>
                  </a:lnTo>
                  <a:lnTo>
                    <a:pt x="497" y="376"/>
                  </a:lnTo>
                  <a:lnTo>
                    <a:pt x="497" y="376"/>
                  </a:lnTo>
                  <a:lnTo>
                    <a:pt x="497" y="379"/>
                  </a:lnTo>
                  <a:lnTo>
                    <a:pt x="497" y="381"/>
                  </a:lnTo>
                  <a:lnTo>
                    <a:pt x="497" y="384"/>
                  </a:lnTo>
                  <a:lnTo>
                    <a:pt x="495" y="384"/>
                  </a:lnTo>
                  <a:lnTo>
                    <a:pt x="492" y="387"/>
                  </a:lnTo>
                  <a:lnTo>
                    <a:pt x="487" y="392"/>
                  </a:lnTo>
                  <a:lnTo>
                    <a:pt x="485" y="394"/>
                  </a:lnTo>
                  <a:lnTo>
                    <a:pt x="482" y="394"/>
                  </a:lnTo>
                  <a:lnTo>
                    <a:pt x="479" y="397"/>
                  </a:lnTo>
                  <a:lnTo>
                    <a:pt x="477" y="397"/>
                  </a:lnTo>
                  <a:lnTo>
                    <a:pt x="474" y="397"/>
                  </a:lnTo>
                  <a:lnTo>
                    <a:pt x="469" y="397"/>
                  </a:lnTo>
                  <a:lnTo>
                    <a:pt x="466" y="400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1" y="400"/>
                  </a:lnTo>
                  <a:lnTo>
                    <a:pt x="461" y="400"/>
                  </a:lnTo>
                  <a:lnTo>
                    <a:pt x="459" y="400"/>
                  </a:lnTo>
                  <a:lnTo>
                    <a:pt x="456" y="402"/>
                  </a:lnTo>
                  <a:lnTo>
                    <a:pt x="453" y="402"/>
                  </a:lnTo>
                  <a:lnTo>
                    <a:pt x="453" y="402"/>
                  </a:lnTo>
                  <a:lnTo>
                    <a:pt x="451" y="405"/>
                  </a:lnTo>
                  <a:lnTo>
                    <a:pt x="451" y="407"/>
                  </a:lnTo>
                  <a:lnTo>
                    <a:pt x="448" y="407"/>
                  </a:lnTo>
                  <a:lnTo>
                    <a:pt x="448" y="410"/>
                  </a:lnTo>
                  <a:lnTo>
                    <a:pt x="443" y="412"/>
                  </a:lnTo>
                  <a:lnTo>
                    <a:pt x="443" y="412"/>
                  </a:lnTo>
                  <a:lnTo>
                    <a:pt x="441" y="412"/>
                  </a:lnTo>
                  <a:lnTo>
                    <a:pt x="438" y="412"/>
                  </a:lnTo>
                  <a:lnTo>
                    <a:pt x="435" y="412"/>
                  </a:lnTo>
                  <a:lnTo>
                    <a:pt x="435" y="415"/>
                  </a:lnTo>
                  <a:lnTo>
                    <a:pt x="435" y="418"/>
                  </a:lnTo>
                  <a:lnTo>
                    <a:pt x="435" y="418"/>
                  </a:lnTo>
                  <a:lnTo>
                    <a:pt x="433" y="420"/>
                  </a:lnTo>
                  <a:lnTo>
                    <a:pt x="433" y="420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28" y="423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8"/>
                  </a:lnTo>
                  <a:lnTo>
                    <a:pt x="425" y="428"/>
                  </a:lnTo>
                  <a:lnTo>
                    <a:pt x="425" y="425"/>
                  </a:lnTo>
                  <a:lnTo>
                    <a:pt x="425" y="425"/>
                  </a:lnTo>
                  <a:lnTo>
                    <a:pt x="425" y="428"/>
                  </a:lnTo>
                  <a:lnTo>
                    <a:pt x="422" y="428"/>
                  </a:lnTo>
                  <a:lnTo>
                    <a:pt x="422" y="428"/>
                  </a:lnTo>
                  <a:lnTo>
                    <a:pt x="422" y="431"/>
                  </a:lnTo>
                  <a:lnTo>
                    <a:pt x="422" y="431"/>
                  </a:lnTo>
                  <a:lnTo>
                    <a:pt x="422" y="433"/>
                  </a:lnTo>
                  <a:lnTo>
                    <a:pt x="422" y="436"/>
                  </a:lnTo>
                  <a:lnTo>
                    <a:pt x="425" y="438"/>
                  </a:lnTo>
                  <a:lnTo>
                    <a:pt x="428" y="438"/>
                  </a:lnTo>
                  <a:lnTo>
                    <a:pt x="430" y="444"/>
                  </a:lnTo>
                  <a:lnTo>
                    <a:pt x="433" y="444"/>
                  </a:lnTo>
                  <a:lnTo>
                    <a:pt x="435" y="446"/>
                  </a:lnTo>
                  <a:lnTo>
                    <a:pt x="435" y="451"/>
                  </a:lnTo>
                  <a:lnTo>
                    <a:pt x="435" y="451"/>
                  </a:lnTo>
                  <a:lnTo>
                    <a:pt x="435" y="454"/>
                  </a:lnTo>
                  <a:lnTo>
                    <a:pt x="435" y="457"/>
                  </a:lnTo>
                  <a:lnTo>
                    <a:pt x="438" y="457"/>
                  </a:lnTo>
                  <a:lnTo>
                    <a:pt x="438" y="457"/>
                  </a:lnTo>
                  <a:lnTo>
                    <a:pt x="441" y="457"/>
                  </a:lnTo>
                  <a:lnTo>
                    <a:pt x="441" y="457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3" y="459"/>
                  </a:lnTo>
                  <a:lnTo>
                    <a:pt x="443" y="459"/>
                  </a:lnTo>
                  <a:lnTo>
                    <a:pt x="443" y="462"/>
                  </a:lnTo>
                  <a:lnTo>
                    <a:pt x="443" y="462"/>
                  </a:lnTo>
                  <a:lnTo>
                    <a:pt x="446" y="464"/>
                  </a:lnTo>
                  <a:lnTo>
                    <a:pt x="446" y="467"/>
                  </a:lnTo>
                  <a:lnTo>
                    <a:pt x="446" y="470"/>
                  </a:lnTo>
                  <a:lnTo>
                    <a:pt x="448" y="472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48" y="477"/>
                  </a:lnTo>
                  <a:lnTo>
                    <a:pt x="448" y="480"/>
                  </a:lnTo>
                  <a:lnTo>
                    <a:pt x="446" y="482"/>
                  </a:lnTo>
                  <a:lnTo>
                    <a:pt x="446" y="482"/>
                  </a:lnTo>
                  <a:lnTo>
                    <a:pt x="446" y="485"/>
                  </a:lnTo>
                  <a:lnTo>
                    <a:pt x="443" y="488"/>
                  </a:lnTo>
                  <a:lnTo>
                    <a:pt x="441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3"/>
                  </a:lnTo>
                  <a:lnTo>
                    <a:pt x="441" y="493"/>
                  </a:lnTo>
                  <a:lnTo>
                    <a:pt x="441" y="493"/>
                  </a:lnTo>
                  <a:lnTo>
                    <a:pt x="441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41" y="498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46" y="498"/>
                  </a:lnTo>
                  <a:lnTo>
                    <a:pt x="446" y="501"/>
                  </a:lnTo>
                  <a:lnTo>
                    <a:pt x="446" y="501"/>
                  </a:lnTo>
                  <a:lnTo>
                    <a:pt x="448" y="501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51" y="498"/>
                  </a:lnTo>
                  <a:lnTo>
                    <a:pt x="451" y="498"/>
                  </a:lnTo>
                  <a:lnTo>
                    <a:pt x="453" y="498"/>
                  </a:lnTo>
                  <a:lnTo>
                    <a:pt x="453" y="498"/>
                  </a:lnTo>
                  <a:lnTo>
                    <a:pt x="456" y="501"/>
                  </a:lnTo>
                  <a:lnTo>
                    <a:pt x="456" y="503"/>
                  </a:lnTo>
                  <a:lnTo>
                    <a:pt x="456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6"/>
                  </a:lnTo>
                  <a:lnTo>
                    <a:pt x="459" y="506"/>
                  </a:lnTo>
                  <a:lnTo>
                    <a:pt x="459" y="508"/>
                  </a:lnTo>
                  <a:lnTo>
                    <a:pt x="459" y="508"/>
                  </a:lnTo>
                  <a:lnTo>
                    <a:pt x="459" y="511"/>
                  </a:lnTo>
                  <a:lnTo>
                    <a:pt x="461" y="511"/>
                  </a:lnTo>
                  <a:lnTo>
                    <a:pt x="461" y="511"/>
                  </a:lnTo>
                  <a:lnTo>
                    <a:pt x="461" y="514"/>
                  </a:lnTo>
                  <a:lnTo>
                    <a:pt x="459" y="516"/>
                  </a:lnTo>
                  <a:lnTo>
                    <a:pt x="459" y="519"/>
                  </a:lnTo>
                  <a:lnTo>
                    <a:pt x="456" y="519"/>
                  </a:lnTo>
                  <a:lnTo>
                    <a:pt x="459" y="519"/>
                  </a:lnTo>
                  <a:lnTo>
                    <a:pt x="459" y="519"/>
                  </a:lnTo>
                  <a:lnTo>
                    <a:pt x="459" y="521"/>
                  </a:lnTo>
                  <a:lnTo>
                    <a:pt x="456" y="521"/>
                  </a:lnTo>
                  <a:lnTo>
                    <a:pt x="456" y="521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7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32"/>
                  </a:lnTo>
                  <a:lnTo>
                    <a:pt x="456" y="534"/>
                  </a:lnTo>
                  <a:lnTo>
                    <a:pt x="456" y="537"/>
                  </a:lnTo>
                  <a:lnTo>
                    <a:pt x="453" y="537"/>
                  </a:lnTo>
                  <a:lnTo>
                    <a:pt x="453" y="537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1" y="540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48" y="542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3" y="540"/>
                  </a:lnTo>
                  <a:lnTo>
                    <a:pt x="441" y="537"/>
                  </a:lnTo>
                  <a:lnTo>
                    <a:pt x="438" y="534"/>
                  </a:lnTo>
                  <a:lnTo>
                    <a:pt x="438" y="534"/>
                  </a:lnTo>
                  <a:lnTo>
                    <a:pt x="435" y="534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3" y="532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7"/>
                  </a:lnTo>
                  <a:lnTo>
                    <a:pt x="433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5" y="524"/>
                  </a:lnTo>
                  <a:lnTo>
                    <a:pt x="425" y="524"/>
                  </a:lnTo>
                  <a:lnTo>
                    <a:pt x="425" y="521"/>
                  </a:lnTo>
                  <a:lnTo>
                    <a:pt x="425" y="521"/>
                  </a:lnTo>
                  <a:lnTo>
                    <a:pt x="428" y="519"/>
                  </a:lnTo>
                  <a:lnTo>
                    <a:pt x="428" y="519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30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5" y="514"/>
                  </a:lnTo>
                  <a:lnTo>
                    <a:pt x="425" y="511"/>
                  </a:lnTo>
                  <a:lnTo>
                    <a:pt x="422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2" y="506"/>
                  </a:lnTo>
                  <a:lnTo>
                    <a:pt x="422" y="506"/>
                  </a:lnTo>
                  <a:lnTo>
                    <a:pt x="420" y="503"/>
                  </a:lnTo>
                  <a:lnTo>
                    <a:pt x="420" y="503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5" y="506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2" y="503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7" y="506"/>
                  </a:lnTo>
                  <a:lnTo>
                    <a:pt x="404" y="506"/>
                  </a:lnTo>
                  <a:lnTo>
                    <a:pt x="407" y="506"/>
                  </a:lnTo>
                  <a:lnTo>
                    <a:pt x="407" y="506"/>
                  </a:lnTo>
                  <a:lnTo>
                    <a:pt x="404" y="508"/>
                  </a:lnTo>
                  <a:lnTo>
                    <a:pt x="404" y="511"/>
                  </a:lnTo>
                  <a:lnTo>
                    <a:pt x="402" y="511"/>
                  </a:lnTo>
                  <a:lnTo>
                    <a:pt x="402" y="511"/>
                  </a:lnTo>
                  <a:lnTo>
                    <a:pt x="399" y="511"/>
                  </a:lnTo>
                  <a:lnTo>
                    <a:pt x="399" y="511"/>
                  </a:lnTo>
                  <a:lnTo>
                    <a:pt x="397" y="514"/>
                  </a:lnTo>
                  <a:lnTo>
                    <a:pt x="397" y="514"/>
                  </a:lnTo>
                  <a:lnTo>
                    <a:pt x="394" y="514"/>
                  </a:lnTo>
                  <a:lnTo>
                    <a:pt x="394" y="514"/>
                  </a:lnTo>
                  <a:lnTo>
                    <a:pt x="391" y="511"/>
                  </a:lnTo>
                  <a:lnTo>
                    <a:pt x="391" y="511"/>
                  </a:lnTo>
                  <a:lnTo>
                    <a:pt x="391" y="508"/>
                  </a:lnTo>
                  <a:lnTo>
                    <a:pt x="389" y="508"/>
                  </a:lnTo>
                  <a:lnTo>
                    <a:pt x="389" y="506"/>
                  </a:lnTo>
                  <a:lnTo>
                    <a:pt x="389" y="503"/>
                  </a:lnTo>
                  <a:lnTo>
                    <a:pt x="389" y="503"/>
                  </a:lnTo>
                  <a:lnTo>
                    <a:pt x="389" y="501"/>
                  </a:lnTo>
                  <a:lnTo>
                    <a:pt x="386" y="501"/>
                  </a:lnTo>
                  <a:lnTo>
                    <a:pt x="384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78" y="503"/>
                  </a:lnTo>
                  <a:lnTo>
                    <a:pt x="378" y="503"/>
                  </a:lnTo>
                  <a:lnTo>
                    <a:pt x="376" y="503"/>
                  </a:lnTo>
                  <a:lnTo>
                    <a:pt x="376" y="503"/>
                  </a:lnTo>
                  <a:lnTo>
                    <a:pt x="376" y="501"/>
                  </a:lnTo>
                  <a:lnTo>
                    <a:pt x="373" y="501"/>
                  </a:lnTo>
                  <a:lnTo>
                    <a:pt x="373" y="503"/>
                  </a:lnTo>
                  <a:lnTo>
                    <a:pt x="371" y="503"/>
                  </a:lnTo>
                  <a:lnTo>
                    <a:pt x="368" y="503"/>
                  </a:lnTo>
                  <a:lnTo>
                    <a:pt x="368" y="503"/>
                  </a:lnTo>
                  <a:lnTo>
                    <a:pt x="365" y="503"/>
                  </a:lnTo>
                  <a:lnTo>
                    <a:pt x="365" y="503"/>
                  </a:lnTo>
                  <a:lnTo>
                    <a:pt x="365" y="501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8" y="498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3"/>
                  </a:lnTo>
                  <a:lnTo>
                    <a:pt x="365" y="495"/>
                  </a:lnTo>
                  <a:lnTo>
                    <a:pt x="365" y="495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0" y="501"/>
                  </a:lnTo>
                  <a:lnTo>
                    <a:pt x="358" y="501"/>
                  </a:lnTo>
                  <a:lnTo>
                    <a:pt x="355" y="501"/>
                  </a:lnTo>
                  <a:lnTo>
                    <a:pt x="358" y="503"/>
                  </a:lnTo>
                  <a:lnTo>
                    <a:pt x="358" y="506"/>
                  </a:lnTo>
                  <a:lnTo>
                    <a:pt x="360" y="508"/>
                  </a:lnTo>
                  <a:lnTo>
                    <a:pt x="360" y="511"/>
                  </a:lnTo>
                  <a:lnTo>
                    <a:pt x="360" y="514"/>
                  </a:lnTo>
                  <a:lnTo>
                    <a:pt x="360" y="514"/>
                  </a:lnTo>
                  <a:lnTo>
                    <a:pt x="360" y="516"/>
                  </a:lnTo>
                  <a:lnTo>
                    <a:pt x="363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58" y="519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3" y="516"/>
                  </a:lnTo>
                  <a:lnTo>
                    <a:pt x="353" y="516"/>
                  </a:lnTo>
                  <a:lnTo>
                    <a:pt x="347" y="516"/>
                  </a:lnTo>
                  <a:lnTo>
                    <a:pt x="345" y="516"/>
                  </a:lnTo>
                  <a:lnTo>
                    <a:pt x="342" y="516"/>
                  </a:lnTo>
                  <a:lnTo>
                    <a:pt x="340" y="516"/>
                  </a:lnTo>
                  <a:lnTo>
                    <a:pt x="340" y="516"/>
                  </a:lnTo>
                  <a:lnTo>
                    <a:pt x="340" y="514"/>
                  </a:lnTo>
                  <a:lnTo>
                    <a:pt x="340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4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29" y="516"/>
                  </a:lnTo>
                  <a:lnTo>
                    <a:pt x="327" y="516"/>
                  </a:lnTo>
                  <a:lnTo>
                    <a:pt x="324" y="516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21"/>
                  </a:lnTo>
                  <a:lnTo>
                    <a:pt x="319" y="521"/>
                  </a:lnTo>
                  <a:lnTo>
                    <a:pt x="319" y="521"/>
                  </a:lnTo>
                  <a:lnTo>
                    <a:pt x="316" y="521"/>
                  </a:lnTo>
                  <a:lnTo>
                    <a:pt x="314" y="521"/>
                  </a:lnTo>
                  <a:lnTo>
                    <a:pt x="314" y="521"/>
                  </a:lnTo>
                  <a:lnTo>
                    <a:pt x="311" y="521"/>
                  </a:lnTo>
                  <a:lnTo>
                    <a:pt x="309" y="521"/>
                  </a:lnTo>
                  <a:lnTo>
                    <a:pt x="306" y="521"/>
                  </a:lnTo>
                  <a:lnTo>
                    <a:pt x="303" y="521"/>
                  </a:lnTo>
                  <a:lnTo>
                    <a:pt x="301" y="521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6" y="524"/>
                  </a:lnTo>
                  <a:lnTo>
                    <a:pt x="293" y="527"/>
                  </a:lnTo>
                  <a:lnTo>
                    <a:pt x="293" y="529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88" y="534"/>
                  </a:lnTo>
                  <a:lnTo>
                    <a:pt x="288" y="534"/>
                  </a:lnTo>
                  <a:lnTo>
                    <a:pt x="285" y="534"/>
                  </a:lnTo>
                  <a:lnTo>
                    <a:pt x="285" y="534"/>
                  </a:lnTo>
                  <a:lnTo>
                    <a:pt x="283" y="534"/>
                  </a:lnTo>
                  <a:lnTo>
                    <a:pt x="283" y="534"/>
                  </a:lnTo>
                  <a:lnTo>
                    <a:pt x="280" y="534"/>
                  </a:lnTo>
                  <a:lnTo>
                    <a:pt x="280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2" y="537"/>
                  </a:lnTo>
                  <a:lnTo>
                    <a:pt x="270" y="540"/>
                  </a:lnTo>
                  <a:lnTo>
                    <a:pt x="270" y="540"/>
                  </a:lnTo>
                  <a:lnTo>
                    <a:pt x="270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5" y="542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0" y="545"/>
                  </a:lnTo>
                  <a:lnTo>
                    <a:pt x="267" y="545"/>
                  </a:lnTo>
                  <a:lnTo>
                    <a:pt x="264" y="545"/>
                  </a:lnTo>
                  <a:lnTo>
                    <a:pt x="264" y="545"/>
                  </a:lnTo>
                  <a:lnTo>
                    <a:pt x="262" y="547"/>
                  </a:lnTo>
                  <a:lnTo>
                    <a:pt x="262" y="550"/>
                  </a:lnTo>
                  <a:lnTo>
                    <a:pt x="262" y="550"/>
                  </a:lnTo>
                  <a:lnTo>
                    <a:pt x="259" y="547"/>
                  </a:lnTo>
                  <a:lnTo>
                    <a:pt x="259" y="547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7" y="555"/>
                  </a:lnTo>
                  <a:lnTo>
                    <a:pt x="257" y="555"/>
                  </a:lnTo>
                  <a:lnTo>
                    <a:pt x="254" y="555"/>
                  </a:lnTo>
                  <a:lnTo>
                    <a:pt x="254" y="555"/>
                  </a:lnTo>
                  <a:lnTo>
                    <a:pt x="252" y="555"/>
                  </a:lnTo>
                  <a:lnTo>
                    <a:pt x="252" y="555"/>
                  </a:lnTo>
                  <a:lnTo>
                    <a:pt x="252" y="552"/>
                  </a:lnTo>
                  <a:lnTo>
                    <a:pt x="252" y="552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47"/>
                  </a:lnTo>
                  <a:lnTo>
                    <a:pt x="252" y="547"/>
                  </a:lnTo>
                  <a:lnTo>
                    <a:pt x="249" y="547"/>
                  </a:lnTo>
                  <a:lnTo>
                    <a:pt x="246" y="550"/>
                  </a:lnTo>
                  <a:lnTo>
                    <a:pt x="244" y="550"/>
                  </a:lnTo>
                  <a:lnTo>
                    <a:pt x="241" y="550"/>
                  </a:lnTo>
                  <a:lnTo>
                    <a:pt x="241" y="550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5"/>
                  </a:lnTo>
                  <a:lnTo>
                    <a:pt x="239" y="555"/>
                  </a:lnTo>
                  <a:lnTo>
                    <a:pt x="239" y="555"/>
                  </a:lnTo>
                  <a:lnTo>
                    <a:pt x="236" y="555"/>
                  </a:lnTo>
                  <a:lnTo>
                    <a:pt x="233" y="555"/>
                  </a:lnTo>
                  <a:lnTo>
                    <a:pt x="231" y="555"/>
                  </a:lnTo>
                  <a:lnTo>
                    <a:pt x="228" y="555"/>
                  </a:lnTo>
                  <a:lnTo>
                    <a:pt x="226" y="555"/>
                  </a:lnTo>
                  <a:lnTo>
                    <a:pt x="223" y="555"/>
                  </a:lnTo>
                  <a:lnTo>
                    <a:pt x="223" y="552"/>
                  </a:lnTo>
                  <a:lnTo>
                    <a:pt x="223" y="552"/>
                  </a:lnTo>
                  <a:lnTo>
                    <a:pt x="223" y="550"/>
                  </a:lnTo>
                  <a:lnTo>
                    <a:pt x="226" y="550"/>
                  </a:lnTo>
                  <a:lnTo>
                    <a:pt x="226" y="547"/>
                  </a:lnTo>
                  <a:lnTo>
                    <a:pt x="226" y="547"/>
                  </a:lnTo>
                  <a:lnTo>
                    <a:pt x="223" y="545"/>
                  </a:lnTo>
                  <a:lnTo>
                    <a:pt x="220" y="545"/>
                  </a:lnTo>
                  <a:lnTo>
                    <a:pt x="220" y="542"/>
                  </a:lnTo>
                  <a:lnTo>
                    <a:pt x="218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18" y="540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37"/>
                  </a:lnTo>
                  <a:lnTo>
                    <a:pt x="213" y="537"/>
                  </a:lnTo>
                  <a:lnTo>
                    <a:pt x="213" y="534"/>
                  </a:lnTo>
                  <a:lnTo>
                    <a:pt x="213" y="534"/>
                  </a:lnTo>
                  <a:lnTo>
                    <a:pt x="215" y="534"/>
                  </a:lnTo>
                  <a:lnTo>
                    <a:pt x="218" y="534"/>
                  </a:lnTo>
                  <a:lnTo>
                    <a:pt x="218" y="534"/>
                  </a:lnTo>
                  <a:lnTo>
                    <a:pt x="215" y="532"/>
                  </a:lnTo>
                  <a:lnTo>
                    <a:pt x="215" y="529"/>
                  </a:lnTo>
                  <a:lnTo>
                    <a:pt x="213" y="529"/>
                  </a:lnTo>
                  <a:lnTo>
                    <a:pt x="210" y="529"/>
                  </a:lnTo>
                  <a:lnTo>
                    <a:pt x="210" y="532"/>
                  </a:lnTo>
                  <a:lnTo>
                    <a:pt x="208" y="532"/>
                  </a:lnTo>
                  <a:lnTo>
                    <a:pt x="208" y="532"/>
                  </a:lnTo>
                  <a:lnTo>
                    <a:pt x="205" y="532"/>
                  </a:lnTo>
                  <a:lnTo>
                    <a:pt x="205" y="532"/>
                  </a:lnTo>
                  <a:lnTo>
                    <a:pt x="202" y="532"/>
                  </a:lnTo>
                  <a:lnTo>
                    <a:pt x="202" y="532"/>
                  </a:lnTo>
                  <a:lnTo>
                    <a:pt x="202" y="534"/>
                  </a:lnTo>
                  <a:lnTo>
                    <a:pt x="200" y="532"/>
                  </a:lnTo>
                  <a:lnTo>
                    <a:pt x="200" y="532"/>
                  </a:lnTo>
                  <a:lnTo>
                    <a:pt x="200" y="529"/>
                  </a:lnTo>
                  <a:lnTo>
                    <a:pt x="200" y="529"/>
                  </a:lnTo>
                  <a:lnTo>
                    <a:pt x="197" y="529"/>
                  </a:lnTo>
                  <a:lnTo>
                    <a:pt x="197" y="529"/>
                  </a:lnTo>
                  <a:lnTo>
                    <a:pt x="195" y="529"/>
                  </a:lnTo>
                  <a:lnTo>
                    <a:pt x="192" y="529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7" y="527"/>
                  </a:lnTo>
                  <a:lnTo>
                    <a:pt x="187" y="527"/>
                  </a:lnTo>
                  <a:lnTo>
                    <a:pt x="184" y="524"/>
                  </a:lnTo>
                  <a:lnTo>
                    <a:pt x="184" y="524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82" y="527"/>
                  </a:lnTo>
                  <a:lnTo>
                    <a:pt x="179" y="527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6" y="529"/>
                  </a:lnTo>
                  <a:lnTo>
                    <a:pt x="174" y="529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4"/>
                  </a:lnTo>
                  <a:lnTo>
                    <a:pt x="169" y="524"/>
                  </a:lnTo>
                  <a:lnTo>
                    <a:pt x="169" y="521"/>
                  </a:lnTo>
                  <a:lnTo>
                    <a:pt x="169" y="521"/>
                  </a:lnTo>
                  <a:lnTo>
                    <a:pt x="166" y="521"/>
                  </a:lnTo>
                  <a:lnTo>
                    <a:pt x="166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9"/>
                  </a:lnTo>
                  <a:lnTo>
                    <a:pt x="164" y="532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9" y="542"/>
                  </a:lnTo>
                  <a:lnTo>
                    <a:pt x="166" y="542"/>
                  </a:lnTo>
                  <a:lnTo>
                    <a:pt x="166" y="545"/>
                  </a:lnTo>
                  <a:lnTo>
                    <a:pt x="169" y="547"/>
                  </a:lnTo>
                  <a:lnTo>
                    <a:pt x="169" y="547"/>
                  </a:lnTo>
                  <a:lnTo>
                    <a:pt x="166" y="547"/>
                  </a:lnTo>
                  <a:lnTo>
                    <a:pt x="166" y="550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5"/>
                  </a:lnTo>
                  <a:lnTo>
                    <a:pt x="164" y="555"/>
                  </a:lnTo>
                  <a:lnTo>
                    <a:pt x="164" y="558"/>
                  </a:lnTo>
                  <a:lnTo>
                    <a:pt x="164" y="558"/>
                  </a:lnTo>
                  <a:lnTo>
                    <a:pt x="161" y="558"/>
                  </a:lnTo>
                  <a:lnTo>
                    <a:pt x="161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60"/>
                  </a:lnTo>
                  <a:lnTo>
                    <a:pt x="158" y="563"/>
                  </a:lnTo>
                  <a:lnTo>
                    <a:pt x="156" y="563"/>
                  </a:lnTo>
                  <a:lnTo>
                    <a:pt x="156" y="565"/>
                  </a:lnTo>
                  <a:lnTo>
                    <a:pt x="153" y="565"/>
                  </a:lnTo>
                  <a:lnTo>
                    <a:pt x="153" y="568"/>
                  </a:lnTo>
                  <a:lnTo>
                    <a:pt x="153" y="568"/>
                  </a:lnTo>
                  <a:lnTo>
                    <a:pt x="151" y="571"/>
                  </a:lnTo>
                  <a:lnTo>
                    <a:pt x="145" y="573"/>
                  </a:lnTo>
                  <a:lnTo>
                    <a:pt x="143" y="573"/>
                  </a:lnTo>
                  <a:lnTo>
                    <a:pt x="143" y="573"/>
                  </a:lnTo>
                  <a:lnTo>
                    <a:pt x="143" y="576"/>
                  </a:lnTo>
                  <a:lnTo>
                    <a:pt x="140" y="576"/>
                  </a:lnTo>
                  <a:lnTo>
                    <a:pt x="138" y="576"/>
                  </a:lnTo>
                  <a:lnTo>
                    <a:pt x="138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5"/>
                  </a:lnTo>
                  <a:lnTo>
                    <a:pt x="138" y="565"/>
                  </a:lnTo>
                  <a:lnTo>
                    <a:pt x="138" y="563"/>
                  </a:lnTo>
                  <a:lnTo>
                    <a:pt x="140" y="563"/>
                  </a:lnTo>
                  <a:lnTo>
                    <a:pt x="140" y="560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38" y="558"/>
                  </a:lnTo>
                  <a:lnTo>
                    <a:pt x="138" y="558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2" y="558"/>
                  </a:lnTo>
                  <a:lnTo>
                    <a:pt x="132" y="558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0" y="560"/>
                  </a:lnTo>
                  <a:lnTo>
                    <a:pt x="130" y="558"/>
                  </a:lnTo>
                  <a:lnTo>
                    <a:pt x="127" y="560"/>
                  </a:lnTo>
                  <a:lnTo>
                    <a:pt x="127" y="560"/>
                  </a:lnTo>
                  <a:lnTo>
                    <a:pt x="125" y="563"/>
                  </a:lnTo>
                  <a:lnTo>
                    <a:pt x="125" y="560"/>
                  </a:lnTo>
                  <a:lnTo>
                    <a:pt x="125" y="555"/>
                  </a:lnTo>
                  <a:lnTo>
                    <a:pt x="125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7" y="550"/>
                  </a:lnTo>
                  <a:lnTo>
                    <a:pt x="127" y="550"/>
                  </a:lnTo>
                  <a:lnTo>
                    <a:pt x="125" y="547"/>
                  </a:lnTo>
                  <a:lnTo>
                    <a:pt x="125" y="547"/>
                  </a:lnTo>
                  <a:lnTo>
                    <a:pt x="125" y="545"/>
                  </a:lnTo>
                  <a:lnTo>
                    <a:pt x="125" y="542"/>
                  </a:lnTo>
                  <a:lnTo>
                    <a:pt x="125" y="542"/>
                  </a:lnTo>
                  <a:lnTo>
                    <a:pt x="122" y="545"/>
                  </a:lnTo>
                  <a:lnTo>
                    <a:pt x="122" y="542"/>
                  </a:lnTo>
                  <a:lnTo>
                    <a:pt x="122" y="542"/>
                  </a:lnTo>
                  <a:lnTo>
                    <a:pt x="120" y="540"/>
                  </a:lnTo>
                  <a:lnTo>
                    <a:pt x="120" y="540"/>
                  </a:lnTo>
                  <a:lnTo>
                    <a:pt x="120" y="537"/>
                  </a:lnTo>
                  <a:lnTo>
                    <a:pt x="117" y="537"/>
                  </a:lnTo>
                  <a:lnTo>
                    <a:pt x="117" y="540"/>
                  </a:lnTo>
                  <a:lnTo>
                    <a:pt x="114" y="540"/>
                  </a:lnTo>
                  <a:lnTo>
                    <a:pt x="114" y="540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2" y="534"/>
                  </a:lnTo>
                  <a:lnTo>
                    <a:pt x="112" y="534"/>
                  </a:lnTo>
                  <a:lnTo>
                    <a:pt x="112" y="532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7"/>
                  </a:lnTo>
                  <a:lnTo>
                    <a:pt x="112" y="527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12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7" y="532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9"/>
                  </a:lnTo>
                  <a:lnTo>
                    <a:pt x="101" y="529"/>
                  </a:lnTo>
                  <a:lnTo>
                    <a:pt x="99" y="529"/>
                  </a:lnTo>
                  <a:lnTo>
                    <a:pt x="96" y="529"/>
                  </a:lnTo>
                  <a:lnTo>
                    <a:pt x="96" y="527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1"/>
                  </a:lnTo>
                  <a:lnTo>
                    <a:pt x="96" y="521"/>
                  </a:lnTo>
                  <a:lnTo>
                    <a:pt x="94" y="521"/>
                  </a:lnTo>
                  <a:lnTo>
                    <a:pt x="94" y="521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3" y="529"/>
                  </a:lnTo>
                  <a:lnTo>
                    <a:pt x="83" y="529"/>
                  </a:lnTo>
                  <a:lnTo>
                    <a:pt x="83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81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6" y="527"/>
                  </a:lnTo>
                  <a:lnTo>
                    <a:pt x="76" y="524"/>
                  </a:lnTo>
                  <a:lnTo>
                    <a:pt x="76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3" y="521"/>
                  </a:lnTo>
                  <a:lnTo>
                    <a:pt x="73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81" y="519"/>
                  </a:lnTo>
                  <a:lnTo>
                    <a:pt x="81" y="516"/>
                  </a:lnTo>
                  <a:lnTo>
                    <a:pt x="83" y="519"/>
                  </a:lnTo>
                  <a:lnTo>
                    <a:pt x="83" y="519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9"/>
                  </a:lnTo>
                  <a:lnTo>
                    <a:pt x="86" y="516"/>
                  </a:lnTo>
                  <a:lnTo>
                    <a:pt x="88" y="516"/>
                  </a:lnTo>
                  <a:lnTo>
                    <a:pt x="88" y="514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4" y="508"/>
                  </a:lnTo>
                  <a:lnTo>
                    <a:pt x="94" y="508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9" y="506"/>
                  </a:lnTo>
                  <a:lnTo>
                    <a:pt x="99" y="506"/>
                  </a:lnTo>
                  <a:lnTo>
                    <a:pt x="101" y="506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9" y="508"/>
                  </a:lnTo>
                  <a:lnTo>
                    <a:pt x="109" y="508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14" y="506"/>
                  </a:lnTo>
                  <a:lnTo>
                    <a:pt x="114" y="506"/>
                  </a:lnTo>
                  <a:lnTo>
                    <a:pt x="117" y="503"/>
                  </a:lnTo>
                  <a:lnTo>
                    <a:pt x="117" y="503"/>
                  </a:lnTo>
                  <a:lnTo>
                    <a:pt x="120" y="503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3"/>
                  </a:lnTo>
                  <a:lnTo>
                    <a:pt x="122" y="503"/>
                  </a:lnTo>
                  <a:lnTo>
                    <a:pt x="122" y="506"/>
                  </a:lnTo>
                  <a:lnTo>
                    <a:pt x="122" y="506"/>
                  </a:lnTo>
                  <a:lnTo>
                    <a:pt x="122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7" y="506"/>
                  </a:lnTo>
                  <a:lnTo>
                    <a:pt x="127" y="506"/>
                  </a:lnTo>
                  <a:lnTo>
                    <a:pt x="130" y="506"/>
                  </a:lnTo>
                  <a:lnTo>
                    <a:pt x="130" y="506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498"/>
                  </a:lnTo>
                  <a:lnTo>
                    <a:pt x="127" y="495"/>
                  </a:lnTo>
                  <a:lnTo>
                    <a:pt x="127" y="493"/>
                  </a:lnTo>
                  <a:lnTo>
                    <a:pt x="127" y="490"/>
                  </a:lnTo>
                  <a:lnTo>
                    <a:pt x="127" y="490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5" y="485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0"/>
                  </a:lnTo>
                  <a:lnTo>
                    <a:pt x="130" y="477"/>
                  </a:lnTo>
                  <a:lnTo>
                    <a:pt x="127" y="477"/>
                  </a:lnTo>
                  <a:lnTo>
                    <a:pt x="125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7" y="472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5" y="467"/>
                  </a:lnTo>
                  <a:lnTo>
                    <a:pt x="127" y="467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5" y="459"/>
                  </a:lnTo>
                  <a:lnTo>
                    <a:pt x="125" y="457"/>
                  </a:lnTo>
                  <a:lnTo>
                    <a:pt x="125" y="457"/>
                  </a:lnTo>
                  <a:lnTo>
                    <a:pt x="125" y="454"/>
                  </a:lnTo>
                  <a:lnTo>
                    <a:pt x="125" y="454"/>
                  </a:lnTo>
                  <a:lnTo>
                    <a:pt x="127" y="454"/>
                  </a:lnTo>
                  <a:lnTo>
                    <a:pt x="127" y="451"/>
                  </a:lnTo>
                  <a:lnTo>
                    <a:pt x="127" y="451"/>
                  </a:lnTo>
                  <a:lnTo>
                    <a:pt x="127" y="449"/>
                  </a:lnTo>
                  <a:lnTo>
                    <a:pt x="130" y="446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38"/>
                  </a:lnTo>
                  <a:lnTo>
                    <a:pt x="130" y="438"/>
                  </a:lnTo>
                  <a:lnTo>
                    <a:pt x="130" y="436"/>
                  </a:lnTo>
                  <a:lnTo>
                    <a:pt x="130" y="433"/>
                  </a:lnTo>
                  <a:lnTo>
                    <a:pt x="130" y="431"/>
                  </a:lnTo>
                  <a:lnTo>
                    <a:pt x="130" y="428"/>
                  </a:lnTo>
                  <a:lnTo>
                    <a:pt x="127" y="425"/>
                  </a:lnTo>
                  <a:lnTo>
                    <a:pt x="127" y="423"/>
                  </a:lnTo>
                  <a:lnTo>
                    <a:pt x="125" y="420"/>
                  </a:lnTo>
                  <a:lnTo>
                    <a:pt x="125" y="418"/>
                  </a:lnTo>
                  <a:lnTo>
                    <a:pt x="125" y="418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2" y="410"/>
                  </a:lnTo>
                  <a:lnTo>
                    <a:pt x="122" y="410"/>
                  </a:lnTo>
                  <a:lnTo>
                    <a:pt x="122" y="407"/>
                  </a:lnTo>
                  <a:lnTo>
                    <a:pt x="122" y="407"/>
                  </a:lnTo>
                  <a:lnTo>
                    <a:pt x="122" y="405"/>
                  </a:lnTo>
                  <a:lnTo>
                    <a:pt x="122" y="405"/>
                  </a:lnTo>
                  <a:lnTo>
                    <a:pt x="122" y="402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20" y="397"/>
                  </a:lnTo>
                  <a:lnTo>
                    <a:pt x="117" y="394"/>
                  </a:lnTo>
                  <a:lnTo>
                    <a:pt x="117" y="394"/>
                  </a:lnTo>
                  <a:lnTo>
                    <a:pt x="117" y="392"/>
                  </a:lnTo>
                  <a:lnTo>
                    <a:pt x="117" y="392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4" y="389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1"/>
                  </a:lnTo>
                  <a:lnTo>
                    <a:pt x="114" y="381"/>
                  </a:lnTo>
                  <a:lnTo>
                    <a:pt x="114" y="381"/>
                  </a:lnTo>
                  <a:lnTo>
                    <a:pt x="114" y="379"/>
                  </a:lnTo>
                  <a:lnTo>
                    <a:pt x="117" y="379"/>
                  </a:lnTo>
                  <a:lnTo>
                    <a:pt x="117" y="376"/>
                  </a:lnTo>
                  <a:lnTo>
                    <a:pt x="117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17" y="374"/>
                  </a:lnTo>
                  <a:lnTo>
                    <a:pt x="117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17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5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8"/>
                  </a:lnTo>
                  <a:lnTo>
                    <a:pt x="130" y="368"/>
                  </a:lnTo>
                  <a:lnTo>
                    <a:pt x="130" y="368"/>
                  </a:lnTo>
                  <a:lnTo>
                    <a:pt x="132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8" y="366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5" y="358"/>
                  </a:lnTo>
                  <a:lnTo>
                    <a:pt x="148" y="358"/>
                  </a:lnTo>
                  <a:lnTo>
                    <a:pt x="151" y="358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48" y="355"/>
                  </a:lnTo>
                  <a:lnTo>
                    <a:pt x="148" y="355"/>
                  </a:lnTo>
                  <a:lnTo>
                    <a:pt x="148" y="353"/>
                  </a:lnTo>
                  <a:lnTo>
                    <a:pt x="151" y="353"/>
                  </a:lnTo>
                  <a:lnTo>
                    <a:pt x="151" y="350"/>
                  </a:lnTo>
                  <a:lnTo>
                    <a:pt x="151" y="348"/>
                  </a:lnTo>
                  <a:lnTo>
                    <a:pt x="151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5" y="335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45" y="327"/>
                  </a:lnTo>
                  <a:lnTo>
                    <a:pt x="145" y="324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9"/>
                  </a:lnTo>
                  <a:lnTo>
                    <a:pt x="148" y="329"/>
                  </a:lnTo>
                  <a:lnTo>
                    <a:pt x="151" y="329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3" y="329"/>
                  </a:lnTo>
                  <a:lnTo>
                    <a:pt x="153" y="329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5"/>
                  </a:lnTo>
                  <a:lnTo>
                    <a:pt x="156" y="335"/>
                  </a:lnTo>
                  <a:lnTo>
                    <a:pt x="156" y="335"/>
                  </a:lnTo>
                  <a:lnTo>
                    <a:pt x="156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29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9"/>
                  </a:lnTo>
                  <a:lnTo>
                    <a:pt x="164" y="327"/>
                  </a:lnTo>
                  <a:lnTo>
                    <a:pt x="161" y="327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4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6" y="332"/>
                  </a:lnTo>
                  <a:lnTo>
                    <a:pt x="166" y="329"/>
                  </a:lnTo>
                  <a:lnTo>
                    <a:pt x="166" y="329"/>
                  </a:lnTo>
                  <a:lnTo>
                    <a:pt x="169" y="329"/>
                  </a:lnTo>
                  <a:lnTo>
                    <a:pt x="169" y="329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6" y="327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4" y="317"/>
                  </a:lnTo>
                  <a:lnTo>
                    <a:pt x="161" y="317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1"/>
                  </a:lnTo>
                  <a:lnTo>
                    <a:pt x="161" y="311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1" y="311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66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6" y="306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6"/>
                  </a:lnTo>
                  <a:lnTo>
                    <a:pt x="166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3"/>
                  </a:lnTo>
                  <a:lnTo>
                    <a:pt x="166" y="293"/>
                  </a:lnTo>
                  <a:lnTo>
                    <a:pt x="164" y="291"/>
                  </a:lnTo>
                  <a:lnTo>
                    <a:pt x="164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58" y="280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6" y="275"/>
                  </a:lnTo>
                  <a:lnTo>
                    <a:pt x="156" y="272"/>
                  </a:lnTo>
                  <a:lnTo>
                    <a:pt x="156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5"/>
                  </a:lnTo>
                  <a:lnTo>
                    <a:pt x="145" y="265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5" y="262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3" y="259"/>
                  </a:lnTo>
                  <a:lnTo>
                    <a:pt x="140" y="262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3" y="259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40" y="259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49"/>
                  </a:lnTo>
                  <a:lnTo>
                    <a:pt x="143" y="249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0" y="231"/>
                  </a:lnTo>
                  <a:lnTo>
                    <a:pt x="127" y="231"/>
                  </a:lnTo>
                  <a:lnTo>
                    <a:pt x="127" y="231"/>
                  </a:lnTo>
                  <a:lnTo>
                    <a:pt x="127" y="228"/>
                  </a:lnTo>
                  <a:lnTo>
                    <a:pt x="130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2" y="226"/>
                  </a:lnTo>
                  <a:lnTo>
                    <a:pt x="132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27" y="215"/>
                  </a:lnTo>
                  <a:lnTo>
                    <a:pt x="125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30" y="205"/>
                  </a:lnTo>
                  <a:lnTo>
                    <a:pt x="130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5" y="197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5" y="189"/>
                  </a:lnTo>
                  <a:lnTo>
                    <a:pt x="127" y="187"/>
                  </a:lnTo>
                  <a:lnTo>
                    <a:pt x="127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20" y="179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2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09" y="189"/>
                  </a:lnTo>
                  <a:lnTo>
                    <a:pt x="109" y="189"/>
                  </a:lnTo>
                  <a:lnTo>
                    <a:pt x="107" y="189"/>
                  </a:lnTo>
                  <a:lnTo>
                    <a:pt x="104" y="187"/>
                  </a:lnTo>
                  <a:lnTo>
                    <a:pt x="107" y="187"/>
                  </a:lnTo>
                  <a:lnTo>
                    <a:pt x="107" y="184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9" y="174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6" y="171"/>
                  </a:lnTo>
                  <a:lnTo>
                    <a:pt x="96" y="169"/>
                  </a:lnTo>
                  <a:lnTo>
                    <a:pt x="99" y="169"/>
                  </a:lnTo>
                  <a:lnTo>
                    <a:pt x="99" y="169"/>
                  </a:lnTo>
                  <a:lnTo>
                    <a:pt x="101" y="169"/>
                  </a:lnTo>
                  <a:lnTo>
                    <a:pt x="99" y="166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1"/>
                  </a:lnTo>
                  <a:lnTo>
                    <a:pt x="99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4" y="151"/>
                  </a:lnTo>
                  <a:lnTo>
                    <a:pt x="94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4" y="145"/>
                  </a:lnTo>
                  <a:lnTo>
                    <a:pt x="91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51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3" y="153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3" y="148"/>
                  </a:lnTo>
                  <a:lnTo>
                    <a:pt x="83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6" y="153"/>
                  </a:lnTo>
                  <a:lnTo>
                    <a:pt x="73" y="153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38"/>
                  </a:lnTo>
                  <a:lnTo>
                    <a:pt x="76" y="135"/>
                  </a:lnTo>
                  <a:lnTo>
                    <a:pt x="73" y="138"/>
                  </a:lnTo>
                  <a:lnTo>
                    <a:pt x="70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5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5" y="143"/>
                  </a:lnTo>
                  <a:lnTo>
                    <a:pt x="65" y="143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8"/>
                  </a:lnTo>
                  <a:lnTo>
                    <a:pt x="55" y="138"/>
                  </a:lnTo>
                  <a:lnTo>
                    <a:pt x="55" y="140"/>
                  </a:lnTo>
                  <a:lnTo>
                    <a:pt x="55" y="140"/>
                  </a:lnTo>
                  <a:lnTo>
                    <a:pt x="52" y="13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0" y="135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5"/>
                  </a:lnTo>
                  <a:lnTo>
                    <a:pt x="39" y="145"/>
                  </a:lnTo>
                  <a:lnTo>
                    <a:pt x="37" y="145"/>
                  </a:lnTo>
                  <a:lnTo>
                    <a:pt x="37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4" y="145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7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61"/>
                  </a:lnTo>
                  <a:lnTo>
                    <a:pt x="47" y="161"/>
                  </a:lnTo>
                  <a:lnTo>
                    <a:pt x="44" y="161"/>
                  </a:lnTo>
                  <a:lnTo>
                    <a:pt x="44" y="158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39" y="161"/>
                  </a:lnTo>
                  <a:lnTo>
                    <a:pt x="39" y="158"/>
                  </a:lnTo>
                  <a:lnTo>
                    <a:pt x="37" y="161"/>
                  </a:lnTo>
                  <a:lnTo>
                    <a:pt x="37" y="161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2" y="169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6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6"/>
                  </a:lnTo>
                  <a:lnTo>
                    <a:pt x="13" y="164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3" y="156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9" y="148"/>
                  </a:lnTo>
                  <a:lnTo>
                    <a:pt x="19" y="145"/>
                  </a:lnTo>
                  <a:lnTo>
                    <a:pt x="19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1" y="130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2" name="Freeform 132"/>
            <p:cNvSpPr>
              <a:spLocks/>
            </p:cNvSpPr>
            <p:nvPr/>
          </p:nvSpPr>
          <p:spPr bwMode="auto">
            <a:xfrm>
              <a:off x="1100" y="3126"/>
              <a:ext cx="544" cy="576"/>
            </a:xfrm>
            <a:custGeom>
              <a:avLst/>
              <a:gdLst>
                <a:gd name="T0" fmla="*/ 29 w 544"/>
                <a:gd name="T1" fmla="*/ 73 h 576"/>
                <a:gd name="T2" fmla="*/ 65 w 544"/>
                <a:gd name="T3" fmla="*/ 57 h 576"/>
                <a:gd name="T4" fmla="*/ 88 w 544"/>
                <a:gd name="T5" fmla="*/ 29 h 576"/>
                <a:gd name="T6" fmla="*/ 122 w 544"/>
                <a:gd name="T7" fmla="*/ 8 h 576"/>
                <a:gd name="T8" fmla="*/ 156 w 544"/>
                <a:gd name="T9" fmla="*/ 24 h 576"/>
                <a:gd name="T10" fmla="*/ 174 w 544"/>
                <a:gd name="T11" fmla="*/ 37 h 576"/>
                <a:gd name="T12" fmla="*/ 195 w 544"/>
                <a:gd name="T13" fmla="*/ 62 h 576"/>
                <a:gd name="T14" fmla="*/ 200 w 544"/>
                <a:gd name="T15" fmla="*/ 34 h 576"/>
                <a:gd name="T16" fmla="*/ 233 w 544"/>
                <a:gd name="T17" fmla="*/ 39 h 576"/>
                <a:gd name="T18" fmla="*/ 257 w 544"/>
                <a:gd name="T19" fmla="*/ 44 h 576"/>
                <a:gd name="T20" fmla="*/ 264 w 544"/>
                <a:gd name="T21" fmla="*/ 11 h 576"/>
                <a:gd name="T22" fmla="*/ 285 w 544"/>
                <a:gd name="T23" fmla="*/ 34 h 576"/>
                <a:gd name="T24" fmla="*/ 337 w 544"/>
                <a:gd name="T25" fmla="*/ 34 h 576"/>
                <a:gd name="T26" fmla="*/ 345 w 544"/>
                <a:gd name="T27" fmla="*/ 42 h 576"/>
                <a:gd name="T28" fmla="*/ 360 w 544"/>
                <a:gd name="T29" fmla="*/ 68 h 576"/>
                <a:gd name="T30" fmla="*/ 384 w 544"/>
                <a:gd name="T31" fmla="*/ 99 h 576"/>
                <a:gd name="T32" fmla="*/ 386 w 544"/>
                <a:gd name="T33" fmla="*/ 140 h 576"/>
                <a:gd name="T34" fmla="*/ 409 w 544"/>
                <a:gd name="T35" fmla="*/ 182 h 576"/>
                <a:gd name="T36" fmla="*/ 441 w 544"/>
                <a:gd name="T37" fmla="*/ 213 h 576"/>
                <a:gd name="T38" fmla="*/ 469 w 544"/>
                <a:gd name="T39" fmla="*/ 249 h 576"/>
                <a:gd name="T40" fmla="*/ 516 w 544"/>
                <a:gd name="T41" fmla="*/ 280 h 576"/>
                <a:gd name="T42" fmla="*/ 541 w 544"/>
                <a:gd name="T43" fmla="*/ 322 h 576"/>
                <a:gd name="T44" fmla="*/ 534 w 544"/>
                <a:gd name="T45" fmla="*/ 355 h 576"/>
                <a:gd name="T46" fmla="*/ 500 w 544"/>
                <a:gd name="T47" fmla="*/ 358 h 576"/>
                <a:gd name="T48" fmla="*/ 430 w 544"/>
                <a:gd name="T49" fmla="*/ 423 h 576"/>
                <a:gd name="T50" fmla="*/ 446 w 544"/>
                <a:gd name="T51" fmla="*/ 485 h 576"/>
                <a:gd name="T52" fmla="*/ 456 w 544"/>
                <a:gd name="T53" fmla="*/ 524 h 576"/>
                <a:gd name="T54" fmla="*/ 425 w 544"/>
                <a:gd name="T55" fmla="*/ 524 h 576"/>
                <a:gd name="T56" fmla="*/ 391 w 544"/>
                <a:gd name="T57" fmla="*/ 511 h 576"/>
                <a:gd name="T58" fmla="*/ 360 w 544"/>
                <a:gd name="T59" fmla="*/ 516 h 576"/>
                <a:gd name="T60" fmla="*/ 296 w 544"/>
                <a:gd name="T61" fmla="*/ 521 h 576"/>
                <a:gd name="T62" fmla="*/ 259 w 544"/>
                <a:gd name="T63" fmla="*/ 550 h 576"/>
                <a:gd name="T64" fmla="*/ 218 w 544"/>
                <a:gd name="T65" fmla="*/ 540 h 576"/>
                <a:gd name="T66" fmla="*/ 179 w 544"/>
                <a:gd name="T67" fmla="*/ 529 h 576"/>
                <a:gd name="T68" fmla="*/ 169 w 544"/>
                <a:gd name="T69" fmla="*/ 547 h 576"/>
                <a:gd name="T70" fmla="*/ 140 w 544"/>
                <a:gd name="T71" fmla="*/ 558 h 576"/>
                <a:gd name="T72" fmla="*/ 117 w 544"/>
                <a:gd name="T73" fmla="*/ 537 h 576"/>
                <a:gd name="T74" fmla="*/ 88 w 544"/>
                <a:gd name="T75" fmla="*/ 521 h 576"/>
                <a:gd name="T76" fmla="*/ 78 w 544"/>
                <a:gd name="T77" fmla="*/ 516 h 576"/>
                <a:gd name="T78" fmla="*/ 120 w 544"/>
                <a:gd name="T79" fmla="*/ 506 h 576"/>
                <a:gd name="T80" fmla="*/ 122 w 544"/>
                <a:gd name="T81" fmla="*/ 485 h 576"/>
                <a:gd name="T82" fmla="*/ 127 w 544"/>
                <a:gd name="T83" fmla="*/ 462 h 576"/>
                <a:gd name="T84" fmla="*/ 122 w 544"/>
                <a:gd name="T85" fmla="*/ 402 h 576"/>
                <a:gd name="T86" fmla="*/ 127 w 544"/>
                <a:gd name="T87" fmla="*/ 368 h 576"/>
                <a:gd name="T88" fmla="*/ 148 w 544"/>
                <a:gd name="T89" fmla="*/ 345 h 576"/>
                <a:gd name="T90" fmla="*/ 145 w 544"/>
                <a:gd name="T91" fmla="*/ 327 h 576"/>
                <a:gd name="T92" fmla="*/ 161 w 544"/>
                <a:gd name="T93" fmla="*/ 332 h 576"/>
                <a:gd name="T94" fmla="*/ 161 w 544"/>
                <a:gd name="T95" fmla="*/ 317 h 576"/>
                <a:gd name="T96" fmla="*/ 166 w 544"/>
                <a:gd name="T97" fmla="*/ 298 h 576"/>
                <a:gd name="T98" fmla="*/ 158 w 544"/>
                <a:gd name="T99" fmla="*/ 278 h 576"/>
                <a:gd name="T100" fmla="*/ 143 w 544"/>
                <a:gd name="T101" fmla="*/ 265 h 576"/>
                <a:gd name="T102" fmla="*/ 140 w 544"/>
                <a:gd name="T103" fmla="*/ 252 h 576"/>
                <a:gd name="T104" fmla="*/ 130 w 544"/>
                <a:gd name="T105" fmla="*/ 239 h 576"/>
                <a:gd name="T106" fmla="*/ 130 w 544"/>
                <a:gd name="T107" fmla="*/ 218 h 576"/>
                <a:gd name="T108" fmla="*/ 127 w 544"/>
                <a:gd name="T109" fmla="*/ 187 h 576"/>
                <a:gd name="T110" fmla="*/ 104 w 544"/>
                <a:gd name="T111" fmla="*/ 187 h 576"/>
                <a:gd name="T112" fmla="*/ 96 w 544"/>
                <a:gd name="T113" fmla="*/ 158 h 576"/>
                <a:gd name="T114" fmla="*/ 73 w 544"/>
                <a:gd name="T115" fmla="*/ 153 h 576"/>
                <a:gd name="T116" fmla="*/ 60 w 544"/>
                <a:gd name="T117" fmla="*/ 135 h 576"/>
                <a:gd name="T118" fmla="*/ 47 w 544"/>
                <a:gd name="T119" fmla="*/ 145 h 576"/>
                <a:gd name="T120" fmla="*/ 34 w 544"/>
                <a:gd name="T121" fmla="*/ 166 h 576"/>
                <a:gd name="T122" fmla="*/ 16 w 544"/>
                <a:gd name="T123" fmla="*/ 138 h 576"/>
                <a:gd name="T124" fmla="*/ 6 w 544"/>
                <a:gd name="T125" fmla="*/ 107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576">
                  <a:moveTo>
                    <a:pt x="0" y="91"/>
                  </a:moveTo>
                  <a:lnTo>
                    <a:pt x="0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1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3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4" y="75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8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7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8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3"/>
                  </a:lnTo>
                  <a:lnTo>
                    <a:pt x="63" y="73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2"/>
                  </a:lnTo>
                  <a:lnTo>
                    <a:pt x="60" y="60"/>
                  </a:lnTo>
                  <a:lnTo>
                    <a:pt x="57" y="57"/>
                  </a:lnTo>
                  <a:lnTo>
                    <a:pt x="60" y="55"/>
                  </a:lnTo>
                  <a:lnTo>
                    <a:pt x="60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6" y="47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4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4" y="21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0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5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3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3" y="13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21"/>
                  </a:lnTo>
                  <a:lnTo>
                    <a:pt x="156" y="21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1" y="31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71" y="34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9" y="37"/>
                  </a:lnTo>
                  <a:lnTo>
                    <a:pt x="169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4" y="39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9"/>
                  </a:lnTo>
                  <a:lnTo>
                    <a:pt x="176" y="39"/>
                  </a:lnTo>
                  <a:lnTo>
                    <a:pt x="179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2" y="52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2" y="57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92" y="60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7" y="62"/>
                  </a:lnTo>
                  <a:lnTo>
                    <a:pt x="197" y="60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197" y="55"/>
                  </a:lnTo>
                  <a:lnTo>
                    <a:pt x="197" y="55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5" y="55"/>
                  </a:lnTo>
                  <a:lnTo>
                    <a:pt x="205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10" y="55"/>
                  </a:lnTo>
                  <a:lnTo>
                    <a:pt x="210" y="55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08" y="52"/>
                  </a:lnTo>
                  <a:lnTo>
                    <a:pt x="208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7"/>
                  </a:lnTo>
                  <a:lnTo>
                    <a:pt x="202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4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7" y="37"/>
                  </a:lnTo>
                  <a:lnTo>
                    <a:pt x="200" y="37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5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3" y="39"/>
                  </a:lnTo>
                  <a:lnTo>
                    <a:pt x="236" y="39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4" y="39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9"/>
                  </a:lnTo>
                  <a:lnTo>
                    <a:pt x="244" y="49"/>
                  </a:lnTo>
                  <a:lnTo>
                    <a:pt x="246" y="49"/>
                  </a:lnTo>
                  <a:lnTo>
                    <a:pt x="246" y="49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9" y="52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52" y="49"/>
                  </a:lnTo>
                  <a:lnTo>
                    <a:pt x="252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7"/>
                  </a:lnTo>
                  <a:lnTo>
                    <a:pt x="257" y="37"/>
                  </a:lnTo>
                  <a:lnTo>
                    <a:pt x="257" y="34"/>
                  </a:lnTo>
                  <a:lnTo>
                    <a:pt x="257" y="34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29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4"/>
                  </a:lnTo>
                  <a:lnTo>
                    <a:pt x="254" y="24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7" y="16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8"/>
                  </a:lnTo>
                  <a:lnTo>
                    <a:pt x="264" y="8"/>
                  </a:lnTo>
                  <a:lnTo>
                    <a:pt x="267" y="8"/>
                  </a:lnTo>
                  <a:lnTo>
                    <a:pt x="272" y="8"/>
                  </a:lnTo>
                  <a:lnTo>
                    <a:pt x="272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6"/>
                  </a:lnTo>
                  <a:lnTo>
                    <a:pt x="275" y="16"/>
                  </a:lnTo>
                  <a:lnTo>
                    <a:pt x="275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5" y="31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31"/>
                  </a:lnTo>
                  <a:lnTo>
                    <a:pt x="290" y="29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8" y="31"/>
                  </a:lnTo>
                  <a:lnTo>
                    <a:pt x="301" y="31"/>
                  </a:lnTo>
                  <a:lnTo>
                    <a:pt x="303" y="31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6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4" y="29"/>
                  </a:lnTo>
                  <a:lnTo>
                    <a:pt x="327" y="26"/>
                  </a:lnTo>
                  <a:lnTo>
                    <a:pt x="327" y="26"/>
                  </a:lnTo>
                  <a:lnTo>
                    <a:pt x="329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2" y="29"/>
                  </a:lnTo>
                  <a:lnTo>
                    <a:pt x="332" y="29"/>
                  </a:lnTo>
                  <a:lnTo>
                    <a:pt x="334" y="29"/>
                  </a:lnTo>
                  <a:lnTo>
                    <a:pt x="334" y="31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9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2" y="39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50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53" y="44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5" y="52"/>
                  </a:lnTo>
                  <a:lnTo>
                    <a:pt x="355" y="52"/>
                  </a:lnTo>
                  <a:lnTo>
                    <a:pt x="353" y="52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7"/>
                  </a:lnTo>
                  <a:lnTo>
                    <a:pt x="353" y="57"/>
                  </a:lnTo>
                  <a:lnTo>
                    <a:pt x="353" y="60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5"/>
                  </a:lnTo>
                  <a:lnTo>
                    <a:pt x="358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3" y="70"/>
                  </a:lnTo>
                  <a:lnTo>
                    <a:pt x="363" y="70"/>
                  </a:lnTo>
                  <a:lnTo>
                    <a:pt x="363" y="73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8"/>
                  </a:lnTo>
                  <a:lnTo>
                    <a:pt x="368" y="91"/>
                  </a:lnTo>
                  <a:lnTo>
                    <a:pt x="368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8" y="94"/>
                  </a:lnTo>
                  <a:lnTo>
                    <a:pt x="378" y="94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9" y="101"/>
                  </a:lnTo>
                  <a:lnTo>
                    <a:pt x="389" y="99"/>
                  </a:lnTo>
                  <a:lnTo>
                    <a:pt x="391" y="99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7"/>
                  </a:lnTo>
                  <a:lnTo>
                    <a:pt x="391" y="107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4" y="112"/>
                  </a:lnTo>
                  <a:lnTo>
                    <a:pt x="394" y="112"/>
                  </a:lnTo>
                  <a:lnTo>
                    <a:pt x="397" y="112"/>
                  </a:lnTo>
                  <a:lnTo>
                    <a:pt x="399" y="112"/>
                  </a:lnTo>
                  <a:lnTo>
                    <a:pt x="399" y="114"/>
                  </a:lnTo>
                  <a:lnTo>
                    <a:pt x="399" y="114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397" y="119"/>
                  </a:lnTo>
                  <a:lnTo>
                    <a:pt x="397" y="122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1" y="127"/>
                  </a:lnTo>
                  <a:lnTo>
                    <a:pt x="391" y="127"/>
                  </a:lnTo>
                  <a:lnTo>
                    <a:pt x="391" y="130"/>
                  </a:lnTo>
                  <a:lnTo>
                    <a:pt x="391" y="132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89" y="138"/>
                  </a:lnTo>
                  <a:lnTo>
                    <a:pt x="386" y="138"/>
                  </a:lnTo>
                  <a:lnTo>
                    <a:pt x="386" y="140"/>
                  </a:lnTo>
                  <a:lnTo>
                    <a:pt x="384" y="140"/>
                  </a:lnTo>
                  <a:lnTo>
                    <a:pt x="384" y="140"/>
                  </a:lnTo>
                  <a:lnTo>
                    <a:pt x="384" y="143"/>
                  </a:lnTo>
                  <a:lnTo>
                    <a:pt x="384" y="143"/>
                  </a:lnTo>
                  <a:lnTo>
                    <a:pt x="384" y="145"/>
                  </a:lnTo>
                  <a:lnTo>
                    <a:pt x="384" y="145"/>
                  </a:lnTo>
                  <a:lnTo>
                    <a:pt x="386" y="145"/>
                  </a:lnTo>
                  <a:lnTo>
                    <a:pt x="386" y="145"/>
                  </a:lnTo>
                  <a:lnTo>
                    <a:pt x="386" y="148"/>
                  </a:lnTo>
                  <a:lnTo>
                    <a:pt x="389" y="151"/>
                  </a:lnTo>
                  <a:lnTo>
                    <a:pt x="389" y="151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4" y="153"/>
                  </a:lnTo>
                  <a:lnTo>
                    <a:pt x="394" y="153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8"/>
                  </a:lnTo>
                  <a:lnTo>
                    <a:pt x="397" y="161"/>
                  </a:lnTo>
                  <a:lnTo>
                    <a:pt x="397" y="161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9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9" y="166"/>
                  </a:lnTo>
                  <a:lnTo>
                    <a:pt x="399" y="166"/>
                  </a:lnTo>
                  <a:lnTo>
                    <a:pt x="402" y="164"/>
                  </a:lnTo>
                  <a:lnTo>
                    <a:pt x="402" y="166"/>
                  </a:lnTo>
                  <a:lnTo>
                    <a:pt x="402" y="169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2" y="174"/>
                  </a:lnTo>
                  <a:lnTo>
                    <a:pt x="402" y="174"/>
                  </a:lnTo>
                  <a:lnTo>
                    <a:pt x="402" y="177"/>
                  </a:lnTo>
                  <a:lnTo>
                    <a:pt x="404" y="177"/>
                  </a:lnTo>
                  <a:lnTo>
                    <a:pt x="404" y="179"/>
                  </a:lnTo>
                  <a:lnTo>
                    <a:pt x="407" y="182"/>
                  </a:lnTo>
                  <a:lnTo>
                    <a:pt x="407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92"/>
                  </a:lnTo>
                  <a:lnTo>
                    <a:pt x="412" y="192"/>
                  </a:lnTo>
                  <a:lnTo>
                    <a:pt x="412" y="192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2" y="197"/>
                  </a:lnTo>
                  <a:lnTo>
                    <a:pt x="412" y="197"/>
                  </a:lnTo>
                  <a:lnTo>
                    <a:pt x="412" y="200"/>
                  </a:lnTo>
                  <a:lnTo>
                    <a:pt x="415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2"/>
                  </a:lnTo>
                  <a:lnTo>
                    <a:pt x="420" y="202"/>
                  </a:lnTo>
                  <a:lnTo>
                    <a:pt x="422" y="202"/>
                  </a:lnTo>
                  <a:lnTo>
                    <a:pt x="422" y="205"/>
                  </a:lnTo>
                  <a:lnTo>
                    <a:pt x="422" y="205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5" y="210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8" y="213"/>
                  </a:lnTo>
                  <a:lnTo>
                    <a:pt x="428" y="213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5" y="215"/>
                  </a:lnTo>
                  <a:lnTo>
                    <a:pt x="438" y="215"/>
                  </a:lnTo>
                  <a:lnTo>
                    <a:pt x="435" y="215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41" y="213"/>
                  </a:lnTo>
                  <a:lnTo>
                    <a:pt x="443" y="215"/>
                  </a:lnTo>
                  <a:lnTo>
                    <a:pt x="443" y="215"/>
                  </a:lnTo>
                  <a:lnTo>
                    <a:pt x="446" y="215"/>
                  </a:lnTo>
                  <a:lnTo>
                    <a:pt x="448" y="218"/>
                  </a:lnTo>
                  <a:lnTo>
                    <a:pt x="448" y="218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3" y="221"/>
                  </a:lnTo>
                  <a:lnTo>
                    <a:pt x="453" y="221"/>
                  </a:lnTo>
                  <a:lnTo>
                    <a:pt x="453" y="223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4" y="236"/>
                  </a:lnTo>
                  <a:lnTo>
                    <a:pt x="464" y="236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4" y="239"/>
                  </a:lnTo>
                  <a:lnTo>
                    <a:pt x="464" y="239"/>
                  </a:lnTo>
                  <a:lnTo>
                    <a:pt x="464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6" y="244"/>
                  </a:lnTo>
                  <a:lnTo>
                    <a:pt x="469" y="244"/>
                  </a:lnTo>
                  <a:lnTo>
                    <a:pt x="469" y="247"/>
                  </a:lnTo>
                  <a:lnTo>
                    <a:pt x="469" y="247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72" y="252"/>
                  </a:lnTo>
                  <a:lnTo>
                    <a:pt x="474" y="252"/>
                  </a:lnTo>
                  <a:lnTo>
                    <a:pt x="474" y="254"/>
                  </a:lnTo>
                  <a:lnTo>
                    <a:pt x="477" y="254"/>
                  </a:lnTo>
                  <a:lnTo>
                    <a:pt x="479" y="254"/>
                  </a:lnTo>
                  <a:lnTo>
                    <a:pt x="479" y="252"/>
                  </a:lnTo>
                  <a:lnTo>
                    <a:pt x="482" y="252"/>
                  </a:lnTo>
                  <a:lnTo>
                    <a:pt x="482" y="254"/>
                  </a:lnTo>
                  <a:lnTo>
                    <a:pt x="485" y="257"/>
                  </a:lnTo>
                  <a:lnTo>
                    <a:pt x="487" y="257"/>
                  </a:lnTo>
                  <a:lnTo>
                    <a:pt x="490" y="259"/>
                  </a:lnTo>
                  <a:lnTo>
                    <a:pt x="490" y="259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2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70"/>
                  </a:lnTo>
                  <a:lnTo>
                    <a:pt x="495" y="270"/>
                  </a:lnTo>
                  <a:lnTo>
                    <a:pt x="495" y="272"/>
                  </a:lnTo>
                  <a:lnTo>
                    <a:pt x="495" y="272"/>
                  </a:lnTo>
                  <a:lnTo>
                    <a:pt x="495" y="275"/>
                  </a:lnTo>
                  <a:lnTo>
                    <a:pt x="495" y="275"/>
                  </a:lnTo>
                  <a:lnTo>
                    <a:pt x="495" y="278"/>
                  </a:lnTo>
                  <a:lnTo>
                    <a:pt x="497" y="278"/>
                  </a:lnTo>
                  <a:lnTo>
                    <a:pt x="497" y="280"/>
                  </a:lnTo>
                  <a:lnTo>
                    <a:pt x="500" y="280"/>
                  </a:lnTo>
                  <a:lnTo>
                    <a:pt x="503" y="283"/>
                  </a:lnTo>
                  <a:lnTo>
                    <a:pt x="505" y="283"/>
                  </a:lnTo>
                  <a:lnTo>
                    <a:pt x="508" y="283"/>
                  </a:lnTo>
                  <a:lnTo>
                    <a:pt x="508" y="283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10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3"/>
                  </a:lnTo>
                  <a:lnTo>
                    <a:pt x="516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21" y="283"/>
                  </a:lnTo>
                  <a:lnTo>
                    <a:pt x="521" y="285"/>
                  </a:lnTo>
                  <a:lnTo>
                    <a:pt x="521" y="285"/>
                  </a:lnTo>
                  <a:lnTo>
                    <a:pt x="521" y="288"/>
                  </a:lnTo>
                  <a:lnTo>
                    <a:pt x="521" y="291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9" y="296"/>
                  </a:lnTo>
                  <a:lnTo>
                    <a:pt x="531" y="293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4" y="296"/>
                  </a:lnTo>
                  <a:lnTo>
                    <a:pt x="534" y="298"/>
                  </a:lnTo>
                  <a:lnTo>
                    <a:pt x="534" y="301"/>
                  </a:lnTo>
                  <a:lnTo>
                    <a:pt x="536" y="304"/>
                  </a:lnTo>
                  <a:lnTo>
                    <a:pt x="539" y="304"/>
                  </a:lnTo>
                  <a:lnTo>
                    <a:pt x="539" y="306"/>
                  </a:lnTo>
                  <a:lnTo>
                    <a:pt x="541" y="309"/>
                  </a:lnTo>
                  <a:lnTo>
                    <a:pt x="541" y="311"/>
                  </a:lnTo>
                  <a:lnTo>
                    <a:pt x="541" y="311"/>
                  </a:lnTo>
                  <a:lnTo>
                    <a:pt x="539" y="311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4" y="314"/>
                  </a:lnTo>
                  <a:lnTo>
                    <a:pt x="544" y="317"/>
                  </a:lnTo>
                  <a:lnTo>
                    <a:pt x="544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9"/>
                  </a:lnTo>
                  <a:lnTo>
                    <a:pt x="541" y="319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32"/>
                  </a:lnTo>
                  <a:lnTo>
                    <a:pt x="541" y="332"/>
                  </a:lnTo>
                  <a:lnTo>
                    <a:pt x="541" y="335"/>
                  </a:lnTo>
                  <a:lnTo>
                    <a:pt x="541" y="337"/>
                  </a:lnTo>
                  <a:lnTo>
                    <a:pt x="541" y="337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2"/>
                  </a:lnTo>
                  <a:lnTo>
                    <a:pt x="541" y="342"/>
                  </a:lnTo>
                  <a:lnTo>
                    <a:pt x="539" y="345"/>
                  </a:lnTo>
                  <a:lnTo>
                    <a:pt x="539" y="345"/>
                  </a:lnTo>
                  <a:lnTo>
                    <a:pt x="539" y="348"/>
                  </a:lnTo>
                  <a:lnTo>
                    <a:pt x="539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31" y="361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55"/>
                  </a:lnTo>
                  <a:lnTo>
                    <a:pt x="523" y="355"/>
                  </a:lnTo>
                  <a:lnTo>
                    <a:pt x="523" y="353"/>
                  </a:lnTo>
                  <a:lnTo>
                    <a:pt x="523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18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0" y="350"/>
                  </a:lnTo>
                  <a:lnTo>
                    <a:pt x="510" y="348"/>
                  </a:lnTo>
                  <a:lnTo>
                    <a:pt x="508" y="348"/>
                  </a:lnTo>
                  <a:lnTo>
                    <a:pt x="508" y="345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3" y="350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497" y="353"/>
                  </a:lnTo>
                  <a:lnTo>
                    <a:pt x="497" y="353"/>
                  </a:lnTo>
                  <a:lnTo>
                    <a:pt x="500" y="353"/>
                  </a:lnTo>
                  <a:lnTo>
                    <a:pt x="500" y="353"/>
                  </a:lnTo>
                  <a:lnTo>
                    <a:pt x="500" y="355"/>
                  </a:lnTo>
                  <a:lnTo>
                    <a:pt x="500" y="355"/>
                  </a:lnTo>
                  <a:lnTo>
                    <a:pt x="500" y="358"/>
                  </a:lnTo>
                  <a:lnTo>
                    <a:pt x="500" y="358"/>
                  </a:lnTo>
                  <a:lnTo>
                    <a:pt x="500" y="361"/>
                  </a:lnTo>
                  <a:lnTo>
                    <a:pt x="500" y="363"/>
                  </a:lnTo>
                  <a:lnTo>
                    <a:pt x="500" y="366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71"/>
                  </a:lnTo>
                  <a:lnTo>
                    <a:pt x="500" y="371"/>
                  </a:lnTo>
                  <a:lnTo>
                    <a:pt x="500" y="374"/>
                  </a:lnTo>
                  <a:lnTo>
                    <a:pt x="497" y="376"/>
                  </a:lnTo>
                  <a:lnTo>
                    <a:pt x="497" y="376"/>
                  </a:lnTo>
                  <a:lnTo>
                    <a:pt x="497" y="379"/>
                  </a:lnTo>
                  <a:lnTo>
                    <a:pt x="497" y="381"/>
                  </a:lnTo>
                  <a:lnTo>
                    <a:pt x="497" y="384"/>
                  </a:lnTo>
                  <a:lnTo>
                    <a:pt x="495" y="384"/>
                  </a:lnTo>
                  <a:lnTo>
                    <a:pt x="492" y="387"/>
                  </a:lnTo>
                  <a:lnTo>
                    <a:pt x="487" y="392"/>
                  </a:lnTo>
                  <a:lnTo>
                    <a:pt x="485" y="394"/>
                  </a:lnTo>
                  <a:lnTo>
                    <a:pt x="482" y="394"/>
                  </a:lnTo>
                  <a:lnTo>
                    <a:pt x="479" y="397"/>
                  </a:lnTo>
                  <a:lnTo>
                    <a:pt x="477" y="397"/>
                  </a:lnTo>
                  <a:lnTo>
                    <a:pt x="474" y="397"/>
                  </a:lnTo>
                  <a:lnTo>
                    <a:pt x="469" y="397"/>
                  </a:lnTo>
                  <a:lnTo>
                    <a:pt x="466" y="400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1" y="400"/>
                  </a:lnTo>
                  <a:lnTo>
                    <a:pt x="461" y="400"/>
                  </a:lnTo>
                  <a:lnTo>
                    <a:pt x="459" y="400"/>
                  </a:lnTo>
                  <a:lnTo>
                    <a:pt x="456" y="402"/>
                  </a:lnTo>
                  <a:lnTo>
                    <a:pt x="453" y="402"/>
                  </a:lnTo>
                  <a:lnTo>
                    <a:pt x="453" y="402"/>
                  </a:lnTo>
                  <a:lnTo>
                    <a:pt x="451" y="405"/>
                  </a:lnTo>
                  <a:lnTo>
                    <a:pt x="451" y="407"/>
                  </a:lnTo>
                  <a:lnTo>
                    <a:pt x="448" y="407"/>
                  </a:lnTo>
                  <a:lnTo>
                    <a:pt x="448" y="410"/>
                  </a:lnTo>
                  <a:lnTo>
                    <a:pt x="443" y="412"/>
                  </a:lnTo>
                  <a:lnTo>
                    <a:pt x="443" y="412"/>
                  </a:lnTo>
                  <a:lnTo>
                    <a:pt x="441" y="412"/>
                  </a:lnTo>
                  <a:lnTo>
                    <a:pt x="438" y="412"/>
                  </a:lnTo>
                  <a:lnTo>
                    <a:pt x="435" y="412"/>
                  </a:lnTo>
                  <a:lnTo>
                    <a:pt x="435" y="415"/>
                  </a:lnTo>
                  <a:lnTo>
                    <a:pt x="435" y="418"/>
                  </a:lnTo>
                  <a:lnTo>
                    <a:pt x="435" y="418"/>
                  </a:lnTo>
                  <a:lnTo>
                    <a:pt x="433" y="420"/>
                  </a:lnTo>
                  <a:lnTo>
                    <a:pt x="433" y="420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28" y="423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8"/>
                  </a:lnTo>
                  <a:lnTo>
                    <a:pt x="425" y="428"/>
                  </a:lnTo>
                  <a:lnTo>
                    <a:pt x="425" y="425"/>
                  </a:lnTo>
                  <a:lnTo>
                    <a:pt x="425" y="425"/>
                  </a:lnTo>
                  <a:lnTo>
                    <a:pt x="425" y="428"/>
                  </a:lnTo>
                  <a:lnTo>
                    <a:pt x="422" y="428"/>
                  </a:lnTo>
                  <a:lnTo>
                    <a:pt x="422" y="428"/>
                  </a:lnTo>
                  <a:lnTo>
                    <a:pt x="422" y="431"/>
                  </a:lnTo>
                  <a:lnTo>
                    <a:pt x="422" y="431"/>
                  </a:lnTo>
                  <a:lnTo>
                    <a:pt x="422" y="433"/>
                  </a:lnTo>
                  <a:lnTo>
                    <a:pt x="422" y="436"/>
                  </a:lnTo>
                  <a:lnTo>
                    <a:pt x="425" y="438"/>
                  </a:lnTo>
                  <a:lnTo>
                    <a:pt x="428" y="438"/>
                  </a:lnTo>
                  <a:lnTo>
                    <a:pt x="430" y="444"/>
                  </a:lnTo>
                  <a:lnTo>
                    <a:pt x="433" y="444"/>
                  </a:lnTo>
                  <a:lnTo>
                    <a:pt x="435" y="446"/>
                  </a:lnTo>
                  <a:lnTo>
                    <a:pt x="435" y="451"/>
                  </a:lnTo>
                  <a:lnTo>
                    <a:pt x="435" y="451"/>
                  </a:lnTo>
                  <a:lnTo>
                    <a:pt x="435" y="454"/>
                  </a:lnTo>
                  <a:lnTo>
                    <a:pt x="435" y="457"/>
                  </a:lnTo>
                  <a:lnTo>
                    <a:pt x="438" y="457"/>
                  </a:lnTo>
                  <a:lnTo>
                    <a:pt x="438" y="457"/>
                  </a:lnTo>
                  <a:lnTo>
                    <a:pt x="441" y="457"/>
                  </a:lnTo>
                  <a:lnTo>
                    <a:pt x="441" y="457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3" y="459"/>
                  </a:lnTo>
                  <a:lnTo>
                    <a:pt x="443" y="459"/>
                  </a:lnTo>
                  <a:lnTo>
                    <a:pt x="443" y="462"/>
                  </a:lnTo>
                  <a:lnTo>
                    <a:pt x="443" y="462"/>
                  </a:lnTo>
                  <a:lnTo>
                    <a:pt x="446" y="464"/>
                  </a:lnTo>
                  <a:lnTo>
                    <a:pt x="446" y="467"/>
                  </a:lnTo>
                  <a:lnTo>
                    <a:pt x="446" y="470"/>
                  </a:lnTo>
                  <a:lnTo>
                    <a:pt x="448" y="472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48" y="477"/>
                  </a:lnTo>
                  <a:lnTo>
                    <a:pt x="448" y="480"/>
                  </a:lnTo>
                  <a:lnTo>
                    <a:pt x="446" y="482"/>
                  </a:lnTo>
                  <a:lnTo>
                    <a:pt x="446" y="482"/>
                  </a:lnTo>
                  <a:lnTo>
                    <a:pt x="446" y="485"/>
                  </a:lnTo>
                  <a:lnTo>
                    <a:pt x="443" y="488"/>
                  </a:lnTo>
                  <a:lnTo>
                    <a:pt x="441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3"/>
                  </a:lnTo>
                  <a:lnTo>
                    <a:pt x="441" y="493"/>
                  </a:lnTo>
                  <a:lnTo>
                    <a:pt x="441" y="493"/>
                  </a:lnTo>
                  <a:lnTo>
                    <a:pt x="441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41" y="498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46" y="498"/>
                  </a:lnTo>
                  <a:lnTo>
                    <a:pt x="446" y="501"/>
                  </a:lnTo>
                  <a:lnTo>
                    <a:pt x="446" y="501"/>
                  </a:lnTo>
                  <a:lnTo>
                    <a:pt x="448" y="501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51" y="498"/>
                  </a:lnTo>
                  <a:lnTo>
                    <a:pt x="451" y="498"/>
                  </a:lnTo>
                  <a:lnTo>
                    <a:pt x="453" y="498"/>
                  </a:lnTo>
                  <a:lnTo>
                    <a:pt x="453" y="498"/>
                  </a:lnTo>
                  <a:lnTo>
                    <a:pt x="456" y="501"/>
                  </a:lnTo>
                  <a:lnTo>
                    <a:pt x="456" y="503"/>
                  </a:lnTo>
                  <a:lnTo>
                    <a:pt x="456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6"/>
                  </a:lnTo>
                  <a:lnTo>
                    <a:pt x="459" y="506"/>
                  </a:lnTo>
                  <a:lnTo>
                    <a:pt x="459" y="508"/>
                  </a:lnTo>
                  <a:lnTo>
                    <a:pt x="459" y="508"/>
                  </a:lnTo>
                  <a:lnTo>
                    <a:pt x="459" y="511"/>
                  </a:lnTo>
                  <a:lnTo>
                    <a:pt x="461" y="511"/>
                  </a:lnTo>
                  <a:lnTo>
                    <a:pt x="461" y="511"/>
                  </a:lnTo>
                  <a:lnTo>
                    <a:pt x="461" y="514"/>
                  </a:lnTo>
                  <a:lnTo>
                    <a:pt x="459" y="516"/>
                  </a:lnTo>
                  <a:lnTo>
                    <a:pt x="459" y="519"/>
                  </a:lnTo>
                  <a:lnTo>
                    <a:pt x="456" y="519"/>
                  </a:lnTo>
                  <a:lnTo>
                    <a:pt x="459" y="519"/>
                  </a:lnTo>
                  <a:lnTo>
                    <a:pt x="459" y="519"/>
                  </a:lnTo>
                  <a:lnTo>
                    <a:pt x="459" y="521"/>
                  </a:lnTo>
                  <a:lnTo>
                    <a:pt x="456" y="521"/>
                  </a:lnTo>
                  <a:lnTo>
                    <a:pt x="456" y="521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7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32"/>
                  </a:lnTo>
                  <a:lnTo>
                    <a:pt x="456" y="534"/>
                  </a:lnTo>
                  <a:lnTo>
                    <a:pt x="456" y="537"/>
                  </a:lnTo>
                  <a:lnTo>
                    <a:pt x="453" y="537"/>
                  </a:lnTo>
                  <a:lnTo>
                    <a:pt x="453" y="537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1" y="540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48" y="542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3" y="540"/>
                  </a:lnTo>
                  <a:lnTo>
                    <a:pt x="441" y="537"/>
                  </a:lnTo>
                  <a:lnTo>
                    <a:pt x="438" y="534"/>
                  </a:lnTo>
                  <a:lnTo>
                    <a:pt x="438" y="534"/>
                  </a:lnTo>
                  <a:lnTo>
                    <a:pt x="435" y="534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3" y="532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7"/>
                  </a:lnTo>
                  <a:lnTo>
                    <a:pt x="433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5" y="524"/>
                  </a:lnTo>
                  <a:lnTo>
                    <a:pt x="425" y="524"/>
                  </a:lnTo>
                  <a:lnTo>
                    <a:pt x="425" y="521"/>
                  </a:lnTo>
                  <a:lnTo>
                    <a:pt x="425" y="521"/>
                  </a:lnTo>
                  <a:lnTo>
                    <a:pt x="428" y="519"/>
                  </a:lnTo>
                  <a:lnTo>
                    <a:pt x="428" y="519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30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5" y="514"/>
                  </a:lnTo>
                  <a:lnTo>
                    <a:pt x="425" y="511"/>
                  </a:lnTo>
                  <a:lnTo>
                    <a:pt x="422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2" y="506"/>
                  </a:lnTo>
                  <a:lnTo>
                    <a:pt x="422" y="506"/>
                  </a:lnTo>
                  <a:lnTo>
                    <a:pt x="420" y="503"/>
                  </a:lnTo>
                  <a:lnTo>
                    <a:pt x="420" y="503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5" y="506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2" y="503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7" y="506"/>
                  </a:lnTo>
                  <a:lnTo>
                    <a:pt x="404" y="506"/>
                  </a:lnTo>
                  <a:lnTo>
                    <a:pt x="407" y="506"/>
                  </a:lnTo>
                  <a:lnTo>
                    <a:pt x="407" y="506"/>
                  </a:lnTo>
                  <a:lnTo>
                    <a:pt x="404" y="508"/>
                  </a:lnTo>
                  <a:lnTo>
                    <a:pt x="404" y="511"/>
                  </a:lnTo>
                  <a:lnTo>
                    <a:pt x="402" y="511"/>
                  </a:lnTo>
                  <a:lnTo>
                    <a:pt x="402" y="511"/>
                  </a:lnTo>
                  <a:lnTo>
                    <a:pt x="399" y="511"/>
                  </a:lnTo>
                  <a:lnTo>
                    <a:pt x="399" y="511"/>
                  </a:lnTo>
                  <a:lnTo>
                    <a:pt x="397" y="514"/>
                  </a:lnTo>
                  <a:lnTo>
                    <a:pt x="397" y="514"/>
                  </a:lnTo>
                  <a:lnTo>
                    <a:pt x="394" y="514"/>
                  </a:lnTo>
                  <a:lnTo>
                    <a:pt x="394" y="514"/>
                  </a:lnTo>
                  <a:lnTo>
                    <a:pt x="391" y="511"/>
                  </a:lnTo>
                  <a:lnTo>
                    <a:pt x="391" y="511"/>
                  </a:lnTo>
                  <a:lnTo>
                    <a:pt x="391" y="508"/>
                  </a:lnTo>
                  <a:lnTo>
                    <a:pt x="389" y="508"/>
                  </a:lnTo>
                  <a:lnTo>
                    <a:pt x="389" y="506"/>
                  </a:lnTo>
                  <a:lnTo>
                    <a:pt x="389" y="503"/>
                  </a:lnTo>
                  <a:lnTo>
                    <a:pt x="389" y="503"/>
                  </a:lnTo>
                  <a:lnTo>
                    <a:pt x="389" y="501"/>
                  </a:lnTo>
                  <a:lnTo>
                    <a:pt x="386" y="501"/>
                  </a:lnTo>
                  <a:lnTo>
                    <a:pt x="384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78" y="503"/>
                  </a:lnTo>
                  <a:lnTo>
                    <a:pt x="378" y="503"/>
                  </a:lnTo>
                  <a:lnTo>
                    <a:pt x="376" y="503"/>
                  </a:lnTo>
                  <a:lnTo>
                    <a:pt x="376" y="503"/>
                  </a:lnTo>
                  <a:lnTo>
                    <a:pt x="376" y="501"/>
                  </a:lnTo>
                  <a:lnTo>
                    <a:pt x="373" y="501"/>
                  </a:lnTo>
                  <a:lnTo>
                    <a:pt x="373" y="503"/>
                  </a:lnTo>
                  <a:lnTo>
                    <a:pt x="371" y="503"/>
                  </a:lnTo>
                  <a:lnTo>
                    <a:pt x="368" y="503"/>
                  </a:lnTo>
                  <a:lnTo>
                    <a:pt x="368" y="503"/>
                  </a:lnTo>
                  <a:lnTo>
                    <a:pt x="365" y="503"/>
                  </a:lnTo>
                  <a:lnTo>
                    <a:pt x="365" y="503"/>
                  </a:lnTo>
                  <a:lnTo>
                    <a:pt x="365" y="501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8" y="498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3"/>
                  </a:lnTo>
                  <a:lnTo>
                    <a:pt x="365" y="495"/>
                  </a:lnTo>
                  <a:lnTo>
                    <a:pt x="365" y="495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0" y="501"/>
                  </a:lnTo>
                  <a:lnTo>
                    <a:pt x="358" y="501"/>
                  </a:lnTo>
                  <a:lnTo>
                    <a:pt x="355" y="501"/>
                  </a:lnTo>
                  <a:lnTo>
                    <a:pt x="358" y="503"/>
                  </a:lnTo>
                  <a:lnTo>
                    <a:pt x="358" y="506"/>
                  </a:lnTo>
                  <a:lnTo>
                    <a:pt x="360" y="508"/>
                  </a:lnTo>
                  <a:lnTo>
                    <a:pt x="360" y="511"/>
                  </a:lnTo>
                  <a:lnTo>
                    <a:pt x="360" y="514"/>
                  </a:lnTo>
                  <a:lnTo>
                    <a:pt x="360" y="514"/>
                  </a:lnTo>
                  <a:lnTo>
                    <a:pt x="360" y="516"/>
                  </a:lnTo>
                  <a:lnTo>
                    <a:pt x="363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58" y="519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3" y="516"/>
                  </a:lnTo>
                  <a:lnTo>
                    <a:pt x="353" y="516"/>
                  </a:lnTo>
                  <a:lnTo>
                    <a:pt x="347" y="516"/>
                  </a:lnTo>
                  <a:lnTo>
                    <a:pt x="345" y="516"/>
                  </a:lnTo>
                  <a:lnTo>
                    <a:pt x="342" y="516"/>
                  </a:lnTo>
                  <a:lnTo>
                    <a:pt x="340" y="516"/>
                  </a:lnTo>
                  <a:lnTo>
                    <a:pt x="340" y="516"/>
                  </a:lnTo>
                  <a:lnTo>
                    <a:pt x="340" y="514"/>
                  </a:lnTo>
                  <a:lnTo>
                    <a:pt x="340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4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29" y="516"/>
                  </a:lnTo>
                  <a:lnTo>
                    <a:pt x="327" y="516"/>
                  </a:lnTo>
                  <a:lnTo>
                    <a:pt x="324" y="516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21"/>
                  </a:lnTo>
                  <a:lnTo>
                    <a:pt x="319" y="521"/>
                  </a:lnTo>
                  <a:lnTo>
                    <a:pt x="319" y="521"/>
                  </a:lnTo>
                  <a:lnTo>
                    <a:pt x="316" y="521"/>
                  </a:lnTo>
                  <a:lnTo>
                    <a:pt x="314" y="521"/>
                  </a:lnTo>
                  <a:lnTo>
                    <a:pt x="314" y="521"/>
                  </a:lnTo>
                  <a:lnTo>
                    <a:pt x="311" y="521"/>
                  </a:lnTo>
                  <a:lnTo>
                    <a:pt x="309" y="521"/>
                  </a:lnTo>
                  <a:lnTo>
                    <a:pt x="306" y="521"/>
                  </a:lnTo>
                  <a:lnTo>
                    <a:pt x="303" y="521"/>
                  </a:lnTo>
                  <a:lnTo>
                    <a:pt x="301" y="521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6" y="524"/>
                  </a:lnTo>
                  <a:lnTo>
                    <a:pt x="293" y="527"/>
                  </a:lnTo>
                  <a:lnTo>
                    <a:pt x="293" y="529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88" y="534"/>
                  </a:lnTo>
                  <a:lnTo>
                    <a:pt x="288" y="534"/>
                  </a:lnTo>
                  <a:lnTo>
                    <a:pt x="285" y="534"/>
                  </a:lnTo>
                  <a:lnTo>
                    <a:pt x="285" y="534"/>
                  </a:lnTo>
                  <a:lnTo>
                    <a:pt x="283" y="534"/>
                  </a:lnTo>
                  <a:lnTo>
                    <a:pt x="283" y="534"/>
                  </a:lnTo>
                  <a:lnTo>
                    <a:pt x="280" y="534"/>
                  </a:lnTo>
                  <a:lnTo>
                    <a:pt x="280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2" y="537"/>
                  </a:lnTo>
                  <a:lnTo>
                    <a:pt x="270" y="540"/>
                  </a:lnTo>
                  <a:lnTo>
                    <a:pt x="270" y="540"/>
                  </a:lnTo>
                  <a:lnTo>
                    <a:pt x="270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5" y="542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0" y="545"/>
                  </a:lnTo>
                  <a:lnTo>
                    <a:pt x="267" y="545"/>
                  </a:lnTo>
                  <a:lnTo>
                    <a:pt x="264" y="545"/>
                  </a:lnTo>
                  <a:lnTo>
                    <a:pt x="264" y="545"/>
                  </a:lnTo>
                  <a:lnTo>
                    <a:pt x="262" y="547"/>
                  </a:lnTo>
                  <a:lnTo>
                    <a:pt x="262" y="550"/>
                  </a:lnTo>
                  <a:lnTo>
                    <a:pt x="262" y="550"/>
                  </a:lnTo>
                  <a:lnTo>
                    <a:pt x="259" y="547"/>
                  </a:lnTo>
                  <a:lnTo>
                    <a:pt x="259" y="547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7" y="555"/>
                  </a:lnTo>
                  <a:lnTo>
                    <a:pt x="257" y="555"/>
                  </a:lnTo>
                  <a:lnTo>
                    <a:pt x="254" y="555"/>
                  </a:lnTo>
                  <a:lnTo>
                    <a:pt x="254" y="555"/>
                  </a:lnTo>
                  <a:lnTo>
                    <a:pt x="252" y="555"/>
                  </a:lnTo>
                  <a:lnTo>
                    <a:pt x="252" y="555"/>
                  </a:lnTo>
                  <a:lnTo>
                    <a:pt x="252" y="552"/>
                  </a:lnTo>
                  <a:lnTo>
                    <a:pt x="252" y="552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47"/>
                  </a:lnTo>
                  <a:lnTo>
                    <a:pt x="252" y="547"/>
                  </a:lnTo>
                  <a:lnTo>
                    <a:pt x="249" y="547"/>
                  </a:lnTo>
                  <a:lnTo>
                    <a:pt x="246" y="550"/>
                  </a:lnTo>
                  <a:lnTo>
                    <a:pt x="244" y="550"/>
                  </a:lnTo>
                  <a:lnTo>
                    <a:pt x="241" y="550"/>
                  </a:lnTo>
                  <a:lnTo>
                    <a:pt x="241" y="550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5"/>
                  </a:lnTo>
                  <a:lnTo>
                    <a:pt x="239" y="555"/>
                  </a:lnTo>
                  <a:lnTo>
                    <a:pt x="239" y="555"/>
                  </a:lnTo>
                  <a:lnTo>
                    <a:pt x="236" y="555"/>
                  </a:lnTo>
                  <a:lnTo>
                    <a:pt x="233" y="555"/>
                  </a:lnTo>
                  <a:lnTo>
                    <a:pt x="231" y="555"/>
                  </a:lnTo>
                  <a:lnTo>
                    <a:pt x="228" y="555"/>
                  </a:lnTo>
                  <a:lnTo>
                    <a:pt x="226" y="555"/>
                  </a:lnTo>
                  <a:lnTo>
                    <a:pt x="223" y="555"/>
                  </a:lnTo>
                  <a:lnTo>
                    <a:pt x="223" y="552"/>
                  </a:lnTo>
                  <a:lnTo>
                    <a:pt x="223" y="552"/>
                  </a:lnTo>
                  <a:lnTo>
                    <a:pt x="223" y="550"/>
                  </a:lnTo>
                  <a:lnTo>
                    <a:pt x="226" y="550"/>
                  </a:lnTo>
                  <a:lnTo>
                    <a:pt x="226" y="547"/>
                  </a:lnTo>
                  <a:lnTo>
                    <a:pt x="226" y="547"/>
                  </a:lnTo>
                  <a:lnTo>
                    <a:pt x="223" y="545"/>
                  </a:lnTo>
                  <a:lnTo>
                    <a:pt x="220" y="545"/>
                  </a:lnTo>
                  <a:lnTo>
                    <a:pt x="220" y="542"/>
                  </a:lnTo>
                  <a:lnTo>
                    <a:pt x="218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18" y="540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37"/>
                  </a:lnTo>
                  <a:lnTo>
                    <a:pt x="213" y="537"/>
                  </a:lnTo>
                  <a:lnTo>
                    <a:pt x="213" y="534"/>
                  </a:lnTo>
                  <a:lnTo>
                    <a:pt x="213" y="534"/>
                  </a:lnTo>
                  <a:lnTo>
                    <a:pt x="215" y="534"/>
                  </a:lnTo>
                  <a:lnTo>
                    <a:pt x="218" y="534"/>
                  </a:lnTo>
                  <a:lnTo>
                    <a:pt x="218" y="534"/>
                  </a:lnTo>
                  <a:lnTo>
                    <a:pt x="215" y="532"/>
                  </a:lnTo>
                  <a:lnTo>
                    <a:pt x="215" y="529"/>
                  </a:lnTo>
                  <a:lnTo>
                    <a:pt x="213" y="529"/>
                  </a:lnTo>
                  <a:lnTo>
                    <a:pt x="210" y="529"/>
                  </a:lnTo>
                  <a:lnTo>
                    <a:pt x="210" y="532"/>
                  </a:lnTo>
                  <a:lnTo>
                    <a:pt x="208" y="532"/>
                  </a:lnTo>
                  <a:lnTo>
                    <a:pt x="208" y="532"/>
                  </a:lnTo>
                  <a:lnTo>
                    <a:pt x="205" y="532"/>
                  </a:lnTo>
                  <a:lnTo>
                    <a:pt x="205" y="532"/>
                  </a:lnTo>
                  <a:lnTo>
                    <a:pt x="202" y="532"/>
                  </a:lnTo>
                  <a:lnTo>
                    <a:pt x="202" y="532"/>
                  </a:lnTo>
                  <a:lnTo>
                    <a:pt x="202" y="534"/>
                  </a:lnTo>
                  <a:lnTo>
                    <a:pt x="200" y="532"/>
                  </a:lnTo>
                  <a:lnTo>
                    <a:pt x="200" y="532"/>
                  </a:lnTo>
                  <a:lnTo>
                    <a:pt x="200" y="529"/>
                  </a:lnTo>
                  <a:lnTo>
                    <a:pt x="200" y="529"/>
                  </a:lnTo>
                  <a:lnTo>
                    <a:pt x="197" y="529"/>
                  </a:lnTo>
                  <a:lnTo>
                    <a:pt x="197" y="529"/>
                  </a:lnTo>
                  <a:lnTo>
                    <a:pt x="195" y="529"/>
                  </a:lnTo>
                  <a:lnTo>
                    <a:pt x="192" y="529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7" y="527"/>
                  </a:lnTo>
                  <a:lnTo>
                    <a:pt x="187" y="527"/>
                  </a:lnTo>
                  <a:lnTo>
                    <a:pt x="184" y="524"/>
                  </a:lnTo>
                  <a:lnTo>
                    <a:pt x="184" y="524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82" y="527"/>
                  </a:lnTo>
                  <a:lnTo>
                    <a:pt x="179" y="527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6" y="529"/>
                  </a:lnTo>
                  <a:lnTo>
                    <a:pt x="174" y="529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4"/>
                  </a:lnTo>
                  <a:lnTo>
                    <a:pt x="169" y="524"/>
                  </a:lnTo>
                  <a:lnTo>
                    <a:pt x="169" y="521"/>
                  </a:lnTo>
                  <a:lnTo>
                    <a:pt x="169" y="521"/>
                  </a:lnTo>
                  <a:lnTo>
                    <a:pt x="166" y="521"/>
                  </a:lnTo>
                  <a:lnTo>
                    <a:pt x="166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9"/>
                  </a:lnTo>
                  <a:lnTo>
                    <a:pt x="164" y="532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9" y="542"/>
                  </a:lnTo>
                  <a:lnTo>
                    <a:pt x="166" y="542"/>
                  </a:lnTo>
                  <a:lnTo>
                    <a:pt x="166" y="545"/>
                  </a:lnTo>
                  <a:lnTo>
                    <a:pt x="169" y="547"/>
                  </a:lnTo>
                  <a:lnTo>
                    <a:pt x="169" y="547"/>
                  </a:lnTo>
                  <a:lnTo>
                    <a:pt x="166" y="547"/>
                  </a:lnTo>
                  <a:lnTo>
                    <a:pt x="166" y="550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5"/>
                  </a:lnTo>
                  <a:lnTo>
                    <a:pt x="164" y="555"/>
                  </a:lnTo>
                  <a:lnTo>
                    <a:pt x="164" y="558"/>
                  </a:lnTo>
                  <a:lnTo>
                    <a:pt x="164" y="558"/>
                  </a:lnTo>
                  <a:lnTo>
                    <a:pt x="161" y="558"/>
                  </a:lnTo>
                  <a:lnTo>
                    <a:pt x="161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60"/>
                  </a:lnTo>
                  <a:lnTo>
                    <a:pt x="158" y="563"/>
                  </a:lnTo>
                  <a:lnTo>
                    <a:pt x="156" y="563"/>
                  </a:lnTo>
                  <a:lnTo>
                    <a:pt x="156" y="565"/>
                  </a:lnTo>
                  <a:lnTo>
                    <a:pt x="153" y="565"/>
                  </a:lnTo>
                  <a:lnTo>
                    <a:pt x="153" y="568"/>
                  </a:lnTo>
                  <a:lnTo>
                    <a:pt x="153" y="568"/>
                  </a:lnTo>
                  <a:lnTo>
                    <a:pt x="151" y="571"/>
                  </a:lnTo>
                  <a:lnTo>
                    <a:pt x="145" y="573"/>
                  </a:lnTo>
                  <a:lnTo>
                    <a:pt x="143" y="573"/>
                  </a:lnTo>
                  <a:lnTo>
                    <a:pt x="143" y="573"/>
                  </a:lnTo>
                  <a:lnTo>
                    <a:pt x="143" y="576"/>
                  </a:lnTo>
                  <a:lnTo>
                    <a:pt x="140" y="576"/>
                  </a:lnTo>
                  <a:lnTo>
                    <a:pt x="138" y="576"/>
                  </a:lnTo>
                  <a:lnTo>
                    <a:pt x="138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5"/>
                  </a:lnTo>
                  <a:lnTo>
                    <a:pt x="138" y="565"/>
                  </a:lnTo>
                  <a:lnTo>
                    <a:pt x="138" y="563"/>
                  </a:lnTo>
                  <a:lnTo>
                    <a:pt x="140" y="563"/>
                  </a:lnTo>
                  <a:lnTo>
                    <a:pt x="140" y="560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38" y="558"/>
                  </a:lnTo>
                  <a:lnTo>
                    <a:pt x="138" y="558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2" y="558"/>
                  </a:lnTo>
                  <a:lnTo>
                    <a:pt x="132" y="558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0" y="560"/>
                  </a:lnTo>
                  <a:lnTo>
                    <a:pt x="130" y="558"/>
                  </a:lnTo>
                  <a:lnTo>
                    <a:pt x="127" y="560"/>
                  </a:lnTo>
                  <a:lnTo>
                    <a:pt x="127" y="560"/>
                  </a:lnTo>
                  <a:lnTo>
                    <a:pt x="125" y="563"/>
                  </a:lnTo>
                  <a:lnTo>
                    <a:pt x="125" y="560"/>
                  </a:lnTo>
                  <a:lnTo>
                    <a:pt x="125" y="555"/>
                  </a:lnTo>
                  <a:lnTo>
                    <a:pt x="125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7" y="550"/>
                  </a:lnTo>
                  <a:lnTo>
                    <a:pt x="127" y="550"/>
                  </a:lnTo>
                  <a:lnTo>
                    <a:pt x="125" y="547"/>
                  </a:lnTo>
                  <a:lnTo>
                    <a:pt x="125" y="547"/>
                  </a:lnTo>
                  <a:lnTo>
                    <a:pt x="125" y="545"/>
                  </a:lnTo>
                  <a:lnTo>
                    <a:pt x="125" y="542"/>
                  </a:lnTo>
                  <a:lnTo>
                    <a:pt x="125" y="542"/>
                  </a:lnTo>
                  <a:lnTo>
                    <a:pt x="122" y="545"/>
                  </a:lnTo>
                  <a:lnTo>
                    <a:pt x="122" y="542"/>
                  </a:lnTo>
                  <a:lnTo>
                    <a:pt x="122" y="542"/>
                  </a:lnTo>
                  <a:lnTo>
                    <a:pt x="120" y="540"/>
                  </a:lnTo>
                  <a:lnTo>
                    <a:pt x="120" y="540"/>
                  </a:lnTo>
                  <a:lnTo>
                    <a:pt x="120" y="537"/>
                  </a:lnTo>
                  <a:lnTo>
                    <a:pt x="117" y="537"/>
                  </a:lnTo>
                  <a:lnTo>
                    <a:pt x="117" y="540"/>
                  </a:lnTo>
                  <a:lnTo>
                    <a:pt x="114" y="540"/>
                  </a:lnTo>
                  <a:lnTo>
                    <a:pt x="114" y="540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2" y="534"/>
                  </a:lnTo>
                  <a:lnTo>
                    <a:pt x="112" y="534"/>
                  </a:lnTo>
                  <a:lnTo>
                    <a:pt x="112" y="532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7"/>
                  </a:lnTo>
                  <a:lnTo>
                    <a:pt x="112" y="527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12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7" y="532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9"/>
                  </a:lnTo>
                  <a:lnTo>
                    <a:pt x="101" y="529"/>
                  </a:lnTo>
                  <a:lnTo>
                    <a:pt x="99" y="529"/>
                  </a:lnTo>
                  <a:lnTo>
                    <a:pt x="96" y="529"/>
                  </a:lnTo>
                  <a:lnTo>
                    <a:pt x="96" y="527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1"/>
                  </a:lnTo>
                  <a:lnTo>
                    <a:pt x="96" y="521"/>
                  </a:lnTo>
                  <a:lnTo>
                    <a:pt x="94" y="521"/>
                  </a:lnTo>
                  <a:lnTo>
                    <a:pt x="94" y="521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3" y="529"/>
                  </a:lnTo>
                  <a:lnTo>
                    <a:pt x="83" y="529"/>
                  </a:lnTo>
                  <a:lnTo>
                    <a:pt x="83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81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6" y="527"/>
                  </a:lnTo>
                  <a:lnTo>
                    <a:pt x="76" y="524"/>
                  </a:lnTo>
                  <a:lnTo>
                    <a:pt x="76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3" y="521"/>
                  </a:lnTo>
                  <a:lnTo>
                    <a:pt x="73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81" y="519"/>
                  </a:lnTo>
                  <a:lnTo>
                    <a:pt x="81" y="516"/>
                  </a:lnTo>
                  <a:lnTo>
                    <a:pt x="83" y="519"/>
                  </a:lnTo>
                  <a:lnTo>
                    <a:pt x="83" y="519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9"/>
                  </a:lnTo>
                  <a:lnTo>
                    <a:pt x="86" y="516"/>
                  </a:lnTo>
                  <a:lnTo>
                    <a:pt x="88" y="516"/>
                  </a:lnTo>
                  <a:lnTo>
                    <a:pt x="88" y="514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4" y="508"/>
                  </a:lnTo>
                  <a:lnTo>
                    <a:pt x="94" y="508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9" y="506"/>
                  </a:lnTo>
                  <a:lnTo>
                    <a:pt x="99" y="506"/>
                  </a:lnTo>
                  <a:lnTo>
                    <a:pt x="101" y="506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9" y="508"/>
                  </a:lnTo>
                  <a:lnTo>
                    <a:pt x="109" y="508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14" y="506"/>
                  </a:lnTo>
                  <a:lnTo>
                    <a:pt x="114" y="506"/>
                  </a:lnTo>
                  <a:lnTo>
                    <a:pt x="117" y="503"/>
                  </a:lnTo>
                  <a:lnTo>
                    <a:pt x="117" y="503"/>
                  </a:lnTo>
                  <a:lnTo>
                    <a:pt x="120" y="503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3"/>
                  </a:lnTo>
                  <a:lnTo>
                    <a:pt x="122" y="503"/>
                  </a:lnTo>
                  <a:lnTo>
                    <a:pt x="122" y="506"/>
                  </a:lnTo>
                  <a:lnTo>
                    <a:pt x="122" y="506"/>
                  </a:lnTo>
                  <a:lnTo>
                    <a:pt x="122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7" y="506"/>
                  </a:lnTo>
                  <a:lnTo>
                    <a:pt x="127" y="506"/>
                  </a:lnTo>
                  <a:lnTo>
                    <a:pt x="130" y="506"/>
                  </a:lnTo>
                  <a:lnTo>
                    <a:pt x="130" y="506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498"/>
                  </a:lnTo>
                  <a:lnTo>
                    <a:pt x="127" y="495"/>
                  </a:lnTo>
                  <a:lnTo>
                    <a:pt x="127" y="493"/>
                  </a:lnTo>
                  <a:lnTo>
                    <a:pt x="127" y="490"/>
                  </a:lnTo>
                  <a:lnTo>
                    <a:pt x="127" y="490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5" y="485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0"/>
                  </a:lnTo>
                  <a:lnTo>
                    <a:pt x="130" y="477"/>
                  </a:lnTo>
                  <a:lnTo>
                    <a:pt x="127" y="477"/>
                  </a:lnTo>
                  <a:lnTo>
                    <a:pt x="125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7" y="472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5" y="467"/>
                  </a:lnTo>
                  <a:lnTo>
                    <a:pt x="127" y="467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5" y="459"/>
                  </a:lnTo>
                  <a:lnTo>
                    <a:pt x="125" y="457"/>
                  </a:lnTo>
                  <a:lnTo>
                    <a:pt x="125" y="457"/>
                  </a:lnTo>
                  <a:lnTo>
                    <a:pt x="125" y="454"/>
                  </a:lnTo>
                  <a:lnTo>
                    <a:pt x="125" y="454"/>
                  </a:lnTo>
                  <a:lnTo>
                    <a:pt x="127" y="454"/>
                  </a:lnTo>
                  <a:lnTo>
                    <a:pt x="127" y="451"/>
                  </a:lnTo>
                  <a:lnTo>
                    <a:pt x="127" y="451"/>
                  </a:lnTo>
                  <a:lnTo>
                    <a:pt x="127" y="449"/>
                  </a:lnTo>
                  <a:lnTo>
                    <a:pt x="130" y="446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38"/>
                  </a:lnTo>
                  <a:lnTo>
                    <a:pt x="130" y="438"/>
                  </a:lnTo>
                  <a:lnTo>
                    <a:pt x="130" y="436"/>
                  </a:lnTo>
                  <a:lnTo>
                    <a:pt x="130" y="433"/>
                  </a:lnTo>
                  <a:lnTo>
                    <a:pt x="130" y="431"/>
                  </a:lnTo>
                  <a:lnTo>
                    <a:pt x="130" y="428"/>
                  </a:lnTo>
                  <a:lnTo>
                    <a:pt x="127" y="425"/>
                  </a:lnTo>
                  <a:lnTo>
                    <a:pt x="127" y="423"/>
                  </a:lnTo>
                  <a:lnTo>
                    <a:pt x="125" y="420"/>
                  </a:lnTo>
                  <a:lnTo>
                    <a:pt x="125" y="418"/>
                  </a:lnTo>
                  <a:lnTo>
                    <a:pt x="125" y="418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2" y="410"/>
                  </a:lnTo>
                  <a:lnTo>
                    <a:pt x="122" y="410"/>
                  </a:lnTo>
                  <a:lnTo>
                    <a:pt x="122" y="407"/>
                  </a:lnTo>
                  <a:lnTo>
                    <a:pt x="122" y="407"/>
                  </a:lnTo>
                  <a:lnTo>
                    <a:pt x="122" y="405"/>
                  </a:lnTo>
                  <a:lnTo>
                    <a:pt x="122" y="405"/>
                  </a:lnTo>
                  <a:lnTo>
                    <a:pt x="122" y="402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20" y="397"/>
                  </a:lnTo>
                  <a:lnTo>
                    <a:pt x="117" y="394"/>
                  </a:lnTo>
                  <a:lnTo>
                    <a:pt x="117" y="394"/>
                  </a:lnTo>
                  <a:lnTo>
                    <a:pt x="117" y="392"/>
                  </a:lnTo>
                  <a:lnTo>
                    <a:pt x="117" y="392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4" y="389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1"/>
                  </a:lnTo>
                  <a:lnTo>
                    <a:pt x="114" y="381"/>
                  </a:lnTo>
                  <a:lnTo>
                    <a:pt x="114" y="381"/>
                  </a:lnTo>
                  <a:lnTo>
                    <a:pt x="114" y="379"/>
                  </a:lnTo>
                  <a:lnTo>
                    <a:pt x="117" y="379"/>
                  </a:lnTo>
                  <a:lnTo>
                    <a:pt x="117" y="376"/>
                  </a:lnTo>
                  <a:lnTo>
                    <a:pt x="117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17" y="374"/>
                  </a:lnTo>
                  <a:lnTo>
                    <a:pt x="117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17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5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8"/>
                  </a:lnTo>
                  <a:lnTo>
                    <a:pt x="130" y="368"/>
                  </a:lnTo>
                  <a:lnTo>
                    <a:pt x="130" y="368"/>
                  </a:lnTo>
                  <a:lnTo>
                    <a:pt x="132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8" y="366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5" y="358"/>
                  </a:lnTo>
                  <a:lnTo>
                    <a:pt x="148" y="358"/>
                  </a:lnTo>
                  <a:lnTo>
                    <a:pt x="151" y="358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48" y="355"/>
                  </a:lnTo>
                  <a:lnTo>
                    <a:pt x="148" y="355"/>
                  </a:lnTo>
                  <a:lnTo>
                    <a:pt x="148" y="353"/>
                  </a:lnTo>
                  <a:lnTo>
                    <a:pt x="151" y="353"/>
                  </a:lnTo>
                  <a:lnTo>
                    <a:pt x="151" y="350"/>
                  </a:lnTo>
                  <a:lnTo>
                    <a:pt x="151" y="348"/>
                  </a:lnTo>
                  <a:lnTo>
                    <a:pt x="151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5" y="335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45" y="327"/>
                  </a:lnTo>
                  <a:lnTo>
                    <a:pt x="145" y="324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9"/>
                  </a:lnTo>
                  <a:lnTo>
                    <a:pt x="148" y="329"/>
                  </a:lnTo>
                  <a:lnTo>
                    <a:pt x="151" y="329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3" y="329"/>
                  </a:lnTo>
                  <a:lnTo>
                    <a:pt x="153" y="329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5"/>
                  </a:lnTo>
                  <a:lnTo>
                    <a:pt x="156" y="335"/>
                  </a:lnTo>
                  <a:lnTo>
                    <a:pt x="156" y="335"/>
                  </a:lnTo>
                  <a:lnTo>
                    <a:pt x="156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29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9"/>
                  </a:lnTo>
                  <a:lnTo>
                    <a:pt x="164" y="327"/>
                  </a:lnTo>
                  <a:lnTo>
                    <a:pt x="161" y="327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4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6" y="332"/>
                  </a:lnTo>
                  <a:lnTo>
                    <a:pt x="166" y="329"/>
                  </a:lnTo>
                  <a:lnTo>
                    <a:pt x="166" y="329"/>
                  </a:lnTo>
                  <a:lnTo>
                    <a:pt x="169" y="329"/>
                  </a:lnTo>
                  <a:lnTo>
                    <a:pt x="169" y="329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6" y="327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4" y="317"/>
                  </a:lnTo>
                  <a:lnTo>
                    <a:pt x="161" y="317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1"/>
                  </a:lnTo>
                  <a:lnTo>
                    <a:pt x="161" y="311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1" y="311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66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6" y="306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6"/>
                  </a:lnTo>
                  <a:lnTo>
                    <a:pt x="166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3"/>
                  </a:lnTo>
                  <a:lnTo>
                    <a:pt x="166" y="293"/>
                  </a:lnTo>
                  <a:lnTo>
                    <a:pt x="164" y="291"/>
                  </a:lnTo>
                  <a:lnTo>
                    <a:pt x="164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58" y="280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6" y="275"/>
                  </a:lnTo>
                  <a:lnTo>
                    <a:pt x="156" y="272"/>
                  </a:lnTo>
                  <a:lnTo>
                    <a:pt x="156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5"/>
                  </a:lnTo>
                  <a:lnTo>
                    <a:pt x="145" y="265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5" y="262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3" y="259"/>
                  </a:lnTo>
                  <a:lnTo>
                    <a:pt x="140" y="262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3" y="259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40" y="259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49"/>
                  </a:lnTo>
                  <a:lnTo>
                    <a:pt x="143" y="249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0" y="231"/>
                  </a:lnTo>
                  <a:lnTo>
                    <a:pt x="127" y="231"/>
                  </a:lnTo>
                  <a:lnTo>
                    <a:pt x="127" y="231"/>
                  </a:lnTo>
                  <a:lnTo>
                    <a:pt x="127" y="228"/>
                  </a:lnTo>
                  <a:lnTo>
                    <a:pt x="130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2" y="226"/>
                  </a:lnTo>
                  <a:lnTo>
                    <a:pt x="132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27" y="215"/>
                  </a:lnTo>
                  <a:lnTo>
                    <a:pt x="125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30" y="205"/>
                  </a:lnTo>
                  <a:lnTo>
                    <a:pt x="130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5" y="197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5" y="189"/>
                  </a:lnTo>
                  <a:lnTo>
                    <a:pt x="127" y="187"/>
                  </a:lnTo>
                  <a:lnTo>
                    <a:pt x="127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20" y="179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2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09" y="189"/>
                  </a:lnTo>
                  <a:lnTo>
                    <a:pt x="109" y="189"/>
                  </a:lnTo>
                  <a:lnTo>
                    <a:pt x="107" y="189"/>
                  </a:lnTo>
                  <a:lnTo>
                    <a:pt x="104" y="187"/>
                  </a:lnTo>
                  <a:lnTo>
                    <a:pt x="107" y="187"/>
                  </a:lnTo>
                  <a:lnTo>
                    <a:pt x="107" y="184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9" y="174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6" y="171"/>
                  </a:lnTo>
                  <a:lnTo>
                    <a:pt x="96" y="169"/>
                  </a:lnTo>
                  <a:lnTo>
                    <a:pt x="99" y="169"/>
                  </a:lnTo>
                  <a:lnTo>
                    <a:pt x="99" y="169"/>
                  </a:lnTo>
                  <a:lnTo>
                    <a:pt x="101" y="169"/>
                  </a:lnTo>
                  <a:lnTo>
                    <a:pt x="99" y="166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1"/>
                  </a:lnTo>
                  <a:lnTo>
                    <a:pt x="99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4" y="151"/>
                  </a:lnTo>
                  <a:lnTo>
                    <a:pt x="94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4" y="145"/>
                  </a:lnTo>
                  <a:lnTo>
                    <a:pt x="91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51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3" y="153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3" y="148"/>
                  </a:lnTo>
                  <a:lnTo>
                    <a:pt x="83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6" y="153"/>
                  </a:lnTo>
                  <a:lnTo>
                    <a:pt x="73" y="153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38"/>
                  </a:lnTo>
                  <a:lnTo>
                    <a:pt x="76" y="135"/>
                  </a:lnTo>
                  <a:lnTo>
                    <a:pt x="73" y="138"/>
                  </a:lnTo>
                  <a:lnTo>
                    <a:pt x="70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5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5" y="143"/>
                  </a:lnTo>
                  <a:lnTo>
                    <a:pt x="65" y="143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8"/>
                  </a:lnTo>
                  <a:lnTo>
                    <a:pt x="55" y="138"/>
                  </a:lnTo>
                  <a:lnTo>
                    <a:pt x="55" y="140"/>
                  </a:lnTo>
                  <a:lnTo>
                    <a:pt x="55" y="140"/>
                  </a:lnTo>
                  <a:lnTo>
                    <a:pt x="52" y="13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0" y="135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5"/>
                  </a:lnTo>
                  <a:lnTo>
                    <a:pt x="39" y="145"/>
                  </a:lnTo>
                  <a:lnTo>
                    <a:pt x="37" y="145"/>
                  </a:lnTo>
                  <a:lnTo>
                    <a:pt x="37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4" y="145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7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61"/>
                  </a:lnTo>
                  <a:lnTo>
                    <a:pt x="47" y="161"/>
                  </a:lnTo>
                  <a:lnTo>
                    <a:pt x="44" y="161"/>
                  </a:lnTo>
                  <a:lnTo>
                    <a:pt x="44" y="158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39" y="161"/>
                  </a:lnTo>
                  <a:lnTo>
                    <a:pt x="39" y="158"/>
                  </a:lnTo>
                  <a:lnTo>
                    <a:pt x="37" y="161"/>
                  </a:lnTo>
                  <a:lnTo>
                    <a:pt x="37" y="161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2" y="169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6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6"/>
                  </a:lnTo>
                  <a:lnTo>
                    <a:pt x="13" y="164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3" y="156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9" y="148"/>
                  </a:lnTo>
                  <a:lnTo>
                    <a:pt x="19" y="145"/>
                  </a:lnTo>
                  <a:lnTo>
                    <a:pt x="19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1" y="130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9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3" name="Freeform 133"/>
            <p:cNvSpPr>
              <a:spLocks/>
            </p:cNvSpPr>
            <p:nvPr/>
          </p:nvSpPr>
          <p:spPr bwMode="auto">
            <a:xfrm>
              <a:off x="1100" y="3126"/>
              <a:ext cx="544" cy="576"/>
            </a:xfrm>
            <a:custGeom>
              <a:avLst/>
              <a:gdLst>
                <a:gd name="T0" fmla="*/ 29 w 544"/>
                <a:gd name="T1" fmla="*/ 73 h 576"/>
                <a:gd name="T2" fmla="*/ 65 w 544"/>
                <a:gd name="T3" fmla="*/ 57 h 576"/>
                <a:gd name="T4" fmla="*/ 88 w 544"/>
                <a:gd name="T5" fmla="*/ 29 h 576"/>
                <a:gd name="T6" fmla="*/ 122 w 544"/>
                <a:gd name="T7" fmla="*/ 8 h 576"/>
                <a:gd name="T8" fmla="*/ 156 w 544"/>
                <a:gd name="T9" fmla="*/ 24 h 576"/>
                <a:gd name="T10" fmla="*/ 174 w 544"/>
                <a:gd name="T11" fmla="*/ 37 h 576"/>
                <a:gd name="T12" fmla="*/ 195 w 544"/>
                <a:gd name="T13" fmla="*/ 62 h 576"/>
                <a:gd name="T14" fmla="*/ 200 w 544"/>
                <a:gd name="T15" fmla="*/ 34 h 576"/>
                <a:gd name="T16" fmla="*/ 233 w 544"/>
                <a:gd name="T17" fmla="*/ 39 h 576"/>
                <a:gd name="T18" fmla="*/ 257 w 544"/>
                <a:gd name="T19" fmla="*/ 44 h 576"/>
                <a:gd name="T20" fmla="*/ 264 w 544"/>
                <a:gd name="T21" fmla="*/ 11 h 576"/>
                <a:gd name="T22" fmla="*/ 285 w 544"/>
                <a:gd name="T23" fmla="*/ 34 h 576"/>
                <a:gd name="T24" fmla="*/ 337 w 544"/>
                <a:gd name="T25" fmla="*/ 34 h 576"/>
                <a:gd name="T26" fmla="*/ 345 w 544"/>
                <a:gd name="T27" fmla="*/ 42 h 576"/>
                <a:gd name="T28" fmla="*/ 360 w 544"/>
                <a:gd name="T29" fmla="*/ 68 h 576"/>
                <a:gd name="T30" fmla="*/ 384 w 544"/>
                <a:gd name="T31" fmla="*/ 99 h 576"/>
                <a:gd name="T32" fmla="*/ 386 w 544"/>
                <a:gd name="T33" fmla="*/ 140 h 576"/>
                <a:gd name="T34" fmla="*/ 409 w 544"/>
                <a:gd name="T35" fmla="*/ 182 h 576"/>
                <a:gd name="T36" fmla="*/ 441 w 544"/>
                <a:gd name="T37" fmla="*/ 213 h 576"/>
                <a:gd name="T38" fmla="*/ 469 w 544"/>
                <a:gd name="T39" fmla="*/ 249 h 576"/>
                <a:gd name="T40" fmla="*/ 516 w 544"/>
                <a:gd name="T41" fmla="*/ 280 h 576"/>
                <a:gd name="T42" fmla="*/ 541 w 544"/>
                <a:gd name="T43" fmla="*/ 322 h 576"/>
                <a:gd name="T44" fmla="*/ 534 w 544"/>
                <a:gd name="T45" fmla="*/ 355 h 576"/>
                <a:gd name="T46" fmla="*/ 500 w 544"/>
                <a:gd name="T47" fmla="*/ 358 h 576"/>
                <a:gd name="T48" fmla="*/ 430 w 544"/>
                <a:gd name="T49" fmla="*/ 423 h 576"/>
                <a:gd name="T50" fmla="*/ 446 w 544"/>
                <a:gd name="T51" fmla="*/ 485 h 576"/>
                <a:gd name="T52" fmla="*/ 456 w 544"/>
                <a:gd name="T53" fmla="*/ 524 h 576"/>
                <a:gd name="T54" fmla="*/ 425 w 544"/>
                <a:gd name="T55" fmla="*/ 524 h 576"/>
                <a:gd name="T56" fmla="*/ 391 w 544"/>
                <a:gd name="T57" fmla="*/ 511 h 576"/>
                <a:gd name="T58" fmla="*/ 360 w 544"/>
                <a:gd name="T59" fmla="*/ 516 h 576"/>
                <a:gd name="T60" fmla="*/ 296 w 544"/>
                <a:gd name="T61" fmla="*/ 521 h 576"/>
                <a:gd name="T62" fmla="*/ 259 w 544"/>
                <a:gd name="T63" fmla="*/ 550 h 576"/>
                <a:gd name="T64" fmla="*/ 218 w 544"/>
                <a:gd name="T65" fmla="*/ 540 h 576"/>
                <a:gd name="T66" fmla="*/ 179 w 544"/>
                <a:gd name="T67" fmla="*/ 529 h 576"/>
                <a:gd name="T68" fmla="*/ 169 w 544"/>
                <a:gd name="T69" fmla="*/ 547 h 576"/>
                <a:gd name="T70" fmla="*/ 140 w 544"/>
                <a:gd name="T71" fmla="*/ 558 h 576"/>
                <a:gd name="T72" fmla="*/ 117 w 544"/>
                <a:gd name="T73" fmla="*/ 537 h 576"/>
                <a:gd name="T74" fmla="*/ 88 w 544"/>
                <a:gd name="T75" fmla="*/ 521 h 576"/>
                <a:gd name="T76" fmla="*/ 78 w 544"/>
                <a:gd name="T77" fmla="*/ 516 h 576"/>
                <a:gd name="T78" fmla="*/ 120 w 544"/>
                <a:gd name="T79" fmla="*/ 506 h 576"/>
                <a:gd name="T80" fmla="*/ 122 w 544"/>
                <a:gd name="T81" fmla="*/ 485 h 576"/>
                <a:gd name="T82" fmla="*/ 127 w 544"/>
                <a:gd name="T83" fmla="*/ 462 h 576"/>
                <a:gd name="T84" fmla="*/ 122 w 544"/>
                <a:gd name="T85" fmla="*/ 402 h 576"/>
                <a:gd name="T86" fmla="*/ 127 w 544"/>
                <a:gd name="T87" fmla="*/ 368 h 576"/>
                <a:gd name="T88" fmla="*/ 148 w 544"/>
                <a:gd name="T89" fmla="*/ 345 h 576"/>
                <a:gd name="T90" fmla="*/ 145 w 544"/>
                <a:gd name="T91" fmla="*/ 327 h 576"/>
                <a:gd name="T92" fmla="*/ 161 w 544"/>
                <a:gd name="T93" fmla="*/ 332 h 576"/>
                <a:gd name="T94" fmla="*/ 161 w 544"/>
                <a:gd name="T95" fmla="*/ 317 h 576"/>
                <a:gd name="T96" fmla="*/ 166 w 544"/>
                <a:gd name="T97" fmla="*/ 298 h 576"/>
                <a:gd name="T98" fmla="*/ 158 w 544"/>
                <a:gd name="T99" fmla="*/ 278 h 576"/>
                <a:gd name="T100" fmla="*/ 143 w 544"/>
                <a:gd name="T101" fmla="*/ 265 h 576"/>
                <a:gd name="T102" fmla="*/ 140 w 544"/>
                <a:gd name="T103" fmla="*/ 252 h 576"/>
                <a:gd name="T104" fmla="*/ 130 w 544"/>
                <a:gd name="T105" fmla="*/ 239 h 576"/>
                <a:gd name="T106" fmla="*/ 130 w 544"/>
                <a:gd name="T107" fmla="*/ 218 h 576"/>
                <a:gd name="T108" fmla="*/ 127 w 544"/>
                <a:gd name="T109" fmla="*/ 187 h 576"/>
                <a:gd name="T110" fmla="*/ 104 w 544"/>
                <a:gd name="T111" fmla="*/ 187 h 576"/>
                <a:gd name="T112" fmla="*/ 96 w 544"/>
                <a:gd name="T113" fmla="*/ 158 h 576"/>
                <a:gd name="T114" fmla="*/ 73 w 544"/>
                <a:gd name="T115" fmla="*/ 153 h 576"/>
                <a:gd name="T116" fmla="*/ 60 w 544"/>
                <a:gd name="T117" fmla="*/ 135 h 576"/>
                <a:gd name="T118" fmla="*/ 47 w 544"/>
                <a:gd name="T119" fmla="*/ 145 h 576"/>
                <a:gd name="T120" fmla="*/ 34 w 544"/>
                <a:gd name="T121" fmla="*/ 166 h 576"/>
                <a:gd name="T122" fmla="*/ 16 w 544"/>
                <a:gd name="T123" fmla="*/ 138 h 576"/>
                <a:gd name="T124" fmla="*/ 6 w 544"/>
                <a:gd name="T125" fmla="*/ 107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576">
                  <a:moveTo>
                    <a:pt x="0" y="91"/>
                  </a:moveTo>
                  <a:lnTo>
                    <a:pt x="0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1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3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4" y="75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8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7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8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3"/>
                  </a:lnTo>
                  <a:lnTo>
                    <a:pt x="63" y="73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2"/>
                  </a:lnTo>
                  <a:lnTo>
                    <a:pt x="60" y="60"/>
                  </a:lnTo>
                  <a:lnTo>
                    <a:pt x="57" y="57"/>
                  </a:lnTo>
                  <a:lnTo>
                    <a:pt x="60" y="55"/>
                  </a:lnTo>
                  <a:lnTo>
                    <a:pt x="60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6" y="47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4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4" y="21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0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5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3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3" y="13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21"/>
                  </a:lnTo>
                  <a:lnTo>
                    <a:pt x="156" y="21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1" y="31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71" y="34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9" y="37"/>
                  </a:lnTo>
                  <a:lnTo>
                    <a:pt x="169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4" y="39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9"/>
                  </a:lnTo>
                  <a:lnTo>
                    <a:pt x="176" y="39"/>
                  </a:lnTo>
                  <a:lnTo>
                    <a:pt x="179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2" y="52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2" y="57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92" y="60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7" y="62"/>
                  </a:lnTo>
                  <a:lnTo>
                    <a:pt x="197" y="60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197" y="55"/>
                  </a:lnTo>
                  <a:lnTo>
                    <a:pt x="197" y="55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5" y="55"/>
                  </a:lnTo>
                  <a:lnTo>
                    <a:pt x="205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10" y="55"/>
                  </a:lnTo>
                  <a:lnTo>
                    <a:pt x="210" y="55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08" y="52"/>
                  </a:lnTo>
                  <a:lnTo>
                    <a:pt x="208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7"/>
                  </a:lnTo>
                  <a:lnTo>
                    <a:pt x="202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4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7" y="37"/>
                  </a:lnTo>
                  <a:lnTo>
                    <a:pt x="200" y="37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5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3" y="39"/>
                  </a:lnTo>
                  <a:lnTo>
                    <a:pt x="236" y="39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4" y="39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9"/>
                  </a:lnTo>
                  <a:lnTo>
                    <a:pt x="244" y="49"/>
                  </a:lnTo>
                  <a:lnTo>
                    <a:pt x="246" y="49"/>
                  </a:lnTo>
                  <a:lnTo>
                    <a:pt x="246" y="49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9" y="52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52" y="49"/>
                  </a:lnTo>
                  <a:lnTo>
                    <a:pt x="252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7"/>
                  </a:lnTo>
                  <a:lnTo>
                    <a:pt x="257" y="37"/>
                  </a:lnTo>
                  <a:lnTo>
                    <a:pt x="257" y="34"/>
                  </a:lnTo>
                  <a:lnTo>
                    <a:pt x="257" y="34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29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4"/>
                  </a:lnTo>
                  <a:lnTo>
                    <a:pt x="254" y="24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7" y="16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8"/>
                  </a:lnTo>
                  <a:lnTo>
                    <a:pt x="264" y="8"/>
                  </a:lnTo>
                  <a:lnTo>
                    <a:pt x="267" y="8"/>
                  </a:lnTo>
                  <a:lnTo>
                    <a:pt x="272" y="8"/>
                  </a:lnTo>
                  <a:lnTo>
                    <a:pt x="272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6"/>
                  </a:lnTo>
                  <a:lnTo>
                    <a:pt x="275" y="16"/>
                  </a:lnTo>
                  <a:lnTo>
                    <a:pt x="275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5" y="31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31"/>
                  </a:lnTo>
                  <a:lnTo>
                    <a:pt x="290" y="29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8" y="31"/>
                  </a:lnTo>
                  <a:lnTo>
                    <a:pt x="301" y="31"/>
                  </a:lnTo>
                  <a:lnTo>
                    <a:pt x="303" y="31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6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4" y="29"/>
                  </a:lnTo>
                  <a:lnTo>
                    <a:pt x="327" y="26"/>
                  </a:lnTo>
                  <a:lnTo>
                    <a:pt x="327" y="26"/>
                  </a:lnTo>
                  <a:lnTo>
                    <a:pt x="329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2" y="29"/>
                  </a:lnTo>
                  <a:lnTo>
                    <a:pt x="332" y="29"/>
                  </a:lnTo>
                  <a:lnTo>
                    <a:pt x="334" y="29"/>
                  </a:lnTo>
                  <a:lnTo>
                    <a:pt x="334" y="31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9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2" y="39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50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53" y="44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5" y="52"/>
                  </a:lnTo>
                  <a:lnTo>
                    <a:pt x="355" y="52"/>
                  </a:lnTo>
                  <a:lnTo>
                    <a:pt x="353" y="52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7"/>
                  </a:lnTo>
                  <a:lnTo>
                    <a:pt x="353" y="57"/>
                  </a:lnTo>
                  <a:lnTo>
                    <a:pt x="353" y="60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5"/>
                  </a:lnTo>
                  <a:lnTo>
                    <a:pt x="358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3" y="70"/>
                  </a:lnTo>
                  <a:lnTo>
                    <a:pt x="363" y="70"/>
                  </a:lnTo>
                  <a:lnTo>
                    <a:pt x="363" y="73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8"/>
                  </a:lnTo>
                  <a:lnTo>
                    <a:pt x="368" y="91"/>
                  </a:lnTo>
                  <a:lnTo>
                    <a:pt x="368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8" y="94"/>
                  </a:lnTo>
                  <a:lnTo>
                    <a:pt x="378" y="94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9" y="101"/>
                  </a:lnTo>
                  <a:lnTo>
                    <a:pt x="389" y="99"/>
                  </a:lnTo>
                  <a:lnTo>
                    <a:pt x="391" y="99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7"/>
                  </a:lnTo>
                  <a:lnTo>
                    <a:pt x="391" y="107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4" y="112"/>
                  </a:lnTo>
                  <a:lnTo>
                    <a:pt x="394" y="112"/>
                  </a:lnTo>
                  <a:lnTo>
                    <a:pt x="397" y="112"/>
                  </a:lnTo>
                  <a:lnTo>
                    <a:pt x="399" y="112"/>
                  </a:lnTo>
                  <a:lnTo>
                    <a:pt x="399" y="114"/>
                  </a:lnTo>
                  <a:lnTo>
                    <a:pt x="399" y="114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397" y="119"/>
                  </a:lnTo>
                  <a:lnTo>
                    <a:pt x="397" y="122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1" y="127"/>
                  </a:lnTo>
                  <a:lnTo>
                    <a:pt x="391" y="127"/>
                  </a:lnTo>
                  <a:lnTo>
                    <a:pt x="391" y="130"/>
                  </a:lnTo>
                  <a:lnTo>
                    <a:pt x="391" y="132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89" y="138"/>
                  </a:lnTo>
                  <a:lnTo>
                    <a:pt x="386" y="138"/>
                  </a:lnTo>
                  <a:lnTo>
                    <a:pt x="386" y="140"/>
                  </a:lnTo>
                  <a:lnTo>
                    <a:pt x="384" y="140"/>
                  </a:lnTo>
                  <a:lnTo>
                    <a:pt x="384" y="140"/>
                  </a:lnTo>
                  <a:lnTo>
                    <a:pt x="384" y="143"/>
                  </a:lnTo>
                  <a:lnTo>
                    <a:pt x="384" y="143"/>
                  </a:lnTo>
                  <a:lnTo>
                    <a:pt x="384" y="145"/>
                  </a:lnTo>
                  <a:lnTo>
                    <a:pt x="384" y="145"/>
                  </a:lnTo>
                  <a:lnTo>
                    <a:pt x="386" y="145"/>
                  </a:lnTo>
                  <a:lnTo>
                    <a:pt x="386" y="145"/>
                  </a:lnTo>
                  <a:lnTo>
                    <a:pt x="386" y="148"/>
                  </a:lnTo>
                  <a:lnTo>
                    <a:pt x="389" y="151"/>
                  </a:lnTo>
                  <a:lnTo>
                    <a:pt x="389" y="151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4" y="153"/>
                  </a:lnTo>
                  <a:lnTo>
                    <a:pt x="394" y="153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8"/>
                  </a:lnTo>
                  <a:lnTo>
                    <a:pt x="397" y="161"/>
                  </a:lnTo>
                  <a:lnTo>
                    <a:pt x="397" y="161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9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9" y="166"/>
                  </a:lnTo>
                  <a:lnTo>
                    <a:pt x="399" y="166"/>
                  </a:lnTo>
                  <a:lnTo>
                    <a:pt x="402" y="164"/>
                  </a:lnTo>
                  <a:lnTo>
                    <a:pt x="402" y="166"/>
                  </a:lnTo>
                  <a:lnTo>
                    <a:pt x="402" y="169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2" y="174"/>
                  </a:lnTo>
                  <a:lnTo>
                    <a:pt x="402" y="174"/>
                  </a:lnTo>
                  <a:lnTo>
                    <a:pt x="402" y="177"/>
                  </a:lnTo>
                  <a:lnTo>
                    <a:pt x="404" y="177"/>
                  </a:lnTo>
                  <a:lnTo>
                    <a:pt x="404" y="179"/>
                  </a:lnTo>
                  <a:lnTo>
                    <a:pt x="407" y="182"/>
                  </a:lnTo>
                  <a:lnTo>
                    <a:pt x="407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92"/>
                  </a:lnTo>
                  <a:lnTo>
                    <a:pt x="412" y="192"/>
                  </a:lnTo>
                  <a:lnTo>
                    <a:pt x="412" y="192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2" y="197"/>
                  </a:lnTo>
                  <a:lnTo>
                    <a:pt x="412" y="197"/>
                  </a:lnTo>
                  <a:lnTo>
                    <a:pt x="412" y="200"/>
                  </a:lnTo>
                  <a:lnTo>
                    <a:pt x="415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2"/>
                  </a:lnTo>
                  <a:lnTo>
                    <a:pt x="420" y="202"/>
                  </a:lnTo>
                  <a:lnTo>
                    <a:pt x="422" y="202"/>
                  </a:lnTo>
                  <a:lnTo>
                    <a:pt x="422" y="205"/>
                  </a:lnTo>
                  <a:lnTo>
                    <a:pt x="422" y="205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5" y="210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8" y="213"/>
                  </a:lnTo>
                  <a:lnTo>
                    <a:pt x="428" y="213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5" y="215"/>
                  </a:lnTo>
                  <a:lnTo>
                    <a:pt x="438" y="215"/>
                  </a:lnTo>
                  <a:lnTo>
                    <a:pt x="435" y="215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41" y="213"/>
                  </a:lnTo>
                  <a:lnTo>
                    <a:pt x="443" y="215"/>
                  </a:lnTo>
                  <a:lnTo>
                    <a:pt x="443" y="215"/>
                  </a:lnTo>
                  <a:lnTo>
                    <a:pt x="446" y="215"/>
                  </a:lnTo>
                  <a:lnTo>
                    <a:pt x="448" y="218"/>
                  </a:lnTo>
                  <a:lnTo>
                    <a:pt x="448" y="218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3" y="221"/>
                  </a:lnTo>
                  <a:lnTo>
                    <a:pt x="453" y="221"/>
                  </a:lnTo>
                  <a:lnTo>
                    <a:pt x="453" y="223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4" y="236"/>
                  </a:lnTo>
                  <a:lnTo>
                    <a:pt x="464" y="236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4" y="239"/>
                  </a:lnTo>
                  <a:lnTo>
                    <a:pt x="464" y="239"/>
                  </a:lnTo>
                  <a:lnTo>
                    <a:pt x="464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6" y="244"/>
                  </a:lnTo>
                  <a:lnTo>
                    <a:pt x="469" y="244"/>
                  </a:lnTo>
                  <a:lnTo>
                    <a:pt x="469" y="247"/>
                  </a:lnTo>
                  <a:lnTo>
                    <a:pt x="469" y="247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72" y="252"/>
                  </a:lnTo>
                  <a:lnTo>
                    <a:pt x="474" y="252"/>
                  </a:lnTo>
                  <a:lnTo>
                    <a:pt x="474" y="254"/>
                  </a:lnTo>
                  <a:lnTo>
                    <a:pt x="477" y="254"/>
                  </a:lnTo>
                  <a:lnTo>
                    <a:pt x="479" y="254"/>
                  </a:lnTo>
                  <a:lnTo>
                    <a:pt x="479" y="252"/>
                  </a:lnTo>
                  <a:lnTo>
                    <a:pt x="482" y="252"/>
                  </a:lnTo>
                  <a:lnTo>
                    <a:pt x="482" y="254"/>
                  </a:lnTo>
                  <a:lnTo>
                    <a:pt x="485" y="257"/>
                  </a:lnTo>
                  <a:lnTo>
                    <a:pt x="487" y="257"/>
                  </a:lnTo>
                  <a:lnTo>
                    <a:pt x="490" y="259"/>
                  </a:lnTo>
                  <a:lnTo>
                    <a:pt x="490" y="259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2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70"/>
                  </a:lnTo>
                  <a:lnTo>
                    <a:pt x="495" y="270"/>
                  </a:lnTo>
                  <a:lnTo>
                    <a:pt x="495" y="272"/>
                  </a:lnTo>
                  <a:lnTo>
                    <a:pt x="495" y="272"/>
                  </a:lnTo>
                  <a:lnTo>
                    <a:pt x="495" y="275"/>
                  </a:lnTo>
                  <a:lnTo>
                    <a:pt x="495" y="275"/>
                  </a:lnTo>
                  <a:lnTo>
                    <a:pt x="495" y="278"/>
                  </a:lnTo>
                  <a:lnTo>
                    <a:pt x="497" y="278"/>
                  </a:lnTo>
                  <a:lnTo>
                    <a:pt x="497" y="280"/>
                  </a:lnTo>
                  <a:lnTo>
                    <a:pt x="500" y="280"/>
                  </a:lnTo>
                  <a:lnTo>
                    <a:pt x="503" y="283"/>
                  </a:lnTo>
                  <a:lnTo>
                    <a:pt x="505" y="283"/>
                  </a:lnTo>
                  <a:lnTo>
                    <a:pt x="508" y="283"/>
                  </a:lnTo>
                  <a:lnTo>
                    <a:pt x="508" y="283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10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3"/>
                  </a:lnTo>
                  <a:lnTo>
                    <a:pt x="516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21" y="283"/>
                  </a:lnTo>
                  <a:lnTo>
                    <a:pt x="521" y="285"/>
                  </a:lnTo>
                  <a:lnTo>
                    <a:pt x="521" y="285"/>
                  </a:lnTo>
                  <a:lnTo>
                    <a:pt x="521" y="288"/>
                  </a:lnTo>
                  <a:lnTo>
                    <a:pt x="521" y="291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9" y="296"/>
                  </a:lnTo>
                  <a:lnTo>
                    <a:pt x="531" y="293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4" y="296"/>
                  </a:lnTo>
                  <a:lnTo>
                    <a:pt x="534" y="298"/>
                  </a:lnTo>
                  <a:lnTo>
                    <a:pt x="534" y="301"/>
                  </a:lnTo>
                  <a:lnTo>
                    <a:pt x="536" y="304"/>
                  </a:lnTo>
                  <a:lnTo>
                    <a:pt x="539" y="304"/>
                  </a:lnTo>
                  <a:lnTo>
                    <a:pt x="539" y="306"/>
                  </a:lnTo>
                  <a:lnTo>
                    <a:pt x="541" y="309"/>
                  </a:lnTo>
                  <a:lnTo>
                    <a:pt x="541" y="311"/>
                  </a:lnTo>
                  <a:lnTo>
                    <a:pt x="541" y="311"/>
                  </a:lnTo>
                  <a:lnTo>
                    <a:pt x="539" y="311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4" y="314"/>
                  </a:lnTo>
                  <a:lnTo>
                    <a:pt x="544" y="317"/>
                  </a:lnTo>
                  <a:lnTo>
                    <a:pt x="544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9"/>
                  </a:lnTo>
                  <a:lnTo>
                    <a:pt x="541" y="319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32"/>
                  </a:lnTo>
                  <a:lnTo>
                    <a:pt x="541" y="332"/>
                  </a:lnTo>
                  <a:lnTo>
                    <a:pt x="541" y="335"/>
                  </a:lnTo>
                  <a:lnTo>
                    <a:pt x="541" y="337"/>
                  </a:lnTo>
                  <a:lnTo>
                    <a:pt x="541" y="337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2"/>
                  </a:lnTo>
                  <a:lnTo>
                    <a:pt x="541" y="342"/>
                  </a:lnTo>
                  <a:lnTo>
                    <a:pt x="539" y="345"/>
                  </a:lnTo>
                  <a:lnTo>
                    <a:pt x="539" y="345"/>
                  </a:lnTo>
                  <a:lnTo>
                    <a:pt x="539" y="348"/>
                  </a:lnTo>
                  <a:lnTo>
                    <a:pt x="539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31" y="361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55"/>
                  </a:lnTo>
                  <a:lnTo>
                    <a:pt x="523" y="355"/>
                  </a:lnTo>
                  <a:lnTo>
                    <a:pt x="523" y="353"/>
                  </a:lnTo>
                  <a:lnTo>
                    <a:pt x="523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18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0" y="350"/>
                  </a:lnTo>
                  <a:lnTo>
                    <a:pt x="510" y="348"/>
                  </a:lnTo>
                  <a:lnTo>
                    <a:pt x="508" y="348"/>
                  </a:lnTo>
                  <a:lnTo>
                    <a:pt x="508" y="345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3" y="350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497" y="353"/>
                  </a:lnTo>
                  <a:lnTo>
                    <a:pt x="497" y="353"/>
                  </a:lnTo>
                  <a:lnTo>
                    <a:pt x="500" y="353"/>
                  </a:lnTo>
                  <a:lnTo>
                    <a:pt x="500" y="353"/>
                  </a:lnTo>
                  <a:lnTo>
                    <a:pt x="500" y="355"/>
                  </a:lnTo>
                  <a:lnTo>
                    <a:pt x="500" y="355"/>
                  </a:lnTo>
                  <a:lnTo>
                    <a:pt x="500" y="358"/>
                  </a:lnTo>
                  <a:lnTo>
                    <a:pt x="500" y="358"/>
                  </a:lnTo>
                  <a:lnTo>
                    <a:pt x="500" y="361"/>
                  </a:lnTo>
                  <a:lnTo>
                    <a:pt x="500" y="363"/>
                  </a:lnTo>
                  <a:lnTo>
                    <a:pt x="500" y="366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71"/>
                  </a:lnTo>
                  <a:lnTo>
                    <a:pt x="500" y="371"/>
                  </a:lnTo>
                  <a:lnTo>
                    <a:pt x="500" y="374"/>
                  </a:lnTo>
                  <a:lnTo>
                    <a:pt x="497" y="376"/>
                  </a:lnTo>
                  <a:lnTo>
                    <a:pt x="497" y="376"/>
                  </a:lnTo>
                  <a:lnTo>
                    <a:pt x="497" y="379"/>
                  </a:lnTo>
                  <a:lnTo>
                    <a:pt x="497" y="381"/>
                  </a:lnTo>
                  <a:lnTo>
                    <a:pt x="497" y="384"/>
                  </a:lnTo>
                  <a:lnTo>
                    <a:pt x="495" y="384"/>
                  </a:lnTo>
                  <a:lnTo>
                    <a:pt x="492" y="387"/>
                  </a:lnTo>
                  <a:lnTo>
                    <a:pt x="487" y="392"/>
                  </a:lnTo>
                  <a:lnTo>
                    <a:pt x="485" y="394"/>
                  </a:lnTo>
                  <a:lnTo>
                    <a:pt x="482" y="394"/>
                  </a:lnTo>
                  <a:lnTo>
                    <a:pt x="479" y="397"/>
                  </a:lnTo>
                  <a:lnTo>
                    <a:pt x="477" y="397"/>
                  </a:lnTo>
                  <a:lnTo>
                    <a:pt x="474" y="397"/>
                  </a:lnTo>
                  <a:lnTo>
                    <a:pt x="469" y="397"/>
                  </a:lnTo>
                  <a:lnTo>
                    <a:pt x="466" y="400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1" y="400"/>
                  </a:lnTo>
                  <a:lnTo>
                    <a:pt x="461" y="400"/>
                  </a:lnTo>
                  <a:lnTo>
                    <a:pt x="459" y="400"/>
                  </a:lnTo>
                  <a:lnTo>
                    <a:pt x="456" y="402"/>
                  </a:lnTo>
                  <a:lnTo>
                    <a:pt x="453" y="402"/>
                  </a:lnTo>
                  <a:lnTo>
                    <a:pt x="453" y="402"/>
                  </a:lnTo>
                  <a:lnTo>
                    <a:pt x="451" y="405"/>
                  </a:lnTo>
                  <a:lnTo>
                    <a:pt x="451" y="407"/>
                  </a:lnTo>
                  <a:lnTo>
                    <a:pt x="448" y="407"/>
                  </a:lnTo>
                  <a:lnTo>
                    <a:pt x="448" y="410"/>
                  </a:lnTo>
                  <a:lnTo>
                    <a:pt x="443" y="412"/>
                  </a:lnTo>
                  <a:lnTo>
                    <a:pt x="443" y="412"/>
                  </a:lnTo>
                  <a:lnTo>
                    <a:pt x="441" y="412"/>
                  </a:lnTo>
                  <a:lnTo>
                    <a:pt x="438" y="412"/>
                  </a:lnTo>
                  <a:lnTo>
                    <a:pt x="435" y="412"/>
                  </a:lnTo>
                  <a:lnTo>
                    <a:pt x="435" y="415"/>
                  </a:lnTo>
                  <a:lnTo>
                    <a:pt x="435" y="418"/>
                  </a:lnTo>
                  <a:lnTo>
                    <a:pt x="435" y="418"/>
                  </a:lnTo>
                  <a:lnTo>
                    <a:pt x="433" y="420"/>
                  </a:lnTo>
                  <a:lnTo>
                    <a:pt x="433" y="420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28" y="423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8"/>
                  </a:lnTo>
                  <a:lnTo>
                    <a:pt x="425" y="428"/>
                  </a:lnTo>
                  <a:lnTo>
                    <a:pt x="425" y="425"/>
                  </a:lnTo>
                  <a:lnTo>
                    <a:pt x="425" y="425"/>
                  </a:lnTo>
                  <a:lnTo>
                    <a:pt x="425" y="428"/>
                  </a:lnTo>
                  <a:lnTo>
                    <a:pt x="422" y="428"/>
                  </a:lnTo>
                  <a:lnTo>
                    <a:pt x="422" y="428"/>
                  </a:lnTo>
                  <a:lnTo>
                    <a:pt x="422" y="431"/>
                  </a:lnTo>
                  <a:lnTo>
                    <a:pt x="422" y="431"/>
                  </a:lnTo>
                  <a:lnTo>
                    <a:pt x="422" y="433"/>
                  </a:lnTo>
                  <a:lnTo>
                    <a:pt x="422" y="436"/>
                  </a:lnTo>
                  <a:lnTo>
                    <a:pt x="425" y="438"/>
                  </a:lnTo>
                  <a:lnTo>
                    <a:pt x="428" y="438"/>
                  </a:lnTo>
                  <a:lnTo>
                    <a:pt x="430" y="444"/>
                  </a:lnTo>
                  <a:lnTo>
                    <a:pt x="433" y="444"/>
                  </a:lnTo>
                  <a:lnTo>
                    <a:pt x="435" y="446"/>
                  </a:lnTo>
                  <a:lnTo>
                    <a:pt x="435" y="451"/>
                  </a:lnTo>
                  <a:lnTo>
                    <a:pt x="435" y="451"/>
                  </a:lnTo>
                  <a:lnTo>
                    <a:pt x="435" y="454"/>
                  </a:lnTo>
                  <a:lnTo>
                    <a:pt x="435" y="457"/>
                  </a:lnTo>
                  <a:lnTo>
                    <a:pt x="438" y="457"/>
                  </a:lnTo>
                  <a:lnTo>
                    <a:pt x="438" y="457"/>
                  </a:lnTo>
                  <a:lnTo>
                    <a:pt x="441" y="457"/>
                  </a:lnTo>
                  <a:lnTo>
                    <a:pt x="441" y="457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3" y="459"/>
                  </a:lnTo>
                  <a:lnTo>
                    <a:pt x="443" y="459"/>
                  </a:lnTo>
                  <a:lnTo>
                    <a:pt x="443" y="462"/>
                  </a:lnTo>
                  <a:lnTo>
                    <a:pt x="443" y="462"/>
                  </a:lnTo>
                  <a:lnTo>
                    <a:pt x="446" y="464"/>
                  </a:lnTo>
                  <a:lnTo>
                    <a:pt x="446" y="467"/>
                  </a:lnTo>
                  <a:lnTo>
                    <a:pt x="446" y="470"/>
                  </a:lnTo>
                  <a:lnTo>
                    <a:pt x="448" y="472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48" y="477"/>
                  </a:lnTo>
                  <a:lnTo>
                    <a:pt x="448" y="480"/>
                  </a:lnTo>
                  <a:lnTo>
                    <a:pt x="446" y="482"/>
                  </a:lnTo>
                  <a:lnTo>
                    <a:pt x="446" y="482"/>
                  </a:lnTo>
                  <a:lnTo>
                    <a:pt x="446" y="485"/>
                  </a:lnTo>
                  <a:lnTo>
                    <a:pt x="443" y="488"/>
                  </a:lnTo>
                  <a:lnTo>
                    <a:pt x="441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3"/>
                  </a:lnTo>
                  <a:lnTo>
                    <a:pt x="441" y="493"/>
                  </a:lnTo>
                  <a:lnTo>
                    <a:pt x="441" y="493"/>
                  </a:lnTo>
                  <a:lnTo>
                    <a:pt x="441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41" y="498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46" y="498"/>
                  </a:lnTo>
                  <a:lnTo>
                    <a:pt x="446" y="501"/>
                  </a:lnTo>
                  <a:lnTo>
                    <a:pt x="446" y="501"/>
                  </a:lnTo>
                  <a:lnTo>
                    <a:pt x="448" y="501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51" y="498"/>
                  </a:lnTo>
                  <a:lnTo>
                    <a:pt x="451" y="498"/>
                  </a:lnTo>
                  <a:lnTo>
                    <a:pt x="453" y="498"/>
                  </a:lnTo>
                  <a:lnTo>
                    <a:pt x="453" y="498"/>
                  </a:lnTo>
                  <a:lnTo>
                    <a:pt x="456" y="501"/>
                  </a:lnTo>
                  <a:lnTo>
                    <a:pt x="456" y="503"/>
                  </a:lnTo>
                  <a:lnTo>
                    <a:pt x="456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6"/>
                  </a:lnTo>
                  <a:lnTo>
                    <a:pt x="459" y="506"/>
                  </a:lnTo>
                  <a:lnTo>
                    <a:pt x="459" y="508"/>
                  </a:lnTo>
                  <a:lnTo>
                    <a:pt x="459" y="508"/>
                  </a:lnTo>
                  <a:lnTo>
                    <a:pt x="459" y="511"/>
                  </a:lnTo>
                  <a:lnTo>
                    <a:pt x="461" y="511"/>
                  </a:lnTo>
                  <a:lnTo>
                    <a:pt x="461" y="511"/>
                  </a:lnTo>
                  <a:lnTo>
                    <a:pt x="461" y="514"/>
                  </a:lnTo>
                  <a:lnTo>
                    <a:pt x="459" y="516"/>
                  </a:lnTo>
                  <a:lnTo>
                    <a:pt x="459" y="519"/>
                  </a:lnTo>
                  <a:lnTo>
                    <a:pt x="456" y="519"/>
                  </a:lnTo>
                  <a:lnTo>
                    <a:pt x="459" y="519"/>
                  </a:lnTo>
                  <a:lnTo>
                    <a:pt x="459" y="519"/>
                  </a:lnTo>
                  <a:lnTo>
                    <a:pt x="459" y="521"/>
                  </a:lnTo>
                  <a:lnTo>
                    <a:pt x="456" y="521"/>
                  </a:lnTo>
                  <a:lnTo>
                    <a:pt x="456" y="521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7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32"/>
                  </a:lnTo>
                  <a:lnTo>
                    <a:pt x="456" y="534"/>
                  </a:lnTo>
                  <a:lnTo>
                    <a:pt x="456" y="537"/>
                  </a:lnTo>
                  <a:lnTo>
                    <a:pt x="453" y="537"/>
                  </a:lnTo>
                  <a:lnTo>
                    <a:pt x="453" y="537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1" y="540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48" y="542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3" y="540"/>
                  </a:lnTo>
                  <a:lnTo>
                    <a:pt x="441" y="537"/>
                  </a:lnTo>
                  <a:lnTo>
                    <a:pt x="438" y="534"/>
                  </a:lnTo>
                  <a:lnTo>
                    <a:pt x="438" y="534"/>
                  </a:lnTo>
                  <a:lnTo>
                    <a:pt x="435" y="534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3" y="532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7"/>
                  </a:lnTo>
                  <a:lnTo>
                    <a:pt x="433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5" y="524"/>
                  </a:lnTo>
                  <a:lnTo>
                    <a:pt x="425" y="524"/>
                  </a:lnTo>
                  <a:lnTo>
                    <a:pt x="425" y="521"/>
                  </a:lnTo>
                  <a:lnTo>
                    <a:pt x="425" y="521"/>
                  </a:lnTo>
                  <a:lnTo>
                    <a:pt x="428" y="519"/>
                  </a:lnTo>
                  <a:lnTo>
                    <a:pt x="428" y="519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30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5" y="514"/>
                  </a:lnTo>
                  <a:lnTo>
                    <a:pt x="425" y="511"/>
                  </a:lnTo>
                  <a:lnTo>
                    <a:pt x="422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2" y="506"/>
                  </a:lnTo>
                  <a:lnTo>
                    <a:pt x="422" y="506"/>
                  </a:lnTo>
                  <a:lnTo>
                    <a:pt x="420" y="503"/>
                  </a:lnTo>
                  <a:lnTo>
                    <a:pt x="420" y="503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5" y="506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2" y="503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7" y="506"/>
                  </a:lnTo>
                  <a:lnTo>
                    <a:pt x="404" y="506"/>
                  </a:lnTo>
                  <a:lnTo>
                    <a:pt x="407" y="506"/>
                  </a:lnTo>
                  <a:lnTo>
                    <a:pt x="407" y="506"/>
                  </a:lnTo>
                  <a:lnTo>
                    <a:pt x="404" y="508"/>
                  </a:lnTo>
                  <a:lnTo>
                    <a:pt x="404" y="511"/>
                  </a:lnTo>
                  <a:lnTo>
                    <a:pt x="402" y="511"/>
                  </a:lnTo>
                  <a:lnTo>
                    <a:pt x="402" y="511"/>
                  </a:lnTo>
                  <a:lnTo>
                    <a:pt x="399" y="511"/>
                  </a:lnTo>
                  <a:lnTo>
                    <a:pt x="399" y="511"/>
                  </a:lnTo>
                  <a:lnTo>
                    <a:pt x="397" y="514"/>
                  </a:lnTo>
                  <a:lnTo>
                    <a:pt x="397" y="514"/>
                  </a:lnTo>
                  <a:lnTo>
                    <a:pt x="394" y="514"/>
                  </a:lnTo>
                  <a:lnTo>
                    <a:pt x="394" y="514"/>
                  </a:lnTo>
                  <a:lnTo>
                    <a:pt x="391" y="511"/>
                  </a:lnTo>
                  <a:lnTo>
                    <a:pt x="391" y="511"/>
                  </a:lnTo>
                  <a:lnTo>
                    <a:pt x="391" y="508"/>
                  </a:lnTo>
                  <a:lnTo>
                    <a:pt x="389" y="508"/>
                  </a:lnTo>
                  <a:lnTo>
                    <a:pt x="389" y="506"/>
                  </a:lnTo>
                  <a:lnTo>
                    <a:pt x="389" y="503"/>
                  </a:lnTo>
                  <a:lnTo>
                    <a:pt x="389" y="503"/>
                  </a:lnTo>
                  <a:lnTo>
                    <a:pt x="389" y="501"/>
                  </a:lnTo>
                  <a:lnTo>
                    <a:pt x="386" y="501"/>
                  </a:lnTo>
                  <a:lnTo>
                    <a:pt x="384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78" y="503"/>
                  </a:lnTo>
                  <a:lnTo>
                    <a:pt x="378" y="503"/>
                  </a:lnTo>
                  <a:lnTo>
                    <a:pt x="376" y="503"/>
                  </a:lnTo>
                  <a:lnTo>
                    <a:pt x="376" y="503"/>
                  </a:lnTo>
                  <a:lnTo>
                    <a:pt x="376" y="501"/>
                  </a:lnTo>
                  <a:lnTo>
                    <a:pt x="373" y="501"/>
                  </a:lnTo>
                  <a:lnTo>
                    <a:pt x="373" y="503"/>
                  </a:lnTo>
                  <a:lnTo>
                    <a:pt x="371" y="503"/>
                  </a:lnTo>
                  <a:lnTo>
                    <a:pt x="368" y="503"/>
                  </a:lnTo>
                  <a:lnTo>
                    <a:pt x="368" y="503"/>
                  </a:lnTo>
                  <a:lnTo>
                    <a:pt x="365" y="503"/>
                  </a:lnTo>
                  <a:lnTo>
                    <a:pt x="365" y="503"/>
                  </a:lnTo>
                  <a:lnTo>
                    <a:pt x="365" y="501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8" y="498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3"/>
                  </a:lnTo>
                  <a:lnTo>
                    <a:pt x="365" y="495"/>
                  </a:lnTo>
                  <a:lnTo>
                    <a:pt x="365" y="495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0" y="501"/>
                  </a:lnTo>
                  <a:lnTo>
                    <a:pt x="358" y="501"/>
                  </a:lnTo>
                  <a:lnTo>
                    <a:pt x="355" y="501"/>
                  </a:lnTo>
                  <a:lnTo>
                    <a:pt x="358" y="503"/>
                  </a:lnTo>
                  <a:lnTo>
                    <a:pt x="358" y="506"/>
                  </a:lnTo>
                  <a:lnTo>
                    <a:pt x="360" y="508"/>
                  </a:lnTo>
                  <a:lnTo>
                    <a:pt x="360" y="511"/>
                  </a:lnTo>
                  <a:lnTo>
                    <a:pt x="360" y="514"/>
                  </a:lnTo>
                  <a:lnTo>
                    <a:pt x="360" y="514"/>
                  </a:lnTo>
                  <a:lnTo>
                    <a:pt x="360" y="516"/>
                  </a:lnTo>
                  <a:lnTo>
                    <a:pt x="363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58" y="519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3" y="516"/>
                  </a:lnTo>
                  <a:lnTo>
                    <a:pt x="353" y="516"/>
                  </a:lnTo>
                  <a:lnTo>
                    <a:pt x="347" y="516"/>
                  </a:lnTo>
                  <a:lnTo>
                    <a:pt x="345" y="516"/>
                  </a:lnTo>
                  <a:lnTo>
                    <a:pt x="342" y="516"/>
                  </a:lnTo>
                  <a:lnTo>
                    <a:pt x="340" y="516"/>
                  </a:lnTo>
                  <a:lnTo>
                    <a:pt x="340" y="516"/>
                  </a:lnTo>
                  <a:lnTo>
                    <a:pt x="340" y="514"/>
                  </a:lnTo>
                  <a:lnTo>
                    <a:pt x="340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4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29" y="516"/>
                  </a:lnTo>
                  <a:lnTo>
                    <a:pt x="327" y="516"/>
                  </a:lnTo>
                  <a:lnTo>
                    <a:pt x="324" y="516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21"/>
                  </a:lnTo>
                  <a:lnTo>
                    <a:pt x="319" y="521"/>
                  </a:lnTo>
                  <a:lnTo>
                    <a:pt x="319" y="521"/>
                  </a:lnTo>
                  <a:lnTo>
                    <a:pt x="316" y="521"/>
                  </a:lnTo>
                  <a:lnTo>
                    <a:pt x="314" y="521"/>
                  </a:lnTo>
                  <a:lnTo>
                    <a:pt x="314" y="521"/>
                  </a:lnTo>
                  <a:lnTo>
                    <a:pt x="311" y="521"/>
                  </a:lnTo>
                  <a:lnTo>
                    <a:pt x="309" y="521"/>
                  </a:lnTo>
                  <a:lnTo>
                    <a:pt x="306" y="521"/>
                  </a:lnTo>
                  <a:lnTo>
                    <a:pt x="303" y="521"/>
                  </a:lnTo>
                  <a:lnTo>
                    <a:pt x="301" y="521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6" y="524"/>
                  </a:lnTo>
                  <a:lnTo>
                    <a:pt x="293" y="527"/>
                  </a:lnTo>
                  <a:lnTo>
                    <a:pt x="293" y="529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88" y="534"/>
                  </a:lnTo>
                  <a:lnTo>
                    <a:pt x="288" y="534"/>
                  </a:lnTo>
                  <a:lnTo>
                    <a:pt x="285" y="534"/>
                  </a:lnTo>
                  <a:lnTo>
                    <a:pt x="285" y="534"/>
                  </a:lnTo>
                  <a:lnTo>
                    <a:pt x="283" y="534"/>
                  </a:lnTo>
                  <a:lnTo>
                    <a:pt x="283" y="534"/>
                  </a:lnTo>
                  <a:lnTo>
                    <a:pt x="280" y="534"/>
                  </a:lnTo>
                  <a:lnTo>
                    <a:pt x="280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2" y="537"/>
                  </a:lnTo>
                  <a:lnTo>
                    <a:pt x="270" y="540"/>
                  </a:lnTo>
                  <a:lnTo>
                    <a:pt x="270" y="540"/>
                  </a:lnTo>
                  <a:lnTo>
                    <a:pt x="270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5" y="542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0" y="545"/>
                  </a:lnTo>
                  <a:lnTo>
                    <a:pt x="267" y="545"/>
                  </a:lnTo>
                  <a:lnTo>
                    <a:pt x="264" y="545"/>
                  </a:lnTo>
                  <a:lnTo>
                    <a:pt x="264" y="545"/>
                  </a:lnTo>
                  <a:lnTo>
                    <a:pt x="262" y="547"/>
                  </a:lnTo>
                  <a:lnTo>
                    <a:pt x="262" y="550"/>
                  </a:lnTo>
                  <a:lnTo>
                    <a:pt x="262" y="550"/>
                  </a:lnTo>
                  <a:lnTo>
                    <a:pt x="259" y="547"/>
                  </a:lnTo>
                  <a:lnTo>
                    <a:pt x="259" y="547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7" y="555"/>
                  </a:lnTo>
                  <a:lnTo>
                    <a:pt x="257" y="555"/>
                  </a:lnTo>
                  <a:lnTo>
                    <a:pt x="254" y="555"/>
                  </a:lnTo>
                  <a:lnTo>
                    <a:pt x="254" y="555"/>
                  </a:lnTo>
                  <a:lnTo>
                    <a:pt x="252" y="555"/>
                  </a:lnTo>
                  <a:lnTo>
                    <a:pt x="252" y="555"/>
                  </a:lnTo>
                  <a:lnTo>
                    <a:pt x="252" y="552"/>
                  </a:lnTo>
                  <a:lnTo>
                    <a:pt x="252" y="552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47"/>
                  </a:lnTo>
                  <a:lnTo>
                    <a:pt x="252" y="547"/>
                  </a:lnTo>
                  <a:lnTo>
                    <a:pt x="249" y="547"/>
                  </a:lnTo>
                  <a:lnTo>
                    <a:pt x="246" y="550"/>
                  </a:lnTo>
                  <a:lnTo>
                    <a:pt x="244" y="550"/>
                  </a:lnTo>
                  <a:lnTo>
                    <a:pt x="241" y="550"/>
                  </a:lnTo>
                  <a:lnTo>
                    <a:pt x="241" y="550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5"/>
                  </a:lnTo>
                  <a:lnTo>
                    <a:pt x="239" y="555"/>
                  </a:lnTo>
                  <a:lnTo>
                    <a:pt x="239" y="555"/>
                  </a:lnTo>
                  <a:lnTo>
                    <a:pt x="236" y="555"/>
                  </a:lnTo>
                  <a:lnTo>
                    <a:pt x="233" y="555"/>
                  </a:lnTo>
                  <a:lnTo>
                    <a:pt x="231" y="555"/>
                  </a:lnTo>
                  <a:lnTo>
                    <a:pt x="228" y="555"/>
                  </a:lnTo>
                  <a:lnTo>
                    <a:pt x="226" y="555"/>
                  </a:lnTo>
                  <a:lnTo>
                    <a:pt x="223" y="555"/>
                  </a:lnTo>
                  <a:lnTo>
                    <a:pt x="223" y="552"/>
                  </a:lnTo>
                  <a:lnTo>
                    <a:pt x="223" y="552"/>
                  </a:lnTo>
                  <a:lnTo>
                    <a:pt x="223" y="550"/>
                  </a:lnTo>
                  <a:lnTo>
                    <a:pt x="226" y="550"/>
                  </a:lnTo>
                  <a:lnTo>
                    <a:pt x="226" y="547"/>
                  </a:lnTo>
                  <a:lnTo>
                    <a:pt x="226" y="547"/>
                  </a:lnTo>
                  <a:lnTo>
                    <a:pt x="223" y="545"/>
                  </a:lnTo>
                  <a:lnTo>
                    <a:pt x="220" y="545"/>
                  </a:lnTo>
                  <a:lnTo>
                    <a:pt x="220" y="542"/>
                  </a:lnTo>
                  <a:lnTo>
                    <a:pt x="218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18" y="540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37"/>
                  </a:lnTo>
                  <a:lnTo>
                    <a:pt x="213" y="537"/>
                  </a:lnTo>
                  <a:lnTo>
                    <a:pt x="213" y="534"/>
                  </a:lnTo>
                  <a:lnTo>
                    <a:pt x="213" y="534"/>
                  </a:lnTo>
                  <a:lnTo>
                    <a:pt x="215" y="534"/>
                  </a:lnTo>
                  <a:lnTo>
                    <a:pt x="218" y="534"/>
                  </a:lnTo>
                  <a:lnTo>
                    <a:pt x="218" y="534"/>
                  </a:lnTo>
                  <a:lnTo>
                    <a:pt x="215" y="532"/>
                  </a:lnTo>
                  <a:lnTo>
                    <a:pt x="215" y="529"/>
                  </a:lnTo>
                  <a:lnTo>
                    <a:pt x="213" y="529"/>
                  </a:lnTo>
                  <a:lnTo>
                    <a:pt x="210" y="529"/>
                  </a:lnTo>
                  <a:lnTo>
                    <a:pt x="210" y="532"/>
                  </a:lnTo>
                  <a:lnTo>
                    <a:pt x="208" y="532"/>
                  </a:lnTo>
                  <a:lnTo>
                    <a:pt x="208" y="532"/>
                  </a:lnTo>
                  <a:lnTo>
                    <a:pt x="205" y="532"/>
                  </a:lnTo>
                  <a:lnTo>
                    <a:pt x="205" y="532"/>
                  </a:lnTo>
                  <a:lnTo>
                    <a:pt x="202" y="532"/>
                  </a:lnTo>
                  <a:lnTo>
                    <a:pt x="202" y="532"/>
                  </a:lnTo>
                  <a:lnTo>
                    <a:pt x="202" y="534"/>
                  </a:lnTo>
                  <a:lnTo>
                    <a:pt x="200" y="532"/>
                  </a:lnTo>
                  <a:lnTo>
                    <a:pt x="200" y="532"/>
                  </a:lnTo>
                  <a:lnTo>
                    <a:pt x="200" y="529"/>
                  </a:lnTo>
                  <a:lnTo>
                    <a:pt x="200" y="529"/>
                  </a:lnTo>
                  <a:lnTo>
                    <a:pt x="197" y="529"/>
                  </a:lnTo>
                  <a:lnTo>
                    <a:pt x="197" y="529"/>
                  </a:lnTo>
                  <a:lnTo>
                    <a:pt x="195" y="529"/>
                  </a:lnTo>
                  <a:lnTo>
                    <a:pt x="192" y="529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7" y="527"/>
                  </a:lnTo>
                  <a:lnTo>
                    <a:pt x="187" y="527"/>
                  </a:lnTo>
                  <a:lnTo>
                    <a:pt x="184" y="524"/>
                  </a:lnTo>
                  <a:lnTo>
                    <a:pt x="184" y="524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82" y="527"/>
                  </a:lnTo>
                  <a:lnTo>
                    <a:pt x="179" y="527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6" y="529"/>
                  </a:lnTo>
                  <a:lnTo>
                    <a:pt x="174" y="529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4"/>
                  </a:lnTo>
                  <a:lnTo>
                    <a:pt x="169" y="524"/>
                  </a:lnTo>
                  <a:lnTo>
                    <a:pt x="169" y="521"/>
                  </a:lnTo>
                  <a:lnTo>
                    <a:pt x="169" y="521"/>
                  </a:lnTo>
                  <a:lnTo>
                    <a:pt x="166" y="521"/>
                  </a:lnTo>
                  <a:lnTo>
                    <a:pt x="166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9"/>
                  </a:lnTo>
                  <a:lnTo>
                    <a:pt x="164" y="532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9" y="542"/>
                  </a:lnTo>
                  <a:lnTo>
                    <a:pt x="166" y="542"/>
                  </a:lnTo>
                  <a:lnTo>
                    <a:pt x="166" y="545"/>
                  </a:lnTo>
                  <a:lnTo>
                    <a:pt x="169" y="547"/>
                  </a:lnTo>
                  <a:lnTo>
                    <a:pt x="169" y="547"/>
                  </a:lnTo>
                  <a:lnTo>
                    <a:pt x="166" y="547"/>
                  </a:lnTo>
                  <a:lnTo>
                    <a:pt x="166" y="550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5"/>
                  </a:lnTo>
                  <a:lnTo>
                    <a:pt x="164" y="555"/>
                  </a:lnTo>
                  <a:lnTo>
                    <a:pt x="164" y="558"/>
                  </a:lnTo>
                  <a:lnTo>
                    <a:pt x="164" y="558"/>
                  </a:lnTo>
                  <a:lnTo>
                    <a:pt x="161" y="558"/>
                  </a:lnTo>
                  <a:lnTo>
                    <a:pt x="161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60"/>
                  </a:lnTo>
                  <a:lnTo>
                    <a:pt x="158" y="563"/>
                  </a:lnTo>
                  <a:lnTo>
                    <a:pt x="156" y="563"/>
                  </a:lnTo>
                  <a:lnTo>
                    <a:pt x="156" y="565"/>
                  </a:lnTo>
                  <a:lnTo>
                    <a:pt x="153" y="565"/>
                  </a:lnTo>
                  <a:lnTo>
                    <a:pt x="153" y="568"/>
                  </a:lnTo>
                  <a:lnTo>
                    <a:pt x="153" y="568"/>
                  </a:lnTo>
                  <a:lnTo>
                    <a:pt x="151" y="571"/>
                  </a:lnTo>
                  <a:lnTo>
                    <a:pt x="145" y="573"/>
                  </a:lnTo>
                  <a:lnTo>
                    <a:pt x="143" y="573"/>
                  </a:lnTo>
                  <a:lnTo>
                    <a:pt x="143" y="573"/>
                  </a:lnTo>
                  <a:lnTo>
                    <a:pt x="143" y="576"/>
                  </a:lnTo>
                  <a:lnTo>
                    <a:pt x="140" y="576"/>
                  </a:lnTo>
                  <a:lnTo>
                    <a:pt x="138" y="576"/>
                  </a:lnTo>
                  <a:lnTo>
                    <a:pt x="138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5"/>
                  </a:lnTo>
                  <a:lnTo>
                    <a:pt x="138" y="565"/>
                  </a:lnTo>
                  <a:lnTo>
                    <a:pt x="138" y="563"/>
                  </a:lnTo>
                  <a:lnTo>
                    <a:pt x="140" y="563"/>
                  </a:lnTo>
                  <a:lnTo>
                    <a:pt x="140" y="560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38" y="558"/>
                  </a:lnTo>
                  <a:lnTo>
                    <a:pt x="138" y="558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2" y="558"/>
                  </a:lnTo>
                  <a:lnTo>
                    <a:pt x="132" y="558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0" y="560"/>
                  </a:lnTo>
                  <a:lnTo>
                    <a:pt x="130" y="558"/>
                  </a:lnTo>
                  <a:lnTo>
                    <a:pt x="127" y="560"/>
                  </a:lnTo>
                  <a:lnTo>
                    <a:pt x="127" y="560"/>
                  </a:lnTo>
                  <a:lnTo>
                    <a:pt x="125" y="563"/>
                  </a:lnTo>
                  <a:lnTo>
                    <a:pt x="125" y="560"/>
                  </a:lnTo>
                  <a:lnTo>
                    <a:pt x="125" y="555"/>
                  </a:lnTo>
                  <a:lnTo>
                    <a:pt x="125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7" y="550"/>
                  </a:lnTo>
                  <a:lnTo>
                    <a:pt x="127" y="550"/>
                  </a:lnTo>
                  <a:lnTo>
                    <a:pt x="125" y="547"/>
                  </a:lnTo>
                  <a:lnTo>
                    <a:pt x="125" y="547"/>
                  </a:lnTo>
                  <a:lnTo>
                    <a:pt x="125" y="545"/>
                  </a:lnTo>
                  <a:lnTo>
                    <a:pt x="125" y="542"/>
                  </a:lnTo>
                  <a:lnTo>
                    <a:pt x="125" y="542"/>
                  </a:lnTo>
                  <a:lnTo>
                    <a:pt x="122" y="545"/>
                  </a:lnTo>
                  <a:lnTo>
                    <a:pt x="122" y="542"/>
                  </a:lnTo>
                  <a:lnTo>
                    <a:pt x="122" y="542"/>
                  </a:lnTo>
                  <a:lnTo>
                    <a:pt x="120" y="540"/>
                  </a:lnTo>
                  <a:lnTo>
                    <a:pt x="120" y="540"/>
                  </a:lnTo>
                  <a:lnTo>
                    <a:pt x="120" y="537"/>
                  </a:lnTo>
                  <a:lnTo>
                    <a:pt x="117" y="537"/>
                  </a:lnTo>
                  <a:lnTo>
                    <a:pt x="117" y="540"/>
                  </a:lnTo>
                  <a:lnTo>
                    <a:pt x="114" y="540"/>
                  </a:lnTo>
                  <a:lnTo>
                    <a:pt x="114" y="540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2" y="534"/>
                  </a:lnTo>
                  <a:lnTo>
                    <a:pt x="112" y="534"/>
                  </a:lnTo>
                  <a:lnTo>
                    <a:pt x="112" y="532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7"/>
                  </a:lnTo>
                  <a:lnTo>
                    <a:pt x="112" y="527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12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7" y="532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9"/>
                  </a:lnTo>
                  <a:lnTo>
                    <a:pt x="101" y="529"/>
                  </a:lnTo>
                  <a:lnTo>
                    <a:pt x="99" y="529"/>
                  </a:lnTo>
                  <a:lnTo>
                    <a:pt x="96" y="529"/>
                  </a:lnTo>
                  <a:lnTo>
                    <a:pt x="96" y="527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1"/>
                  </a:lnTo>
                  <a:lnTo>
                    <a:pt x="96" y="521"/>
                  </a:lnTo>
                  <a:lnTo>
                    <a:pt x="94" y="521"/>
                  </a:lnTo>
                  <a:lnTo>
                    <a:pt x="94" y="521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3" y="529"/>
                  </a:lnTo>
                  <a:lnTo>
                    <a:pt x="83" y="529"/>
                  </a:lnTo>
                  <a:lnTo>
                    <a:pt x="83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81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6" y="527"/>
                  </a:lnTo>
                  <a:lnTo>
                    <a:pt x="76" y="524"/>
                  </a:lnTo>
                  <a:lnTo>
                    <a:pt x="76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3" y="521"/>
                  </a:lnTo>
                  <a:lnTo>
                    <a:pt x="73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81" y="519"/>
                  </a:lnTo>
                  <a:lnTo>
                    <a:pt x="81" y="516"/>
                  </a:lnTo>
                  <a:lnTo>
                    <a:pt x="83" y="519"/>
                  </a:lnTo>
                  <a:lnTo>
                    <a:pt x="83" y="519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9"/>
                  </a:lnTo>
                  <a:lnTo>
                    <a:pt x="86" y="516"/>
                  </a:lnTo>
                  <a:lnTo>
                    <a:pt x="88" y="516"/>
                  </a:lnTo>
                  <a:lnTo>
                    <a:pt x="88" y="514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4" y="508"/>
                  </a:lnTo>
                  <a:lnTo>
                    <a:pt x="94" y="508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9" y="506"/>
                  </a:lnTo>
                  <a:lnTo>
                    <a:pt x="99" y="506"/>
                  </a:lnTo>
                  <a:lnTo>
                    <a:pt x="101" y="506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9" y="508"/>
                  </a:lnTo>
                  <a:lnTo>
                    <a:pt x="109" y="508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14" y="506"/>
                  </a:lnTo>
                  <a:lnTo>
                    <a:pt x="114" y="506"/>
                  </a:lnTo>
                  <a:lnTo>
                    <a:pt x="117" y="503"/>
                  </a:lnTo>
                  <a:lnTo>
                    <a:pt x="117" y="503"/>
                  </a:lnTo>
                  <a:lnTo>
                    <a:pt x="120" y="503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3"/>
                  </a:lnTo>
                  <a:lnTo>
                    <a:pt x="122" y="503"/>
                  </a:lnTo>
                  <a:lnTo>
                    <a:pt x="122" y="506"/>
                  </a:lnTo>
                  <a:lnTo>
                    <a:pt x="122" y="506"/>
                  </a:lnTo>
                  <a:lnTo>
                    <a:pt x="122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7" y="506"/>
                  </a:lnTo>
                  <a:lnTo>
                    <a:pt x="127" y="506"/>
                  </a:lnTo>
                  <a:lnTo>
                    <a:pt x="130" y="506"/>
                  </a:lnTo>
                  <a:lnTo>
                    <a:pt x="130" y="506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498"/>
                  </a:lnTo>
                  <a:lnTo>
                    <a:pt x="127" y="495"/>
                  </a:lnTo>
                  <a:lnTo>
                    <a:pt x="127" y="493"/>
                  </a:lnTo>
                  <a:lnTo>
                    <a:pt x="127" y="490"/>
                  </a:lnTo>
                  <a:lnTo>
                    <a:pt x="127" y="490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5" y="485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0"/>
                  </a:lnTo>
                  <a:lnTo>
                    <a:pt x="130" y="477"/>
                  </a:lnTo>
                  <a:lnTo>
                    <a:pt x="127" y="477"/>
                  </a:lnTo>
                  <a:lnTo>
                    <a:pt x="125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7" y="472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5" y="467"/>
                  </a:lnTo>
                  <a:lnTo>
                    <a:pt x="127" y="467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5" y="459"/>
                  </a:lnTo>
                  <a:lnTo>
                    <a:pt x="125" y="457"/>
                  </a:lnTo>
                  <a:lnTo>
                    <a:pt x="125" y="457"/>
                  </a:lnTo>
                  <a:lnTo>
                    <a:pt x="125" y="454"/>
                  </a:lnTo>
                  <a:lnTo>
                    <a:pt x="125" y="454"/>
                  </a:lnTo>
                  <a:lnTo>
                    <a:pt x="127" y="454"/>
                  </a:lnTo>
                  <a:lnTo>
                    <a:pt x="127" y="451"/>
                  </a:lnTo>
                  <a:lnTo>
                    <a:pt x="127" y="451"/>
                  </a:lnTo>
                  <a:lnTo>
                    <a:pt x="127" y="449"/>
                  </a:lnTo>
                  <a:lnTo>
                    <a:pt x="130" y="446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38"/>
                  </a:lnTo>
                  <a:lnTo>
                    <a:pt x="130" y="438"/>
                  </a:lnTo>
                  <a:lnTo>
                    <a:pt x="130" y="436"/>
                  </a:lnTo>
                  <a:lnTo>
                    <a:pt x="130" y="433"/>
                  </a:lnTo>
                  <a:lnTo>
                    <a:pt x="130" y="431"/>
                  </a:lnTo>
                  <a:lnTo>
                    <a:pt x="130" y="428"/>
                  </a:lnTo>
                  <a:lnTo>
                    <a:pt x="127" y="425"/>
                  </a:lnTo>
                  <a:lnTo>
                    <a:pt x="127" y="423"/>
                  </a:lnTo>
                  <a:lnTo>
                    <a:pt x="125" y="420"/>
                  </a:lnTo>
                  <a:lnTo>
                    <a:pt x="125" y="418"/>
                  </a:lnTo>
                  <a:lnTo>
                    <a:pt x="125" y="418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2" y="410"/>
                  </a:lnTo>
                  <a:lnTo>
                    <a:pt x="122" y="410"/>
                  </a:lnTo>
                  <a:lnTo>
                    <a:pt x="122" y="407"/>
                  </a:lnTo>
                  <a:lnTo>
                    <a:pt x="122" y="407"/>
                  </a:lnTo>
                  <a:lnTo>
                    <a:pt x="122" y="405"/>
                  </a:lnTo>
                  <a:lnTo>
                    <a:pt x="122" y="405"/>
                  </a:lnTo>
                  <a:lnTo>
                    <a:pt x="122" y="402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20" y="397"/>
                  </a:lnTo>
                  <a:lnTo>
                    <a:pt x="117" y="394"/>
                  </a:lnTo>
                  <a:lnTo>
                    <a:pt x="117" y="394"/>
                  </a:lnTo>
                  <a:lnTo>
                    <a:pt x="117" y="392"/>
                  </a:lnTo>
                  <a:lnTo>
                    <a:pt x="117" y="392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4" y="389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1"/>
                  </a:lnTo>
                  <a:lnTo>
                    <a:pt x="114" y="381"/>
                  </a:lnTo>
                  <a:lnTo>
                    <a:pt x="114" y="381"/>
                  </a:lnTo>
                  <a:lnTo>
                    <a:pt x="114" y="379"/>
                  </a:lnTo>
                  <a:lnTo>
                    <a:pt x="117" y="379"/>
                  </a:lnTo>
                  <a:lnTo>
                    <a:pt x="117" y="376"/>
                  </a:lnTo>
                  <a:lnTo>
                    <a:pt x="117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17" y="374"/>
                  </a:lnTo>
                  <a:lnTo>
                    <a:pt x="117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17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5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8"/>
                  </a:lnTo>
                  <a:lnTo>
                    <a:pt x="130" y="368"/>
                  </a:lnTo>
                  <a:lnTo>
                    <a:pt x="130" y="368"/>
                  </a:lnTo>
                  <a:lnTo>
                    <a:pt x="132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8" y="366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5" y="358"/>
                  </a:lnTo>
                  <a:lnTo>
                    <a:pt x="148" y="358"/>
                  </a:lnTo>
                  <a:lnTo>
                    <a:pt x="151" y="358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48" y="355"/>
                  </a:lnTo>
                  <a:lnTo>
                    <a:pt x="148" y="355"/>
                  </a:lnTo>
                  <a:lnTo>
                    <a:pt x="148" y="353"/>
                  </a:lnTo>
                  <a:lnTo>
                    <a:pt x="151" y="353"/>
                  </a:lnTo>
                  <a:lnTo>
                    <a:pt x="151" y="350"/>
                  </a:lnTo>
                  <a:lnTo>
                    <a:pt x="151" y="348"/>
                  </a:lnTo>
                  <a:lnTo>
                    <a:pt x="151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5" y="335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45" y="327"/>
                  </a:lnTo>
                  <a:lnTo>
                    <a:pt x="145" y="324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9"/>
                  </a:lnTo>
                  <a:lnTo>
                    <a:pt x="148" y="329"/>
                  </a:lnTo>
                  <a:lnTo>
                    <a:pt x="151" y="329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3" y="329"/>
                  </a:lnTo>
                  <a:lnTo>
                    <a:pt x="153" y="329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5"/>
                  </a:lnTo>
                  <a:lnTo>
                    <a:pt x="156" y="335"/>
                  </a:lnTo>
                  <a:lnTo>
                    <a:pt x="156" y="335"/>
                  </a:lnTo>
                  <a:lnTo>
                    <a:pt x="156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29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9"/>
                  </a:lnTo>
                  <a:lnTo>
                    <a:pt x="164" y="327"/>
                  </a:lnTo>
                  <a:lnTo>
                    <a:pt x="161" y="327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4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6" y="332"/>
                  </a:lnTo>
                  <a:lnTo>
                    <a:pt x="166" y="329"/>
                  </a:lnTo>
                  <a:lnTo>
                    <a:pt x="166" y="329"/>
                  </a:lnTo>
                  <a:lnTo>
                    <a:pt x="169" y="329"/>
                  </a:lnTo>
                  <a:lnTo>
                    <a:pt x="169" y="329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6" y="327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4" y="317"/>
                  </a:lnTo>
                  <a:lnTo>
                    <a:pt x="161" y="317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1"/>
                  </a:lnTo>
                  <a:lnTo>
                    <a:pt x="161" y="311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1" y="311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66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6" y="306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6"/>
                  </a:lnTo>
                  <a:lnTo>
                    <a:pt x="166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3"/>
                  </a:lnTo>
                  <a:lnTo>
                    <a:pt x="166" y="293"/>
                  </a:lnTo>
                  <a:lnTo>
                    <a:pt x="164" y="291"/>
                  </a:lnTo>
                  <a:lnTo>
                    <a:pt x="164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58" y="280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6" y="275"/>
                  </a:lnTo>
                  <a:lnTo>
                    <a:pt x="156" y="272"/>
                  </a:lnTo>
                  <a:lnTo>
                    <a:pt x="156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5"/>
                  </a:lnTo>
                  <a:lnTo>
                    <a:pt x="145" y="265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5" y="262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3" y="259"/>
                  </a:lnTo>
                  <a:lnTo>
                    <a:pt x="140" y="262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3" y="259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40" y="259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49"/>
                  </a:lnTo>
                  <a:lnTo>
                    <a:pt x="143" y="249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0" y="231"/>
                  </a:lnTo>
                  <a:lnTo>
                    <a:pt x="127" y="231"/>
                  </a:lnTo>
                  <a:lnTo>
                    <a:pt x="127" y="231"/>
                  </a:lnTo>
                  <a:lnTo>
                    <a:pt x="127" y="228"/>
                  </a:lnTo>
                  <a:lnTo>
                    <a:pt x="130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2" y="226"/>
                  </a:lnTo>
                  <a:lnTo>
                    <a:pt x="132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27" y="215"/>
                  </a:lnTo>
                  <a:lnTo>
                    <a:pt x="125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30" y="205"/>
                  </a:lnTo>
                  <a:lnTo>
                    <a:pt x="130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5" y="197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5" y="189"/>
                  </a:lnTo>
                  <a:lnTo>
                    <a:pt x="127" y="187"/>
                  </a:lnTo>
                  <a:lnTo>
                    <a:pt x="127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20" y="179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2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09" y="189"/>
                  </a:lnTo>
                  <a:lnTo>
                    <a:pt x="109" y="189"/>
                  </a:lnTo>
                  <a:lnTo>
                    <a:pt x="107" y="189"/>
                  </a:lnTo>
                  <a:lnTo>
                    <a:pt x="104" y="187"/>
                  </a:lnTo>
                  <a:lnTo>
                    <a:pt x="107" y="187"/>
                  </a:lnTo>
                  <a:lnTo>
                    <a:pt x="107" y="184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9" y="174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6" y="171"/>
                  </a:lnTo>
                  <a:lnTo>
                    <a:pt x="96" y="169"/>
                  </a:lnTo>
                  <a:lnTo>
                    <a:pt x="99" y="169"/>
                  </a:lnTo>
                  <a:lnTo>
                    <a:pt x="99" y="169"/>
                  </a:lnTo>
                  <a:lnTo>
                    <a:pt x="101" y="169"/>
                  </a:lnTo>
                  <a:lnTo>
                    <a:pt x="99" y="166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1"/>
                  </a:lnTo>
                  <a:lnTo>
                    <a:pt x="99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4" y="151"/>
                  </a:lnTo>
                  <a:lnTo>
                    <a:pt x="94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4" y="145"/>
                  </a:lnTo>
                  <a:lnTo>
                    <a:pt x="91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51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3" y="153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3" y="148"/>
                  </a:lnTo>
                  <a:lnTo>
                    <a:pt x="83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6" y="153"/>
                  </a:lnTo>
                  <a:lnTo>
                    <a:pt x="73" y="153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38"/>
                  </a:lnTo>
                  <a:lnTo>
                    <a:pt x="76" y="135"/>
                  </a:lnTo>
                  <a:lnTo>
                    <a:pt x="73" y="138"/>
                  </a:lnTo>
                  <a:lnTo>
                    <a:pt x="70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5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5" y="143"/>
                  </a:lnTo>
                  <a:lnTo>
                    <a:pt x="65" y="143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8"/>
                  </a:lnTo>
                  <a:lnTo>
                    <a:pt x="55" y="138"/>
                  </a:lnTo>
                  <a:lnTo>
                    <a:pt x="55" y="140"/>
                  </a:lnTo>
                  <a:lnTo>
                    <a:pt x="55" y="140"/>
                  </a:lnTo>
                  <a:lnTo>
                    <a:pt x="52" y="13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0" y="135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5"/>
                  </a:lnTo>
                  <a:lnTo>
                    <a:pt x="39" y="145"/>
                  </a:lnTo>
                  <a:lnTo>
                    <a:pt x="37" y="145"/>
                  </a:lnTo>
                  <a:lnTo>
                    <a:pt x="37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4" y="145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7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61"/>
                  </a:lnTo>
                  <a:lnTo>
                    <a:pt x="47" y="161"/>
                  </a:lnTo>
                  <a:lnTo>
                    <a:pt x="44" y="161"/>
                  </a:lnTo>
                  <a:lnTo>
                    <a:pt x="44" y="158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39" y="161"/>
                  </a:lnTo>
                  <a:lnTo>
                    <a:pt x="39" y="158"/>
                  </a:lnTo>
                  <a:lnTo>
                    <a:pt x="37" y="161"/>
                  </a:lnTo>
                  <a:lnTo>
                    <a:pt x="37" y="161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2" y="169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6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6"/>
                  </a:lnTo>
                  <a:lnTo>
                    <a:pt x="13" y="164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3" y="156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9" y="148"/>
                  </a:lnTo>
                  <a:lnTo>
                    <a:pt x="19" y="145"/>
                  </a:lnTo>
                  <a:lnTo>
                    <a:pt x="19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1" y="130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4" name="Freeform 134"/>
            <p:cNvSpPr>
              <a:spLocks/>
            </p:cNvSpPr>
            <p:nvPr/>
          </p:nvSpPr>
          <p:spPr bwMode="auto">
            <a:xfrm>
              <a:off x="1100" y="3126"/>
              <a:ext cx="544" cy="576"/>
            </a:xfrm>
            <a:custGeom>
              <a:avLst/>
              <a:gdLst>
                <a:gd name="T0" fmla="*/ 29 w 544"/>
                <a:gd name="T1" fmla="*/ 73 h 576"/>
                <a:gd name="T2" fmla="*/ 65 w 544"/>
                <a:gd name="T3" fmla="*/ 57 h 576"/>
                <a:gd name="T4" fmla="*/ 88 w 544"/>
                <a:gd name="T5" fmla="*/ 29 h 576"/>
                <a:gd name="T6" fmla="*/ 122 w 544"/>
                <a:gd name="T7" fmla="*/ 8 h 576"/>
                <a:gd name="T8" fmla="*/ 156 w 544"/>
                <a:gd name="T9" fmla="*/ 24 h 576"/>
                <a:gd name="T10" fmla="*/ 174 w 544"/>
                <a:gd name="T11" fmla="*/ 37 h 576"/>
                <a:gd name="T12" fmla="*/ 195 w 544"/>
                <a:gd name="T13" fmla="*/ 62 h 576"/>
                <a:gd name="T14" fmla="*/ 200 w 544"/>
                <a:gd name="T15" fmla="*/ 34 h 576"/>
                <a:gd name="T16" fmla="*/ 233 w 544"/>
                <a:gd name="T17" fmla="*/ 39 h 576"/>
                <a:gd name="T18" fmla="*/ 257 w 544"/>
                <a:gd name="T19" fmla="*/ 44 h 576"/>
                <a:gd name="T20" fmla="*/ 264 w 544"/>
                <a:gd name="T21" fmla="*/ 11 h 576"/>
                <a:gd name="T22" fmla="*/ 285 w 544"/>
                <a:gd name="T23" fmla="*/ 34 h 576"/>
                <a:gd name="T24" fmla="*/ 337 w 544"/>
                <a:gd name="T25" fmla="*/ 34 h 576"/>
                <a:gd name="T26" fmla="*/ 345 w 544"/>
                <a:gd name="T27" fmla="*/ 42 h 576"/>
                <a:gd name="T28" fmla="*/ 360 w 544"/>
                <a:gd name="T29" fmla="*/ 68 h 576"/>
                <a:gd name="T30" fmla="*/ 384 w 544"/>
                <a:gd name="T31" fmla="*/ 99 h 576"/>
                <a:gd name="T32" fmla="*/ 386 w 544"/>
                <a:gd name="T33" fmla="*/ 140 h 576"/>
                <a:gd name="T34" fmla="*/ 409 w 544"/>
                <a:gd name="T35" fmla="*/ 182 h 576"/>
                <a:gd name="T36" fmla="*/ 441 w 544"/>
                <a:gd name="T37" fmla="*/ 213 h 576"/>
                <a:gd name="T38" fmla="*/ 469 w 544"/>
                <a:gd name="T39" fmla="*/ 249 h 576"/>
                <a:gd name="T40" fmla="*/ 516 w 544"/>
                <a:gd name="T41" fmla="*/ 280 h 576"/>
                <a:gd name="T42" fmla="*/ 541 w 544"/>
                <a:gd name="T43" fmla="*/ 322 h 576"/>
                <a:gd name="T44" fmla="*/ 534 w 544"/>
                <a:gd name="T45" fmla="*/ 355 h 576"/>
                <a:gd name="T46" fmla="*/ 500 w 544"/>
                <a:gd name="T47" fmla="*/ 358 h 576"/>
                <a:gd name="T48" fmla="*/ 430 w 544"/>
                <a:gd name="T49" fmla="*/ 423 h 576"/>
                <a:gd name="T50" fmla="*/ 446 w 544"/>
                <a:gd name="T51" fmla="*/ 485 h 576"/>
                <a:gd name="T52" fmla="*/ 456 w 544"/>
                <a:gd name="T53" fmla="*/ 524 h 576"/>
                <a:gd name="T54" fmla="*/ 425 w 544"/>
                <a:gd name="T55" fmla="*/ 524 h 576"/>
                <a:gd name="T56" fmla="*/ 391 w 544"/>
                <a:gd name="T57" fmla="*/ 511 h 576"/>
                <a:gd name="T58" fmla="*/ 360 w 544"/>
                <a:gd name="T59" fmla="*/ 516 h 576"/>
                <a:gd name="T60" fmla="*/ 296 w 544"/>
                <a:gd name="T61" fmla="*/ 521 h 576"/>
                <a:gd name="T62" fmla="*/ 259 w 544"/>
                <a:gd name="T63" fmla="*/ 550 h 576"/>
                <a:gd name="T64" fmla="*/ 218 w 544"/>
                <a:gd name="T65" fmla="*/ 540 h 576"/>
                <a:gd name="T66" fmla="*/ 179 w 544"/>
                <a:gd name="T67" fmla="*/ 529 h 576"/>
                <a:gd name="T68" fmla="*/ 169 w 544"/>
                <a:gd name="T69" fmla="*/ 547 h 576"/>
                <a:gd name="T70" fmla="*/ 140 w 544"/>
                <a:gd name="T71" fmla="*/ 558 h 576"/>
                <a:gd name="T72" fmla="*/ 117 w 544"/>
                <a:gd name="T73" fmla="*/ 537 h 576"/>
                <a:gd name="T74" fmla="*/ 88 w 544"/>
                <a:gd name="T75" fmla="*/ 521 h 576"/>
                <a:gd name="T76" fmla="*/ 78 w 544"/>
                <a:gd name="T77" fmla="*/ 516 h 576"/>
                <a:gd name="T78" fmla="*/ 120 w 544"/>
                <a:gd name="T79" fmla="*/ 506 h 576"/>
                <a:gd name="T80" fmla="*/ 122 w 544"/>
                <a:gd name="T81" fmla="*/ 485 h 576"/>
                <a:gd name="T82" fmla="*/ 127 w 544"/>
                <a:gd name="T83" fmla="*/ 462 h 576"/>
                <a:gd name="T84" fmla="*/ 122 w 544"/>
                <a:gd name="T85" fmla="*/ 402 h 576"/>
                <a:gd name="T86" fmla="*/ 127 w 544"/>
                <a:gd name="T87" fmla="*/ 368 h 576"/>
                <a:gd name="T88" fmla="*/ 148 w 544"/>
                <a:gd name="T89" fmla="*/ 345 h 576"/>
                <a:gd name="T90" fmla="*/ 145 w 544"/>
                <a:gd name="T91" fmla="*/ 327 h 576"/>
                <a:gd name="T92" fmla="*/ 161 w 544"/>
                <a:gd name="T93" fmla="*/ 332 h 576"/>
                <a:gd name="T94" fmla="*/ 161 w 544"/>
                <a:gd name="T95" fmla="*/ 317 h 576"/>
                <a:gd name="T96" fmla="*/ 166 w 544"/>
                <a:gd name="T97" fmla="*/ 298 h 576"/>
                <a:gd name="T98" fmla="*/ 158 w 544"/>
                <a:gd name="T99" fmla="*/ 278 h 576"/>
                <a:gd name="T100" fmla="*/ 143 w 544"/>
                <a:gd name="T101" fmla="*/ 265 h 576"/>
                <a:gd name="T102" fmla="*/ 140 w 544"/>
                <a:gd name="T103" fmla="*/ 252 h 576"/>
                <a:gd name="T104" fmla="*/ 130 w 544"/>
                <a:gd name="T105" fmla="*/ 239 h 576"/>
                <a:gd name="T106" fmla="*/ 130 w 544"/>
                <a:gd name="T107" fmla="*/ 218 h 576"/>
                <a:gd name="T108" fmla="*/ 127 w 544"/>
                <a:gd name="T109" fmla="*/ 187 h 576"/>
                <a:gd name="T110" fmla="*/ 104 w 544"/>
                <a:gd name="T111" fmla="*/ 187 h 576"/>
                <a:gd name="T112" fmla="*/ 96 w 544"/>
                <a:gd name="T113" fmla="*/ 158 h 576"/>
                <a:gd name="T114" fmla="*/ 73 w 544"/>
                <a:gd name="T115" fmla="*/ 153 h 576"/>
                <a:gd name="T116" fmla="*/ 60 w 544"/>
                <a:gd name="T117" fmla="*/ 135 h 576"/>
                <a:gd name="T118" fmla="*/ 47 w 544"/>
                <a:gd name="T119" fmla="*/ 145 h 576"/>
                <a:gd name="T120" fmla="*/ 34 w 544"/>
                <a:gd name="T121" fmla="*/ 166 h 576"/>
                <a:gd name="T122" fmla="*/ 16 w 544"/>
                <a:gd name="T123" fmla="*/ 138 h 576"/>
                <a:gd name="T124" fmla="*/ 6 w 544"/>
                <a:gd name="T125" fmla="*/ 107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576">
                  <a:moveTo>
                    <a:pt x="0" y="91"/>
                  </a:moveTo>
                  <a:lnTo>
                    <a:pt x="0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1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3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4" y="75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81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7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8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3"/>
                  </a:lnTo>
                  <a:lnTo>
                    <a:pt x="63" y="73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2"/>
                  </a:lnTo>
                  <a:lnTo>
                    <a:pt x="60" y="60"/>
                  </a:lnTo>
                  <a:lnTo>
                    <a:pt x="57" y="57"/>
                  </a:lnTo>
                  <a:lnTo>
                    <a:pt x="60" y="55"/>
                  </a:lnTo>
                  <a:lnTo>
                    <a:pt x="60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6" y="47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4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2" y="24"/>
                  </a:lnTo>
                  <a:lnTo>
                    <a:pt x="114" y="21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0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5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8"/>
                  </a:lnTo>
                  <a:lnTo>
                    <a:pt x="140" y="8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3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3" y="13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21"/>
                  </a:lnTo>
                  <a:lnTo>
                    <a:pt x="156" y="21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8" y="24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1" y="31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71" y="34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9" y="37"/>
                  </a:lnTo>
                  <a:lnTo>
                    <a:pt x="169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4" y="39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6" y="39"/>
                  </a:lnTo>
                  <a:lnTo>
                    <a:pt x="176" y="39"/>
                  </a:lnTo>
                  <a:lnTo>
                    <a:pt x="179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7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2" y="52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5"/>
                  </a:lnTo>
                  <a:lnTo>
                    <a:pt x="182" y="57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4" y="60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92" y="60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5" y="62"/>
                  </a:lnTo>
                  <a:lnTo>
                    <a:pt x="197" y="62"/>
                  </a:lnTo>
                  <a:lnTo>
                    <a:pt x="197" y="60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197" y="55"/>
                  </a:lnTo>
                  <a:lnTo>
                    <a:pt x="197" y="55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2" y="57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5" y="55"/>
                  </a:lnTo>
                  <a:lnTo>
                    <a:pt x="205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08" y="57"/>
                  </a:lnTo>
                  <a:lnTo>
                    <a:pt x="210" y="55"/>
                  </a:lnTo>
                  <a:lnTo>
                    <a:pt x="210" y="55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08" y="52"/>
                  </a:lnTo>
                  <a:lnTo>
                    <a:pt x="208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9"/>
                  </a:lnTo>
                  <a:lnTo>
                    <a:pt x="205" y="47"/>
                  </a:lnTo>
                  <a:lnTo>
                    <a:pt x="202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4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7" y="39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7" y="37"/>
                  </a:lnTo>
                  <a:lnTo>
                    <a:pt x="200" y="37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5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0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9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28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7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1" y="39"/>
                  </a:lnTo>
                  <a:lnTo>
                    <a:pt x="233" y="39"/>
                  </a:lnTo>
                  <a:lnTo>
                    <a:pt x="236" y="39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7"/>
                  </a:lnTo>
                  <a:lnTo>
                    <a:pt x="239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1" y="39"/>
                  </a:lnTo>
                  <a:lnTo>
                    <a:pt x="244" y="39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1" y="44"/>
                  </a:lnTo>
                  <a:lnTo>
                    <a:pt x="241" y="47"/>
                  </a:lnTo>
                  <a:lnTo>
                    <a:pt x="241" y="47"/>
                  </a:lnTo>
                  <a:lnTo>
                    <a:pt x="241" y="49"/>
                  </a:lnTo>
                  <a:lnTo>
                    <a:pt x="244" y="49"/>
                  </a:lnTo>
                  <a:lnTo>
                    <a:pt x="246" y="49"/>
                  </a:lnTo>
                  <a:lnTo>
                    <a:pt x="246" y="49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6" y="52"/>
                  </a:lnTo>
                  <a:lnTo>
                    <a:pt x="249" y="52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52" y="49"/>
                  </a:lnTo>
                  <a:lnTo>
                    <a:pt x="252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4" y="49"/>
                  </a:lnTo>
                  <a:lnTo>
                    <a:pt x="254" y="47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4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7" y="42"/>
                  </a:lnTo>
                  <a:lnTo>
                    <a:pt x="259" y="42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9"/>
                  </a:lnTo>
                  <a:lnTo>
                    <a:pt x="257" y="37"/>
                  </a:lnTo>
                  <a:lnTo>
                    <a:pt x="257" y="37"/>
                  </a:lnTo>
                  <a:lnTo>
                    <a:pt x="257" y="34"/>
                  </a:lnTo>
                  <a:lnTo>
                    <a:pt x="257" y="34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7" y="29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4"/>
                  </a:lnTo>
                  <a:lnTo>
                    <a:pt x="254" y="24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7" y="16"/>
                  </a:lnTo>
                  <a:lnTo>
                    <a:pt x="257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3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2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11"/>
                  </a:lnTo>
                  <a:lnTo>
                    <a:pt x="264" y="8"/>
                  </a:lnTo>
                  <a:lnTo>
                    <a:pt x="264" y="8"/>
                  </a:lnTo>
                  <a:lnTo>
                    <a:pt x="267" y="8"/>
                  </a:lnTo>
                  <a:lnTo>
                    <a:pt x="272" y="8"/>
                  </a:lnTo>
                  <a:lnTo>
                    <a:pt x="272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1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6"/>
                  </a:lnTo>
                  <a:lnTo>
                    <a:pt x="275" y="16"/>
                  </a:lnTo>
                  <a:lnTo>
                    <a:pt x="275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77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0" y="29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5" y="31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31"/>
                  </a:lnTo>
                  <a:lnTo>
                    <a:pt x="290" y="29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8" y="31"/>
                  </a:lnTo>
                  <a:lnTo>
                    <a:pt x="301" y="31"/>
                  </a:lnTo>
                  <a:lnTo>
                    <a:pt x="303" y="31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6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29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4" y="29"/>
                  </a:lnTo>
                  <a:lnTo>
                    <a:pt x="327" y="26"/>
                  </a:lnTo>
                  <a:lnTo>
                    <a:pt x="327" y="26"/>
                  </a:lnTo>
                  <a:lnTo>
                    <a:pt x="329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2" y="29"/>
                  </a:lnTo>
                  <a:lnTo>
                    <a:pt x="332" y="29"/>
                  </a:lnTo>
                  <a:lnTo>
                    <a:pt x="334" y="29"/>
                  </a:lnTo>
                  <a:lnTo>
                    <a:pt x="334" y="31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4" y="37"/>
                  </a:lnTo>
                  <a:lnTo>
                    <a:pt x="337" y="39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7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0" y="39"/>
                  </a:lnTo>
                  <a:lnTo>
                    <a:pt x="342" y="39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50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53" y="44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5" y="52"/>
                  </a:lnTo>
                  <a:lnTo>
                    <a:pt x="355" y="52"/>
                  </a:lnTo>
                  <a:lnTo>
                    <a:pt x="353" y="52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5"/>
                  </a:lnTo>
                  <a:lnTo>
                    <a:pt x="350" y="57"/>
                  </a:lnTo>
                  <a:lnTo>
                    <a:pt x="353" y="57"/>
                  </a:lnTo>
                  <a:lnTo>
                    <a:pt x="353" y="60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0"/>
                  </a:lnTo>
                  <a:lnTo>
                    <a:pt x="355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2"/>
                  </a:lnTo>
                  <a:lnTo>
                    <a:pt x="358" y="65"/>
                  </a:lnTo>
                  <a:lnTo>
                    <a:pt x="358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3" y="70"/>
                  </a:lnTo>
                  <a:lnTo>
                    <a:pt x="363" y="70"/>
                  </a:lnTo>
                  <a:lnTo>
                    <a:pt x="363" y="73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60" y="78"/>
                  </a:lnTo>
                  <a:lnTo>
                    <a:pt x="360" y="78"/>
                  </a:lnTo>
                  <a:lnTo>
                    <a:pt x="360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5" y="83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68" y="88"/>
                  </a:lnTo>
                  <a:lnTo>
                    <a:pt x="368" y="91"/>
                  </a:lnTo>
                  <a:lnTo>
                    <a:pt x="368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1"/>
                  </a:lnTo>
                  <a:lnTo>
                    <a:pt x="373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6" y="94"/>
                  </a:lnTo>
                  <a:lnTo>
                    <a:pt x="378" y="94"/>
                  </a:lnTo>
                  <a:lnTo>
                    <a:pt x="378" y="94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1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6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99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6" y="101"/>
                  </a:lnTo>
                  <a:lnTo>
                    <a:pt x="389" y="101"/>
                  </a:lnTo>
                  <a:lnTo>
                    <a:pt x="389" y="99"/>
                  </a:lnTo>
                  <a:lnTo>
                    <a:pt x="391" y="99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1" y="101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7"/>
                  </a:lnTo>
                  <a:lnTo>
                    <a:pt x="391" y="107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1" y="109"/>
                  </a:lnTo>
                  <a:lnTo>
                    <a:pt x="394" y="112"/>
                  </a:lnTo>
                  <a:lnTo>
                    <a:pt x="394" y="112"/>
                  </a:lnTo>
                  <a:lnTo>
                    <a:pt x="397" y="112"/>
                  </a:lnTo>
                  <a:lnTo>
                    <a:pt x="399" y="112"/>
                  </a:lnTo>
                  <a:lnTo>
                    <a:pt x="399" y="114"/>
                  </a:lnTo>
                  <a:lnTo>
                    <a:pt x="399" y="114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397" y="119"/>
                  </a:lnTo>
                  <a:lnTo>
                    <a:pt x="397" y="122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5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1" y="127"/>
                  </a:lnTo>
                  <a:lnTo>
                    <a:pt x="391" y="127"/>
                  </a:lnTo>
                  <a:lnTo>
                    <a:pt x="391" y="130"/>
                  </a:lnTo>
                  <a:lnTo>
                    <a:pt x="391" y="132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91" y="135"/>
                  </a:lnTo>
                  <a:lnTo>
                    <a:pt x="389" y="138"/>
                  </a:lnTo>
                  <a:lnTo>
                    <a:pt x="386" y="138"/>
                  </a:lnTo>
                  <a:lnTo>
                    <a:pt x="386" y="140"/>
                  </a:lnTo>
                  <a:lnTo>
                    <a:pt x="384" y="140"/>
                  </a:lnTo>
                  <a:lnTo>
                    <a:pt x="384" y="140"/>
                  </a:lnTo>
                  <a:lnTo>
                    <a:pt x="384" y="143"/>
                  </a:lnTo>
                  <a:lnTo>
                    <a:pt x="384" y="143"/>
                  </a:lnTo>
                  <a:lnTo>
                    <a:pt x="384" y="145"/>
                  </a:lnTo>
                  <a:lnTo>
                    <a:pt x="384" y="145"/>
                  </a:lnTo>
                  <a:lnTo>
                    <a:pt x="386" y="145"/>
                  </a:lnTo>
                  <a:lnTo>
                    <a:pt x="386" y="145"/>
                  </a:lnTo>
                  <a:lnTo>
                    <a:pt x="386" y="148"/>
                  </a:lnTo>
                  <a:lnTo>
                    <a:pt x="389" y="151"/>
                  </a:lnTo>
                  <a:lnTo>
                    <a:pt x="389" y="151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1" y="153"/>
                  </a:lnTo>
                  <a:lnTo>
                    <a:pt x="394" y="153"/>
                  </a:lnTo>
                  <a:lnTo>
                    <a:pt x="394" y="153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6"/>
                  </a:lnTo>
                  <a:lnTo>
                    <a:pt x="397" y="158"/>
                  </a:lnTo>
                  <a:lnTo>
                    <a:pt x="397" y="161"/>
                  </a:lnTo>
                  <a:lnTo>
                    <a:pt x="397" y="161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9" y="164"/>
                  </a:lnTo>
                  <a:lnTo>
                    <a:pt x="397" y="164"/>
                  </a:lnTo>
                  <a:lnTo>
                    <a:pt x="397" y="164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7" y="166"/>
                  </a:lnTo>
                  <a:lnTo>
                    <a:pt x="399" y="166"/>
                  </a:lnTo>
                  <a:lnTo>
                    <a:pt x="399" y="166"/>
                  </a:lnTo>
                  <a:lnTo>
                    <a:pt x="402" y="164"/>
                  </a:lnTo>
                  <a:lnTo>
                    <a:pt x="402" y="166"/>
                  </a:lnTo>
                  <a:lnTo>
                    <a:pt x="402" y="169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2" y="174"/>
                  </a:lnTo>
                  <a:lnTo>
                    <a:pt x="402" y="174"/>
                  </a:lnTo>
                  <a:lnTo>
                    <a:pt x="402" y="177"/>
                  </a:lnTo>
                  <a:lnTo>
                    <a:pt x="404" y="177"/>
                  </a:lnTo>
                  <a:lnTo>
                    <a:pt x="404" y="179"/>
                  </a:lnTo>
                  <a:lnTo>
                    <a:pt x="407" y="182"/>
                  </a:lnTo>
                  <a:lnTo>
                    <a:pt x="407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2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4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92"/>
                  </a:lnTo>
                  <a:lnTo>
                    <a:pt x="412" y="192"/>
                  </a:lnTo>
                  <a:lnTo>
                    <a:pt x="412" y="192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2" y="197"/>
                  </a:lnTo>
                  <a:lnTo>
                    <a:pt x="412" y="197"/>
                  </a:lnTo>
                  <a:lnTo>
                    <a:pt x="412" y="200"/>
                  </a:lnTo>
                  <a:lnTo>
                    <a:pt x="415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0"/>
                  </a:lnTo>
                  <a:lnTo>
                    <a:pt x="417" y="202"/>
                  </a:lnTo>
                  <a:lnTo>
                    <a:pt x="420" y="202"/>
                  </a:lnTo>
                  <a:lnTo>
                    <a:pt x="422" y="202"/>
                  </a:lnTo>
                  <a:lnTo>
                    <a:pt x="422" y="205"/>
                  </a:lnTo>
                  <a:lnTo>
                    <a:pt x="422" y="205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5" y="210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5" y="213"/>
                  </a:lnTo>
                  <a:lnTo>
                    <a:pt x="428" y="213"/>
                  </a:lnTo>
                  <a:lnTo>
                    <a:pt x="428" y="213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0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3" y="215"/>
                  </a:lnTo>
                  <a:lnTo>
                    <a:pt x="435" y="215"/>
                  </a:lnTo>
                  <a:lnTo>
                    <a:pt x="438" y="215"/>
                  </a:lnTo>
                  <a:lnTo>
                    <a:pt x="435" y="215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41" y="213"/>
                  </a:lnTo>
                  <a:lnTo>
                    <a:pt x="443" y="215"/>
                  </a:lnTo>
                  <a:lnTo>
                    <a:pt x="443" y="215"/>
                  </a:lnTo>
                  <a:lnTo>
                    <a:pt x="446" y="215"/>
                  </a:lnTo>
                  <a:lnTo>
                    <a:pt x="448" y="218"/>
                  </a:lnTo>
                  <a:lnTo>
                    <a:pt x="448" y="218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3" y="221"/>
                  </a:lnTo>
                  <a:lnTo>
                    <a:pt x="453" y="221"/>
                  </a:lnTo>
                  <a:lnTo>
                    <a:pt x="453" y="223"/>
                  </a:lnTo>
                  <a:lnTo>
                    <a:pt x="453" y="226"/>
                  </a:lnTo>
                  <a:lnTo>
                    <a:pt x="453" y="226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3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28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1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1" y="236"/>
                  </a:lnTo>
                  <a:lnTo>
                    <a:pt x="464" y="236"/>
                  </a:lnTo>
                  <a:lnTo>
                    <a:pt x="464" y="236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4" y="239"/>
                  </a:lnTo>
                  <a:lnTo>
                    <a:pt x="464" y="239"/>
                  </a:lnTo>
                  <a:lnTo>
                    <a:pt x="464" y="241"/>
                  </a:lnTo>
                  <a:lnTo>
                    <a:pt x="466" y="241"/>
                  </a:lnTo>
                  <a:lnTo>
                    <a:pt x="466" y="241"/>
                  </a:lnTo>
                  <a:lnTo>
                    <a:pt x="466" y="244"/>
                  </a:lnTo>
                  <a:lnTo>
                    <a:pt x="469" y="244"/>
                  </a:lnTo>
                  <a:lnTo>
                    <a:pt x="469" y="247"/>
                  </a:lnTo>
                  <a:lnTo>
                    <a:pt x="469" y="247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69" y="249"/>
                  </a:lnTo>
                  <a:lnTo>
                    <a:pt x="472" y="252"/>
                  </a:lnTo>
                  <a:lnTo>
                    <a:pt x="474" y="252"/>
                  </a:lnTo>
                  <a:lnTo>
                    <a:pt x="474" y="254"/>
                  </a:lnTo>
                  <a:lnTo>
                    <a:pt x="477" y="254"/>
                  </a:lnTo>
                  <a:lnTo>
                    <a:pt x="479" y="254"/>
                  </a:lnTo>
                  <a:lnTo>
                    <a:pt x="479" y="252"/>
                  </a:lnTo>
                  <a:lnTo>
                    <a:pt x="482" y="252"/>
                  </a:lnTo>
                  <a:lnTo>
                    <a:pt x="482" y="254"/>
                  </a:lnTo>
                  <a:lnTo>
                    <a:pt x="485" y="257"/>
                  </a:lnTo>
                  <a:lnTo>
                    <a:pt x="487" y="257"/>
                  </a:lnTo>
                  <a:lnTo>
                    <a:pt x="490" y="259"/>
                  </a:lnTo>
                  <a:lnTo>
                    <a:pt x="490" y="259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2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5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67"/>
                  </a:lnTo>
                  <a:lnTo>
                    <a:pt x="495" y="270"/>
                  </a:lnTo>
                  <a:lnTo>
                    <a:pt x="495" y="270"/>
                  </a:lnTo>
                  <a:lnTo>
                    <a:pt x="495" y="272"/>
                  </a:lnTo>
                  <a:lnTo>
                    <a:pt x="495" y="272"/>
                  </a:lnTo>
                  <a:lnTo>
                    <a:pt x="495" y="275"/>
                  </a:lnTo>
                  <a:lnTo>
                    <a:pt x="495" y="275"/>
                  </a:lnTo>
                  <a:lnTo>
                    <a:pt x="495" y="278"/>
                  </a:lnTo>
                  <a:lnTo>
                    <a:pt x="497" y="278"/>
                  </a:lnTo>
                  <a:lnTo>
                    <a:pt x="497" y="280"/>
                  </a:lnTo>
                  <a:lnTo>
                    <a:pt x="500" y="280"/>
                  </a:lnTo>
                  <a:lnTo>
                    <a:pt x="503" y="283"/>
                  </a:lnTo>
                  <a:lnTo>
                    <a:pt x="505" y="283"/>
                  </a:lnTo>
                  <a:lnTo>
                    <a:pt x="508" y="283"/>
                  </a:lnTo>
                  <a:lnTo>
                    <a:pt x="508" y="283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08" y="280"/>
                  </a:lnTo>
                  <a:lnTo>
                    <a:pt x="510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3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0"/>
                  </a:lnTo>
                  <a:lnTo>
                    <a:pt x="516" y="283"/>
                  </a:lnTo>
                  <a:lnTo>
                    <a:pt x="516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18" y="283"/>
                  </a:lnTo>
                  <a:lnTo>
                    <a:pt x="521" y="283"/>
                  </a:lnTo>
                  <a:lnTo>
                    <a:pt x="521" y="285"/>
                  </a:lnTo>
                  <a:lnTo>
                    <a:pt x="521" y="285"/>
                  </a:lnTo>
                  <a:lnTo>
                    <a:pt x="521" y="288"/>
                  </a:lnTo>
                  <a:lnTo>
                    <a:pt x="521" y="291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3" y="293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29" y="296"/>
                  </a:lnTo>
                  <a:lnTo>
                    <a:pt x="531" y="293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4" y="296"/>
                  </a:lnTo>
                  <a:lnTo>
                    <a:pt x="534" y="298"/>
                  </a:lnTo>
                  <a:lnTo>
                    <a:pt x="534" y="301"/>
                  </a:lnTo>
                  <a:lnTo>
                    <a:pt x="536" y="304"/>
                  </a:lnTo>
                  <a:lnTo>
                    <a:pt x="539" y="304"/>
                  </a:lnTo>
                  <a:lnTo>
                    <a:pt x="539" y="306"/>
                  </a:lnTo>
                  <a:lnTo>
                    <a:pt x="541" y="309"/>
                  </a:lnTo>
                  <a:lnTo>
                    <a:pt x="541" y="311"/>
                  </a:lnTo>
                  <a:lnTo>
                    <a:pt x="541" y="311"/>
                  </a:lnTo>
                  <a:lnTo>
                    <a:pt x="539" y="311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1" y="314"/>
                  </a:lnTo>
                  <a:lnTo>
                    <a:pt x="544" y="314"/>
                  </a:lnTo>
                  <a:lnTo>
                    <a:pt x="544" y="317"/>
                  </a:lnTo>
                  <a:lnTo>
                    <a:pt x="544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7"/>
                  </a:lnTo>
                  <a:lnTo>
                    <a:pt x="541" y="319"/>
                  </a:lnTo>
                  <a:lnTo>
                    <a:pt x="541" y="319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41" y="322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4" y="327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7"/>
                  </a:lnTo>
                  <a:lnTo>
                    <a:pt x="541" y="327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29"/>
                  </a:lnTo>
                  <a:lnTo>
                    <a:pt x="541" y="332"/>
                  </a:lnTo>
                  <a:lnTo>
                    <a:pt x="541" y="332"/>
                  </a:lnTo>
                  <a:lnTo>
                    <a:pt x="541" y="335"/>
                  </a:lnTo>
                  <a:lnTo>
                    <a:pt x="541" y="337"/>
                  </a:lnTo>
                  <a:lnTo>
                    <a:pt x="541" y="337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2"/>
                  </a:lnTo>
                  <a:lnTo>
                    <a:pt x="541" y="342"/>
                  </a:lnTo>
                  <a:lnTo>
                    <a:pt x="539" y="345"/>
                  </a:lnTo>
                  <a:lnTo>
                    <a:pt x="539" y="345"/>
                  </a:lnTo>
                  <a:lnTo>
                    <a:pt x="539" y="348"/>
                  </a:lnTo>
                  <a:lnTo>
                    <a:pt x="539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6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0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3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31" y="361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55"/>
                  </a:lnTo>
                  <a:lnTo>
                    <a:pt x="523" y="355"/>
                  </a:lnTo>
                  <a:lnTo>
                    <a:pt x="523" y="353"/>
                  </a:lnTo>
                  <a:lnTo>
                    <a:pt x="523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18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6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3" y="350"/>
                  </a:lnTo>
                  <a:lnTo>
                    <a:pt x="510" y="350"/>
                  </a:lnTo>
                  <a:lnTo>
                    <a:pt x="510" y="348"/>
                  </a:lnTo>
                  <a:lnTo>
                    <a:pt x="508" y="348"/>
                  </a:lnTo>
                  <a:lnTo>
                    <a:pt x="508" y="345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8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3" y="350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497" y="353"/>
                  </a:lnTo>
                  <a:lnTo>
                    <a:pt x="497" y="353"/>
                  </a:lnTo>
                  <a:lnTo>
                    <a:pt x="500" y="353"/>
                  </a:lnTo>
                  <a:lnTo>
                    <a:pt x="500" y="353"/>
                  </a:lnTo>
                  <a:lnTo>
                    <a:pt x="500" y="355"/>
                  </a:lnTo>
                  <a:lnTo>
                    <a:pt x="500" y="355"/>
                  </a:lnTo>
                  <a:lnTo>
                    <a:pt x="500" y="358"/>
                  </a:lnTo>
                  <a:lnTo>
                    <a:pt x="500" y="358"/>
                  </a:lnTo>
                  <a:lnTo>
                    <a:pt x="500" y="361"/>
                  </a:lnTo>
                  <a:lnTo>
                    <a:pt x="500" y="363"/>
                  </a:lnTo>
                  <a:lnTo>
                    <a:pt x="500" y="366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68"/>
                  </a:lnTo>
                  <a:lnTo>
                    <a:pt x="497" y="371"/>
                  </a:lnTo>
                  <a:lnTo>
                    <a:pt x="500" y="371"/>
                  </a:lnTo>
                  <a:lnTo>
                    <a:pt x="500" y="374"/>
                  </a:lnTo>
                  <a:lnTo>
                    <a:pt x="497" y="376"/>
                  </a:lnTo>
                  <a:lnTo>
                    <a:pt x="497" y="376"/>
                  </a:lnTo>
                  <a:lnTo>
                    <a:pt x="497" y="379"/>
                  </a:lnTo>
                  <a:lnTo>
                    <a:pt x="497" y="381"/>
                  </a:lnTo>
                  <a:lnTo>
                    <a:pt x="497" y="384"/>
                  </a:lnTo>
                  <a:lnTo>
                    <a:pt x="495" y="384"/>
                  </a:lnTo>
                  <a:lnTo>
                    <a:pt x="492" y="387"/>
                  </a:lnTo>
                  <a:lnTo>
                    <a:pt x="487" y="392"/>
                  </a:lnTo>
                  <a:lnTo>
                    <a:pt x="485" y="394"/>
                  </a:lnTo>
                  <a:lnTo>
                    <a:pt x="482" y="394"/>
                  </a:lnTo>
                  <a:lnTo>
                    <a:pt x="479" y="397"/>
                  </a:lnTo>
                  <a:lnTo>
                    <a:pt x="477" y="397"/>
                  </a:lnTo>
                  <a:lnTo>
                    <a:pt x="474" y="397"/>
                  </a:lnTo>
                  <a:lnTo>
                    <a:pt x="469" y="397"/>
                  </a:lnTo>
                  <a:lnTo>
                    <a:pt x="466" y="400"/>
                  </a:lnTo>
                  <a:lnTo>
                    <a:pt x="464" y="400"/>
                  </a:lnTo>
                  <a:lnTo>
                    <a:pt x="464" y="400"/>
                  </a:lnTo>
                  <a:lnTo>
                    <a:pt x="461" y="400"/>
                  </a:lnTo>
                  <a:lnTo>
                    <a:pt x="461" y="400"/>
                  </a:lnTo>
                  <a:lnTo>
                    <a:pt x="459" y="400"/>
                  </a:lnTo>
                  <a:lnTo>
                    <a:pt x="456" y="402"/>
                  </a:lnTo>
                  <a:lnTo>
                    <a:pt x="453" y="402"/>
                  </a:lnTo>
                  <a:lnTo>
                    <a:pt x="453" y="402"/>
                  </a:lnTo>
                  <a:lnTo>
                    <a:pt x="451" y="405"/>
                  </a:lnTo>
                  <a:lnTo>
                    <a:pt x="451" y="407"/>
                  </a:lnTo>
                  <a:lnTo>
                    <a:pt x="448" y="407"/>
                  </a:lnTo>
                  <a:lnTo>
                    <a:pt x="448" y="410"/>
                  </a:lnTo>
                  <a:lnTo>
                    <a:pt x="443" y="412"/>
                  </a:lnTo>
                  <a:lnTo>
                    <a:pt x="443" y="412"/>
                  </a:lnTo>
                  <a:lnTo>
                    <a:pt x="441" y="412"/>
                  </a:lnTo>
                  <a:lnTo>
                    <a:pt x="438" y="412"/>
                  </a:lnTo>
                  <a:lnTo>
                    <a:pt x="435" y="412"/>
                  </a:lnTo>
                  <a:lnTo>
                    <a:pt x="435" y="415"/>
                  </a:lnTo>
                  <a:lnTo>
                    <a:pt x="435" y="418"/>
                  </a:lnTo>
                  <a:lnTo>
                    <a:pt x="435" y="418"/>
                  </a:lnTo>
                  <a:lnTo>
                    <a:pt x="433" y="420"/>
                  </a:lnTo>
                  <a:lnTo>
                    <a:pt x="433" y="420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30" y="423"/>
                  </a:lnTo>
                  <a:lnTo>
                    <a:pt x="428" y="423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5"/>
                  </a:lnTo>
                  <a:lnTo>
                    <a:pt x="428" y="428"/>
                  </a:lnTo>
                  <a:lnTo>
                    <a:pt x="425" y="428"/>
                  </a:lnTo>
                  <a:lnTo>
                    <a:pt x="425" y="425"/>
                  </a:lnTo>
                  <a:lnTo>
                    <a:pt x="425" y="425"/>
                  </a:lnTo>
                  <a:lnTo>
                    <a:pt x="425" y="428"/>
                  </a:lnTo>
                  <a:lnTo>
                    <a:pt x="422" y="428"/>
                  </a:lnTo>
                  <a:lnTo>
                    <a:pt x="422" y="428"/>
                  </a:lnTo>
                  <a:lnTo>
                    <a:pt x="422" y="431"/>
                  </a:lnTo>
                  <a:lnTo>
                    <a:pt x="422" y="431"/>
                  </a:lnTo>
                  <a:lnTo>
                    <a:pt x="422" y="433"/>
                  </a:lnTo>
                  <a:lnTo>
                    <a:pt x="422" y="436"/>
                  </a:lnTo>
                  <a:lnTo>
                    <a:pt x="425" y="438"/>
                  </a:lnTo>
                  <a:lnTo>
                    <a:pt x="428" y="438"/>
                  </a:lnTo>
                  <a:lnTo>
                    <a:pt x="430" y="444"/>
                  </a:lnTo>
                  <a:lnTo>
                    <a:pt x="433" y="444"/>
                  </a:lnTo>
                  <a:lnTo>
                    <a:pt x="435" y="446"/>
                  </a:lnTo>
                  <a:lnTo>
                    <a:pt x="435" y="451"/>
                  </a:lnTo>
                  <a:lnTo>
                    <a:pt x="435" y="451"/>
                  </a:lnTo>
                  <a:lnTo>
                    <a:pt x="435" y="454"/>
                  </a:lnTo>
                  <a:lnTo>
                    <a:pt x="435" y="457"/>
                  </a:lnTo>
                  <a:lnTo>
                    <a:pt x="438" y="457"/>
                  </a:lnTo>
                  <a:lnTo>
                    <a:pt x="438" y="457"/>
                  </a:lnTo>
                  <a:lnTo>
                    <a:pt x="441" y="457"/>
                  </a:lnTo>
                  <a:lnTo>
                    <a:pt x="441" y="457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3" y="459"/>
                  </a:lnTo>
                  <a:lnTo>
                    <a:pt x="443" y="459"/>
                  </a:lnTo>
                  <a:lnTo>
                    <a:pt x="443" y="462"/>
                  </a:lnTo>
                  <a:lnTo>
                    <a:pt x="443" y="462"/>
                  </a:lnTo>
                  <a:lnTo>
                    <a:pt x="446" y="464"/>
                  </a:lnTo>
                  <a:lnTo>
                    <a:pt x="446" y="467"/>
                  </a:lnTo>
                  <a:lnTo>
                    <a:pt x="446" y="470"/>
                  </a:lnTo>
                  <a:lnTo>
                    <a:pt x="448" y="472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48" y="477"/>
                  </a:lnTo>
                  <a:lnTo>
                    <a:pt x="448" y="480"/>
                  </a:lnTo>
                  <a:lnTo>
                    <a:pt x="446" y="482"/>
                  </a:lnTo>
                  <a:lnTo>
                    <a:pt x="446" y="482"/>
                  </a:lnTo>
                  <a:lnTo>
                    <a:pt x="446" y="485"/>
                  </a:lnTo>
                  <a:lnTo>
                    <a:pt x="443" y="488"/>
                  </a:lnTo>
                  <a:lnTo>
                    <a:pt x="441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0"/>
                  </a:lnTo>
                  <a:lnTo>
                    <a:pt x="443" y="493"/>
                  </a:lnTo>
                  <a:lnTo>
                    <a:pt x="441" y="493"/>
                  </a:lnTo>
                  <a:lnTo>
                    <a:pt x="441" y="493"/>
                  </a:lnTo>
                  <a:lnTo>
                    <a:pt x="441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41" y="498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46" y="498"/>
                  </a:lnTo>
                  <a:lnTo>
                    <a:pt x="446" y="501"/>
                  </a:lnTo>
                  <a:lnTo>
                    <a:pt x="446" y="501"/>
                  </a:lnTo>
                  <a:lnTo>
                    <a:pt x="448" y="501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48" y="498"/>
                  </a:lnTo>
                  <a:lnTo>
                    <a:pt x="451" y="498"/>
                  </a:lnTo>
                  <a:lnTo>
                    <a:pt x="451" y="498"/>
                  </a:lnTo>
                  <a:lnTo>
                    <a:pt x="453" y="498"/>
                  </a:lnTo>
                  <a:lnTo>
                    <a:pt x="453" y="498"/>
                  </a:lnTo>
                  <a:lnTo>
                    <a:pt x="456" y="501"/>
                  </a:lnTo>
                  <a:lnTo>
                    <a:pt x="456" y="503"/>
                  </a:lnTo>
                  <a:lnTo>
                    <a:pt x="456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3"/>
                  </a:lnTo>
                  <a:lnTo>
                    <a:pt x="459" y="506"/>
                  </a:lnTo>
                  <a:lnTo>
                    <a:pt x="459" y="506"/>
                  </a:lnTo>
                  <a:lnTo>
                    <a:pt x="459" y="508"/>
                  </a:lnTo>
                  <a:lnTo>
                    <a:pt x="459" y="508"/>
                  </a:lnTo>
                  <a:lnTo>
                    <a:pt x="459" y="511"/>
                  </a:lnTo>
                  <a:lnTo>
                    <a:pt x="461" y="511"/>
                  </a:lnTo>
                  <a:lnTo>
                    <a:pt x="461" y="511"/>
                  </a:lnTo>
                  <a:lnTo>
                    <a:pt x="461" y="514"/>
                  </a:lnTo>
                  <a:lnTo>
                    <a:pt x="459" y="516"/>
                  </a:lnTo>
                  <a:lnTo>
                    <a:pt x="459" y="519"/>
                  </a:lnTo>
                  <a:lnTo>
                    <a:pt x="456" y="519"/>
                  </a:lnTo>
                  <a:lnTo>
                    <a:pt x="459" y="519"/>
                  </a:lnTo>
                  <a:lnTo>
                    <a:pt x="459" y="519"/>
                  </a:lnTo>
                  <a:lnTo>
                    <a:pt x="459" y="521"/>
                  </a:lnTo>
                  <a:lnTo>
                    <a:pt x="456" y="521"/>
                  </a:lnTo>
                  <a:lnTo>
                    <a:pt x="456" y="521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4"/>
                  </a:lnTo>
                  <a:lnTo>
                    <a:pt x="456" y="527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29"/>
                  </a:lnTo>
                  <a:lnTo>
                    <a:pt x="453" y="532"/>
                  </a:lnTo>
                  <a:lnTo>
                    <a:pt x="456" y="534"/>
                  </a:lnTo>
                  <a:lnTo>
                    <a:pt x="456" y="537"/>
                  </a:lnTo>
                  <a:lnTo>
                    <a:pt x="453" y="537"/>
                  </a:lnTo>
                  <a:lnTo>
                    <a:pt x="453" y="537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3" y="540"/>
                  </a:lnTo>
                  <a:lnTo>
                    <a:pt x="451" y="540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51" y="542"/>
                  </a:lnTo>
                  <a:lnTo>
                    <a:pt x="448" y="542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8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6" y="540"/>
                  </a:lnTo>
                  <a:lnTo>
                    <a:pt x="443" y="540"/>
                  </a:lnTo>
                  <a:lnTo>
                    <a:pt x="441" y="537"/>
                  </a:lnTo>
                  <a:lnTo>
                    <a:pt x="438" y="534"/>
                  </a:lnTo>
                  <a:lnTo>
                    <a:pt x="438" y="534"/>
                  </a:lnTo>
                  <a:lnTo>
                    <a:pt x="435" y="534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5" y="532"/>
                  </a:lnTo>
                  <a:lnTo>
                    <a:pt x="433" y="532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9"/>
                  </a:lnTo>
                  <a:lnTo>
                    <a:pt x="433" y="527"/>
                  </a:lnTo>
                  <a:lnTo>
                    <a:pt x="433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8" y="527"/>
                  </a:lnTo>
                  <a:lnTo>
                    <a:pt x="425" y="524"/>
                  </a:lnTo>
                  <a:lnTo>
                    <a:pt x="425" y="524"/>
                  </a:lnTo>
                  <a:lnTo>
                    <a:pt x="425" y="521"/>
                  </a:lnTo>
                  <a:lnTo>
                    <a:pt x="425" y="521"/>
                  </a:lnTo>
                  <a:lnTo>
                    <a:pt x="428" y="519"/>
                  </a:lnTo>
                  <a:lnTo>
                    <a:pt x="428" y="519"/>
                  </a:lnTo>
                  <a:lnTo>
                    <a:pt x="428" y="516"/>
                  </a:lnTo>
                  <a:lnTo>
                    <a:pt x="428" y="516"/>
                  </a:lnTo>
                  <a:lnTo>
                    <a:pt x="430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5" y="514"/>
                  </a:lnTo>
                  <a:lnTo>
                    <a:pt x="425" y="511"/>
                  </a:lnTo>
                  <a:lnTo>
                    <a:pt x="422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8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5" y="506"/>
                  </a:lnTo>
                  <a:lnTo>
                    <a:pt x="422" y="506"/>
                  </a:lnTo>
                  <a:lnTo>
                    <a:pt x="422" y="506"/>
                  </a:lnTo>
                  <a:lnTo>
                    <a:pt x="420" y="503"/>
                  </a:lnTo>
                  <a:lnTo>
                    <a:pt x="420" y="503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5" y="506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5" y="503"/>
                  </a:lnTo>
                  <a:lnTo>
                    <a:pt x="412" y="503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9" y="506"/>
                  </a:lnTo>
                  <a:lnTo>
                    <a:pt x="407" y="506"/>
                  </a:lnTo>
                  <a:lnTo>
                    <a:pt x="404" y="506"/>
                  </a:lnTo>
                  <a:lnTo>
                    <a:pt x="407" y="506"/>
                  </a:lnTo>
                  <a:lnTo>
                    <a:pt x="407" y="506"/>
                  </a:lnTo>
                  <a:lnTo>
                    <a:pt x="404" y="508"/>
                  </a:lnTo>
                  <a:lnTo>
                    <a:pt x="404" y="511"/>
                  </a:lnTo>
                  <a:lnTo>
                    <a:pt x="402" y="511"/>
                  </a:lnTo>
                  <a:lnTo>
                    <a:pt x="402" y="511"/>
                  </a:lnTo>
                  <a:lnTo>
                    <a:pt x="399" y="511"/>
                  </a:lnTo>
                  <a:lnTo>
                    <a:pt x="399" y="511"/>
                  </a:lnTo>
                  <a:lnTo>
                    <a:pt x="397" y="514"/>
                  </a:lnTo>
                  <a:lnTo>
                    <a:pt x="397" y="514"/>
                  </a:lnTo>
                  <a:lnTo>
                    <a:pt x="394" y="514"/>
                  </a:lnTo>
                  <a:lnTo>
                    <a:pt x="394" y="514"/>
                  </a:lnTo>
                  <a:lnTo>
                    <a:pt x="391" y="511"/>
                  </a:lnTo>
                  <a:lnTo>
                    <a:pt x="391" y="511"/>
                  </a:lnTo>
                  <a:lnTo>
                    <a:pt x="391" y="508"/>
                  </a:lnTo>
                  <a:lnTo>
                    <a:pt x="389" y="508"/>
                  </a:lnTo>
                  <a:lnTo>
                    <a:pt x="389" y="506"/>
                  </a:lnTo>
                  <a:lnTo>
                    <a:pt x="389" y="503"/>
                  </a:lnTo>
                  <a:lnTo>
                    <a:pt x="389" y="503"/>
                  </a:lnTo>
                  <a:lnTo>
                    <a:pt x="389" y="501"/>
                  </a:lnTo>
                  <a:lnTo>
                    <a:pt x="386" y="501"/>
                  </a:lnTo>
                  <a:lnTo>
                    <a:pt x="384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81" y="503"/>
                  </a:lnTo>
                  <a:lnTo>
                    <a:pt x="378" y="503"/>
                  </a:lnTo>
                  <a:lnTo>
                    <a:pt x="378" y="503"/>
                  </a:lnTo>
                  <a:lnTo>
                    <a:pt x="376" y="503"/>
                  </a:lnTo>
                  <a:lnTo>
                    <a:pt x="376" y="503"/>
                  </a:lnTo>
                  <a:lnTo>
                    <a:pt x="376" y="501"/>
                  </a:lnTo>
                  <a:lnTo>
                    <a:pt x="373" y="501"/>
                  </a:lnTo>
                  <a:lnTo>
                    <a:pt x="373" y="503"/>
                  </a:lnTo>
                  <a:lnTo>
                    <a:pt x="371" y="503"/>
                  </a:lnTo>
                  <a:lnTo>
                    <a:pt x="368" y="503"/>
                  </a:lnTo>
                  <a:lnTo>
                    <a:pt x="368" y="503"/>
                  </a:lnTo>
                  <a:lnTo>
                    <a:pt x="365" y="503"/>
                  </a:lnTo>
                  <a:lnTo>
                    <a:pt x="365" y="503"/>
                  </a:lnTo>
                  <a:lnTo>
                    <a:pt x="365" y="501"/>
                  </a:lnTo>
                  <a:lnTo>
                    <a:pt x="365" y="498"/>
                  </a:lnTo>
                  <a:lnTo>
                    <a:pt x="365" y="498"/>
                  </a:lnTo>
                  <a:lnTo>
                    <a:pt x="368" y="498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5"/>
                  </a:lnTo>
                  <a:lnTo>
                    <a:pt x="368" y="493"/>
                  </a:lnTo>
                  <a:lnTo>
                    <a:pt x="365" y="495"/>
                  </a:lnTo>
                  <a:lnTo>
                    <a:pt x="365" y="495"/>
                  </a:lnTo>
                  <a:lnTo>
                    <a:pt x="363" y="498"/>
                  </a:lnTo>
                  <a:lnTo>
                    <a:pt x="363" y="498"/>
                  </a:lnTo>
                  <a:lnTo>
                    <a:pt x="360" y="501"/>
                  </a:lnTo>
                  <a:lnTo>
                    <a:pt x="358" y="501"/>
                  </a:lnTo>
                  <a:lnTo>
                    <a:pt x="355" y="501"/>
                  </a:lnTo>
                  <a:lnTo>
                    <a:pt x="358" y="503"/>
                  </a:lnTo>
                  <a:lnTo>
                    <a:pt x="358" y="506"/>
                  </a:lnTo>
                  <a:lnTo>
                    <a:pt x="360" y="508"/>
                  </a:lnTo>
                  <a:lnTo>
                    <a:pt x="360" y="511"/>
                  </a:lnTo>
                  <a:lnTo>
                    <a:pt x="360" y="514"/>
                  </a:lnTo>
                  <a:lnTo>
                    <a:pt x="360" y="514"/>
                  </a:lnTo>
                  <a:lnTo>
                    <a:pt x="360" y="516"/>
                  </a:lnTo>
                  <a:lnTo>
                    <a:pt x="363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58" y="519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8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5" y="516"/>
                  </a:lnTo>
                  <a:lnTo>
                    <a:pt x="353" y="516"/>
                  </a:lnTo>
                  <a:lnTo>
                    <a:pt x="353" y="516"/>
                  </a:lnTo>
                  <a:lnTo>
                    <a:pt x="347" y="516"/>
                  </a:lnTo>
                  <a:lnTo>
                    <a:pt x="345" y="516"/>
                  </a:lnTo>
                  <a:lnTo>
                    <a:pt x="342" y="516"/>
                  </a:lnTo>
                  <a:lnTo>
                    <a:pt x="340" y="516"/>
                  </a:lnTo>
                  <a:lnTo>
                    <a:pt x="340" y="516"/>
                  </a:lnTo>
                  <a:lnTo>
                    <a:pt x="340" y="514"/>
                  </a:lnTo>
                  <a:lnTo>
                    <a:pt x="340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7" y="516"/>
                  </a:lnTo>
                  <a:lnTo>
                    <a:pt x="334" y="516"/>
                  </a:lnTo>
                  <a:lnTo>
                    <a:pt x="334" y="516"/>
                  </a:lnTo>
                  <a:lnTo>
                    <a:pt x="332" y="516"/>
                  </a:lnTo>
                  <a:lnTo>
                    <a:pt x="332" y="516"/>
                  </a:lnTo>
                  <a:lnTo>
                    <a:pt x="329" y="516"/>
                  </a:lnTo>
                  <a:lnTo>
                    <a:pt x="327" y="516"/>
                  </a:lnTo>
                  <a:lnTo>
                    <a:pt x="324" y="516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19"/>
                  </a:lnTo>
                  <a:lnTo>
                    <a:pt x="321" y="521"/>
                  </a:lnTo>
                  <a:lnTo>
                    <a:pt x="319" y="521"/>
                  </a:lnTo>
                  <a:lnTo>
                    <a:pt x="319" y="521"/>
                  </a:lnTo>
                  <a:lnTo>
                    <a:pt x="316" y="521"/>
                  </a:lnTo>
                  <a:lnTo>
                    <a:pt x="314" y="521"/>
                  </a:lnTo>
                  <a:lnTo>
                    <a:pt x="314" y="521"/>
                  </a:lnTo>
                  <a:lnTo>
                    <a:pt x="311" y="521"/>
                  </a:lnTo>
                  <a:lnTo>
                    <a:pt x="309" y="521"/>
                  </a:lnTo>
                  <a:lnTo>
                    <a:pt x="306" y="521"/>
                  </a:lnTo>
                  <a:lnTo>
                    <a:pt x="303" y="521"/>
                  </a:lnTo>
                  <a:lnTo>
                    <a:pt x="301" y="521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6" y="524"/>
                  </a:lnTo>
                  <a:lnTo>
                    <a:pt x="293" y="527"/>
                  </a:lnTo>
                  <a:lnTo>
                    <a:pt x="293" y="529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90" y="534"/>
                  </a:lnTo>
                  <a:lnTo>
                    <a:pt x="288" y="534"/>
                  </a:lnTo>
                  <a:lnTo>
                    <a:pt x="288" y="534"/>
                  </a:lnTo>
                  <a:lnTo>
                    <a:pt x="285" y="534"/>
                  </a:lnTo>
                  <a:lnTo>
                    <a:pt x="285" y="534"/>
                  </a:lnTo>
                  <a:lnTo>
                    <a:pt x="283" y="534"/>
                  </a:lnTo>
                  <a:lnTo>
                    <a:pt x="283" y="534"/>
                  </a:lnTo>
                  <a:lnTo>
                    <a:pt x="280" y="534"/>
                  </a:lnTo>
                  <a:lnTo>
                    <a:pt x="280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7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2" y="537"/>
                  </a:lnTo>
                  <a:lnTo>
                    <a:pt x="270" y="540"/>
                  </a:lnTo>
                  <a:lnTo>
                    <a:pt x="270" y="540"/>
                  </a:lnTo>
                  <a:lnTo>
                    <a:pt x="270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2" y="542"/>
                  </a:lnTo>
                  <a:lnTo>
                    <a:pt x="275" y="542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0" y="545"/>
                  </a:lnTo>
                  <a:lnTo>
                    <a:pt x="267" y="545"/>
                  </a:lnTo>
                  <a:lnTo>
                    <a:pt x="264" y="545"/>
                  </a:lnTo>
                  <a:lnTo>
                    <a:pt x="264" y="545"/>
                  </a:lnTo>
                  <a:lnTo>
                    <a:pt x="262" y="547"/>
                  </a:lnTo>
                  <a:lnTo>
                    <a:pt x="262" y="550"/>
                  </a:lnTo>
                  <a:lnTo>
                    <a:pt x="262" y="550"/>
                  </a:lnTo>
                  <a:lnTo>
                    <a:pt x="259" y="547"/>
                  </a:lnTo>
                  <a:lnTo>
                    <a:pt x="259" y="547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0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9" y="552"/>
                  </a:lnTo>
                  <a:lnTo>
                    <a:pt x="257" y="555"/>
                  </a:lnTo>
                  <a:lnTo>
                    <a:pt x="257" y="555"/>
                  </a:lnTo>
                  <a:lnTo>
                    <a:pt x="254" y="555"/>
                  </a:lnTo>
                  <a:lnTo>
                    <a:pt x="254" y="555"/>
                  </a:lnTo>
                  <a:lnTo>
                    <a:pt x="252" y="555"/>
                  </a:lnTo>
                  <a:lnTo>
                    <a:pt x="252" y="555"/>
                  </a:lnTo>
                  <a:lnTo>
                    <a:pt x="252" y="552"/>
                  </a:lnTo>
                  <a:lnTo>
                    <a:pt x="252" y="552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50"/>
                  </a:lnTo>
                  <a:lnTo>
                    <a:pt x="254" y="547"/>
                  </a:lnTo>
                  <a:lnTo>
                    <a:pt x="252" y="547"/>
                  </a:lnTo>
                  <a:lnTo>
                    <a:pt x="249" y="547"/>
                  </a:lnTo>
                  <a:lnTo>
                    <a:pt x="246" y="550"/>
                  </a:lnTo>
                  <a:lnTo>
                    <a:pt x="244" y="550"/>
                  </a:lnTo>
                  <a:lnTo>
                    <a:pt x="241" y="550"/>
                  </a:lnTo>
                  <a:lnTo>
                    <a:pt x="241" y="550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2"/>
                  </a:lnTo>
                  <a:lnTo>
                    <a:pt x="241" y="555"/>
                  </a:lnTo>
                  <a:lnTo>
                    <a:pt x="239" y="555"/>
                  </a:lnTo>
                  <a:lnTo>
                    <a:pt x="239" y="555"/>
                  </a:lnTo>
                  <a:lnTo>
                    <a:pt x="236" y="555"/>
                  </a:lnTo>
                  <a:lnTo>
                    <a:pt x="233" y="555"/>
                  </a:lnTo>
                  <a:lnTo>
                    <a:pt x="231" y="555"/>
                  </a:lnTo>
                  <a:lnTo>
                    <a:pt x="228" y="555"/>
                  </a:lnTo>
                  <a:lnTo>
                    <a:pt x="226" y="555"/>
                  </a:lnTo>
                  <a:lnTo>
                    <a:pt x="223" y="555"/>
                  </a:lnTo>
                  <a:lnTo>
                    <a:pt x="223" y="552"/>
                  </a:lnTo>
                  <a:lnTo>
                    <a:pt x="223" y="552"/>
                  </a:lnTo>
                  <a:lnTo>
                    <a:pt x="223" y="550"/>
                  </a:lnTo>
                  <a:lnTo>
                    <a:pt x="226" y="550"/>
                  </a:lnTo>
                  <a:lnTo>
                    <a:pt x="226" y="547"/>
                  </a:lnTo>
                  <a:lnTo>
                    <a:pt x="226" y="547"/>
                  </a:lnTo>
                  <a:lnTo>
                    <a:pt x="223" y="545"/>
                  </a:lnTo>
                  <a:lnTo>
                    <a:pt x="220" y="545"/>
                  </a:lnTo>
                  <a:lnTo>
                    <a:pt x="220" y="542"/>
                  </a:lnTo>
                  <a:lnTo>
                    <a:pt x="218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20" y="540"/>
                  </a:lnTo>
                  <a:lnTo>
                    <a:pt x="218" y="540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40"/>
                  </a:lnTo>
                  <a:lnTo>
                    <a:pt x="213" y="537"/>
                  </a:lnTo>
                  <a:lnTo>
                    <a:pt x="213" y="537"/>
                  </a:lnTo>
                  <a:lnTo>
                    <a:pt x="213" y="534"/>
                  </a:lnTo>
                  <a:lnTo>
                    <a:pt x="213" y="534"/>
                  </a:lnTo>
                  <a:lnTo>
                    <a:pt x="215" y="534"/>
                  </a:lnTo>
                  <a:lnTo>
                    <a:pt x="218" y="534"/>
                  </a:lnTo>
                  <a:lnTo>
                    <a:pt x="218" y="534"/>
                  </a:lnTo>
                  <a:lnTo>
                    <a:pt x="215" y="532"/>
                  </a:lnTo>
                  <a:lnTo>
                    <a:pt x="215" y="529"/>
                  </a:lnTo>
                  <a:lnTo>
                    <a:pt x="213" y="529"/>
                  </a:lnTo>
                  <a:lnTo>
                    <a:pt x="210" y="529"/>
                  </a:lnTo>
                  <a:lnTo>
                    <a:pt x="210" y="532"/>
                  </a:lnTo>
                  <a:lnTo>
                    <a:pt x="208" y="532"/>
                  </a:lnTo>
                  <a:lnTo>
                    <a:pt x="208" y="532"/>
                  </a:lnTo>
                  <a:lnTo>
                    <a:pt x="205" y="532"/>
                  </a:lnTo>
                  <a:lnTo>
                    <a:pt x="205" y="532"/>
                  </a:lnTo>
                  <a:lnTo>
                    <a:pt x="202" y="532"/>
                  </a:lnTo>
                  <a:lnTo>
                    <a:pt x="202" y="532"/>
                  </a:lnTo>
                  <a:lnTo>
                    <a:pt x="202" y="534"/>
                  </a:lnTo>
                  <a:lnTo>
                    <a:pt x="200" y="532"/>
                  </a:lnTo>
                  <a:lnTo>
                    <a:pt x="200" y="532"/>
                  </a:lnTo>
                  <a:lnTo>
                    <a:pt x="200" y="529"/>
                  </a:lnTo>
                  <a:lnTo>
                    <a:pt x="200" y="529"/>
                  </a:lnTo>
                  <a:lnTo>
                    <a:pt x="197" y="529"/>
                  </a:lnTo>
                  <a:lnTo>
                    <a:pt x="197" y="529"/>
                  </a:lnTo>
                  <a:lnTo>
                    <a:pt x="195" y="529"/>
                  </a:lnTo>
                  <a:lnTo>
                    <a:pt x="192" y="529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87" y="527"/>
                  </a:lnTo>
                  <a:lnTo>
                    <a:pt x="187" y="527"/>
                  </a:lnTo>
                  <a:lnTo>
                    <a:pt x="184" y="524"/>
                  </a:lnTo>
                  <a:lnTo>
                    <a:pt x="184" y="524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82" y="527"/>
                  </a:lnTo>
                  <a:lnTo>
                    <a:pt x="179" y="527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9" y="529"/>
                  </a:lnTo>
                  <a:lnTo>
                    <a:pt x="176" y="529"/>
                  </a:lnTo>
                  <a:lnTo>
                    <a:pt x="174" y="529"/>
                  </a:lnTo>
                  <a:lnTo>
                    <a:pt x="171" y="529"/>
                  </a:lnTo>
                  <a:lnTo>
                    <a:pt x="171" y="529"/>
                  </a:lnTo>
                  <a:lnTo>
                    <a:pt x="169" y="529"/>
                  </a:lnTo>
                  <a:lnTo>
                    <a:pt x="169" y="529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4"/>
                  </a:lnTo>
                  <a:lnTo>
                    <a:pt x="169" y="524"/>
                  </a:lnTo>
                  <a:lnTo>
                    <a:pt x="169" y="521"/>
                  </a:lnTo>
                  <a:lnTo>
                    <a:pt x="169" y="521"/>
                  </a:lnTo>
                  <a:lnTo>
                    <a:pt x="166" y="521"/>
                  </a:lnTo>
                  <a:lnTo>
                    <a:pt x="166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1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4" y="524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7"/>
                  </a:lnTo>
                  <a:lnTo>
                    <a:pt x="166" y="529"/>
                  </a:lnTo>
                  <a:lnTo>
                    <a:pt x="164" y="532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4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6" y="542"/>
                  </a:lnTo>
                  <a:lnTo>
                    <a:pt x="169" y="542"/>
                  </a:lnTo>
                  <a:lnTo>
                    <a:pt x="166" y="542"/>
                  </a:lnTo>
                  <a:lnTo>
                    <a:pt x="166" y="545"/>
                  </a:lnTo>
                  <a:lnTo>
                    <a:pt x="169" y="547"/>
                  </a:lnTo>
                  <a:lnTo>
                    <a:pt x="169" y="547"/>
                  </a:lnTo>
                  <a:lnTo>
                    <a:pt x="166" y="547"/>
                  </a:lnTo>
                  <a:lnTo>
                    <a:pt x="166" y="550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2"/>
                  </a:lnTo>
                  <a:lnTo>
                    <a:pt x="164" y="555"/>
                  </a:lnTo>
                  <a:lnTo>
                    <a:pt x="164" y="555"/>
                  </a:lnTo>
                  <a:lnTo>
                    <a:pt x="164" y="558"/>
                  </a:lnTo>
                  <a:lnTo>
                    <a:pt x="164" y="558"/>
                  </a:lnTo>
                  <a:lnTo>
                    <a:pt x="161" y="558"/>
                  </a:lnTo>
                  <a:lnTo>
                    <a:pt x="161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58"/>
                  </a:lnTo>
                  <a:lnTo>
                    <a:pt x="158" y="560"/>
                  </a:lnTo>
                  <a:lnTo>
                    <a:pt x="158" y="563"/>
                  </a:lnTo>
                  <a:lnTo>
                    <a:pt x="156" y="563"/>
                  </a:lnTo>
                  <a:lnTo>
                    <a:pt x="156" y="565"/>
                  </a:lnTo>
                  <a:lnTo>
                    <a:pt x="153" y="565"/>
                  </a:lnTo>
                  <a:lnTo>
                    <a:pt x="153" y="568"/>
                  </a:lnTo>
                  <a:lnTo>
                    <a:pt x="153" y="568"/>
                  </a:lnTo>
                  <a:lnTo>
                    <a:pt x="151" y="571"/>
                  </a:lnTo>
                  <a:lnTo>
                    <a:pt x="145" y="573"/>
                  </a:lnTo>
                  <a:lnTo>
                    <a:pt x="143" y="573"/>
                  </a:lnTo>
                  <a:lnTo>
                    <a:pt x="143" y="573"/>
                  </a:lnTo>
                  <a:lnTo>
                    <a:pt x="143" y="576"/>
                  </a:lnTo>
                  <a:lnTo>
                    <a:pt x="140" y="576"/>
                  </a:lnTo>
                  <a:lnTo>
                    <a:pt x="138" y="576"/>
                  </a:lnTo>
                  <a:lnTo>
                    <a:pt x="138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71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8"/>
                  </a:lnTo>
                  <a:lnTo>
                    <a:pt x="138" y="565"/>
                  </a:lnTo>
                  <a:lnTo>
                    <a:pt x="138" y="565"/>
                  </a:lnTo>
                  <a:lnTo>
                    <a:pt x="138" y="563"/>
                  </a:lnTo>
                  <a:lnTo>
                    <a:pt x="140" y="563"/>
                  </a:lnTo>
                  <a:lnTo>
                    <a:pt x="140" y="560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40" y="558"/>
                  </a:lnTo>
                  <a:lnTo>
                    <a:pt x="138" y="558"/>
                  </a:lnTo>
                  <a:lnTo>
                    <a:pt x="138" y="558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8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5" y="555"/>
                  </a:lnTo>
                  <a:lnTo>
                    <a:pt x="132" y="558"/>
                  </a:lnTo>
                  <a:lnTo>
                    <a:pt x="132" y="558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0" y="560"/>
                  </a:lnTo>
                  <a:lnTo>
                    <a:pt x="130" y="558"/>
                  </a:lnTo>
                  <a:lnTo>
                    <a:pt x="127" y="560"/>
                  </a:lnTo>
                  <a:lnTo>
                    <a:pt x="127" y="560"/>
                  </a:lnTo>
                  <a:lnTo>
                    <a:pt x="125" y="563"/>
                  </a:lnTo>
                  <a:lnTo>
                    <a:pt x="125" y="560"/>
                  </a:lnTo>
                  <a:lnTo>
                    <a:pt x="125" y="555"/>
                  </a:lnTo>
                  <a:lnTo>
                    <a:pt x="125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2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5" y="550"/>
                  </a:lnTo>
                  <a:lnTo>
                    <a:pt x="127" y="550"/>
                  </a:lnTo>
                  <a:lnTo>
                    <a:pt x="127" y="550"/>
                  </a:lnTo>
                  <a:lnTo>
                    <a:pt x="125" y="547"/>
                  </a:lnTo>
                  <a:lnTo>
                    <a:pt x="125" y="547"/>
                  </a:lnTo>
                  <a:lnTo>
                    <a:pt x="125" y="545"/>
                  </a:lnTo>
                  <a:lnTo>
                    <a:pt x="125" y="542"/>
                  </a:lnTo>
                  <a:lnTo>
                    <a:pt x="125" y="542"/>
                  </a:lnTo>
                  <a:lnTo>
                    <a:pt x="122" y="545"/>
                  </a:lnTo>
                  <a:lnTo>
                    <a:pt x="122" y="542"/>
                  </a:lnTo>
                  <a:lnTo>
                    <a:pt x="122" y="542"/>
                  </a:lnTo>
                  <a:lnTo>
                    <a:pt x="120" y="540"/>
                  </a:lnTo>
                  <a:lnTo>
                    <a:pt x="120" y="540"/>
                  </a:lnTo>
                  <a:lnTo>
                    <a:pt x="120" y="537"/>
                  </a:lnTo>
                  <a:lnTo>
                    <a:pt x="117" y="537"/>
                  </a:lnTo>
                  <a:lnTo>
                    <a:pt x="117" y="540"/>
                  </a:lnTo>
                  <a:lnTo>
                    <a:pt x="114" y="540"/>
                  </a:lnTo>
                  <a:lnTo>
                    <a:pt x="114" y="540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4" y="537"/>
                  </a:lnTo>
                  <a:lnTo>
                    <a:pt x="112" y="534"/>
                  </a:lnTo>
                  <a:lnTo>
                    <a:pt x="112" y="534"/>
                  </a:lnTo>
                  <a:lnTo>
                    <a:pt x="112" y="532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9"/>
                  </a:lnTo>
                  <a:lnTo>
                    <a:pt x="112" y="527"/>
                  </a:lnTo>
                  <a:lnTo>
                    <a:pt x="112" y="527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12" y="529"/>
                  </a:lnTo>
                  <a:lnTo>
                    <a:pt x="109" y="529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7" y="532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4" y="529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9"/>
                  </a:lnTo>
                  <a:lnTo>
                    <a:pt x="101" y="529"/>
                  </a:lnTo>
                  <a:lnTo>
                    <a:pt x="99" y="529"/>
                  </a:lnTo>
                  <a:lnTo>
                    <a:pt x="96" y="529"/>
                  </a:lnTo>
                  <a:lnTo>
                    <a:pt x="96" y="527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1"/>
                  </a:lnTo>
                  <a:lnTo>
                    <a:pt x="96" y="521"/>
                  </a:lnTo>
                  <a:lnTo>
                    <a:pt x="94" y="521"/>
                  </a:lnTo>
                  <a:lnTo>
                    <a:pt x="94" y="521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91" y="519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1"/>
                  </a:lnTo>
                  <a:lnTo>
                    <a:pt x="88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4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7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6" y="529"/>
                  </a:lnTo>
                  <a:lnTo>
                    <a:pt x="83" y="529"/>
                  </a:lnTo>
                  <a:lnTo>
                    <a:pt x="83" y="529"/>
                  </a:lnTo>
                  <a:lnTo>
                    <a:pt x="83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81" y="527"/>
                  </a:lnTo>
                  <a:lnTo>
                    <a:pt x="81" y="527"/>
                  </a:lnTo>
                  <a:lnTo>
                    <a:pt x="78" y="527"/>
                  </a:lnTo>
                  <a:lnTo>
                    <a:pt x="78" y="527"/>
                  </a:lnTo>
                  <a:lnTo>
                    <a:pt x="76" y="527"/>
                  </a:lnTo>
                  <a:lnTo>
                    <a:pt x="76" y="524"/>
                  </a:lnTo>
                  <a:lnTo>
                    <a:pt x="76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3" y="524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0" y="521"/>
                  </a:lnTo>
                  <a:lnTo>
                    <a:pt x="73" y="521"/>
                  </a:lnTo>
                  <a:lnTo>
                    <a:pt x="73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9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6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78" y="516"/>
                  </a:lnTo>
                  <a:lnTo>
                    <a:pt x="81" y="519"/>
                  </a:lnTo>
                  <a:lnTo>
                    <a:pt x="81" y="516"/>
                  </a:lnTo>
                  <a:lnTo>
                    <a:pt x="83" y="519"/>
                  </a:lnTo>
                  <a:lnTo>
                    <a:pt x="83" y="519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6"/>
                  </a:lnTo>
                  <a:lnTo>
                    <a:pt x="86" y="519"/>
                  </a:lnTo>
                  <a:lnTo>
                    <a:pt x="86" y="516"/>
                  </a:lnTo>
                  <a:lnTo>
                    <a:pt x="88" y="516"/>
                  </a:lnTo>
                  <a:lnTo>
                    <a:pt x="88" y="514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4" y="511"/>
                  </a:lnTo>
                  <a:lnTo>
                    <a:pt x="94" y="508"/>
                  </a:lnTo>
                  <a:lnTo>
                    <a:pt x="94" y="508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6" y="506"/>
                  </a:lnTo>
                  <a:lnTo>
                    <a:pt x="99" y="506"/>
                  </a:lnTo>
                  <a:lnTo>
                    <a:pt x="99" y="506"/>
                  </a:lnTo>
                  <a:lnTo>
                    <a:pt x="101" y="506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7" y="508"/>
                  </a:lnTo>
                  <a:lnTo>
                    <a:pt x="109" y="508"/>
                  </a:lnTo>
                  <a:lnTo>
                    <a:pt x="109" y="508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14" y="506"/>
                  </a:lnTo>
                  <a:lnTo>
                    <a:pt x="114" y="506"/>
                  </a:lnTo>
                  <a:lnTo>
                    <a:pt x="117" y="503"/>
                  </a:lnTo>
                  <a:lnTo>
                    <a:pt x="117" y="503"/>
                  </a:lnTo>
                  <a:lnTo>
                    <a:pt x="120" y="503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6"/>
                  </a:lnTo>
                  <a:lnTo>
                    <a:pt x="120" y="503"/>
                  </a:lnTo>
                  <a:lnTo>
                    <a:pt x="122" y="503"/>
                  </a:lnTo>
                  <a:lnTo>
                    <a:pt x="122" y="506"/>
                  </a:lnTo>
                  <a:lnTo>
                    <a:pt x="122" y="506"/>
                  </a:lnTo>
                  <a:lnTo>
                    <a:pt x="122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11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5" y="506"/>
                  </a:lnTo>
                  <a:lnTo>
                    <a:pt x="127" y="506"/>
                  </a:lnTo>
                  <a:lnTo>
                    <a:pt x="127" y="506"/>
                  </a:lnTo>
                  <a:lnTo>
                    <a:pt x="130" y="506"/>
                  </a:lnTo>
                  <a:lnTo>
                    <a:pt x="130" y="506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3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501"/>
                  </a:lnTo>
                  <a:lnTo>
                    <a:pt x="130" y="498"/>
                  </a:lnTo>
                  <a:lnTo>
                    <a:pt x="127" y="495"/>
                  </a:lnTo>
                  <a:lnTo>
                    <a:pt x="127" y="493"/>
                  </a:lnTo>
                  <a:lnTo>
                    <a:pt x="127" y="490"/>
                  </a:lnTo>
                  <a:lnTo>
                    <a:pt x="127" y="490"/>
                  </a:lnTo>
                  <a:lnTo>
                    <a:pt x="125" y="490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5" y="488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2" y="485"/>
                  </a:lnTo>
                  <a:lnTo>
                    <a:pt x="125" y="485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5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27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2"/>
                  </a:lnTo>
                  <a:lnTo>
                    <a:pt x="130" y="480"/>
                  </a:lnTo>
                  <a:lnTo>
                    <a:pt x="130" y="477"/>
                  </a:lnTo>
                  <a:lnTo>
                    <a:pt x="127" y="477"/>
                  </a:lnTo>
                  <a:lnTo>
                    <a:pt x="125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7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7" y="472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5"/>
                  </a:lnTo>
                  <a:lnTo>
                    <a:pt x="125" y="472"/>
                  </a:lnTo>
                  <a:lnTo>
                    <a:pt x="125" y="472"/>
                  </a:lnTo>
                  <a:lnTo>
                    <a:pt x="125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7" y="470"/>
                  </a:lnTo>
                  <a:lnTo>
                    <a:pt x="125" y="467"/>
                  </a:lnTo>
                  <a:lnTo>
                    <a:pt x="127" y="467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62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7" y="459"/>
                  </a:lnTo>
                  <a:lnTo>
                    <a:pt x="125" y="459"/>
                  </a:lnTo>
                  <a:lnTo>
                    <a:pt x="125" y="457"/>
                  </a:lnTo>
                  <a:lnTo>
                    <a:pt x="125" y="457"/>
                  </a:lnTo>
                  <a:lnTo>
                    <a:pt x="125" y="454"/>
                  </a:lnTo>
                  <a:lnTo>
                    <a:pt x="125" y="454"/>
                  </a:lnTo>
                  <a:lnTo>
                    <a:pt x="127" y="454"/>
                  </a:lnTo>
                  <a:lnTo>
                    <a:pt x="127" y="451"/>
                  </a:lnTo>
                  <a:lnTo>
                    <a:pt x="127" y="451"/>
                  </a:lnTo>
                  <a:lnTo>
                    <a:pt x="127" y="449"/>
                  </a:lnTo>
                  <a:lnTo>
                    <a:pt x="130" y="446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4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41"/>
                  </a:lnTo>
                  <a:lnTo>
                    <a:pt x="130" y="438"/>
                  </a:lnTo>
                  <a:lnTo>
                    <a:pt x="130" y="438"/>
                  </a:lnTo>
                  <a:lnTo>
                    <a:pt x="130" y="436"/>
                  </a:lnTo>
                  <a:lnTo>
                    <a:pt x="130" y="433"/>
                  </a:lnTo>
                  <a:lnTo>
                    <a:pt x="130" y="431"/>
                  </a:lnTo>
                  <a:lnTo>
                    <a:pt x="130" y="428"/>
                  </a:lnTo>
                  <a:lnTo>
                    <a:pt x="127" y="425"/>
                  </a:lnTo>
                  <a:lnTo>
                    <a:pt x="127" y="423"/>
                  </a:lnTo>
                  <a:lnTo>
                    <a:pt x="125" y="420"/>
                  </a:lnTo>
                  <a:lnTo>
                    <a:pt x="125" y="418"/>
                  </a:lnTo>
                  <a:lnTo>
                    <a:pt x="125" y="418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5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5" y="412"/>
                  </a:lnTo>
                  <a:lnTo>
                    <a:pt x="122" y="410"/>
                  </a:lnTo>
                  <a:lnTo>
                    <a:pt x="122" y="410"/>
                  </a:lnTo>
                  <a:lnTo>
                    <a:pt x="122" y="407"/>
                  </a:lnTo>
                  <a:lnTo>
                    <a:pt x="122" y="407"/>
                  </a:lnTo>
                  <a:lnTo>
                    <a:pt x="122" y="405"/>
                  </a:lnTo>
                  <a:lnTo>
                    <a:pt x="122" y="405"/>
                  </a:lnTo>
                  <a:lnTo>
                    <a:pt x="122" y="402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20" y="397"/>
                  </a:lnTo>
                  <a:lnTo>
                    <a:pt x="117" y="394"/>
                  </a:lnTo>
                  <a:lnTo>
                    <a:pt x="117" y="394"/>
                  </a:lnTo>
                  <a:lnTo>
                    <a:pt x="117" y="392"/>
                  </a:lnTo>
                  <a:lnTo>
                    <a:pt x="117" y="392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4" y="389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7"/>
                  </a:lnTo>
                  <a:lnTo>
                    <a:pt x="114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4"/>
                  </a:lnTo>
                  <a:lnTo>
                    <a:pt x="112" y="381"/>
                  </a:lnTo>
                  <a:lnTo>
                    <a:pt x="114" y="381"/>
                  </a:lnTo>
                  <a:lnTo>
                    <a:pt x="114" y="381"/>
                  </a:lnTo>
                  <a:lnTo>
                    <a:pt x="114" y="379"/>
                  </a:lnTo>
                  <a:lnTo>
                    <a:pt x="117" y="379"/>
                  </a:lnTo>
                  <a:lnTo>
                    <a:pt x="117" y="376"/>
                  </a:lnTo>
                  <a:lnTo>
                    <a:pt x="117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17" y="374"/>
                  </a:lnTo>
                  <a:lnTo>
                    <a:pt x="117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17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0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2" y="368"/>
                  </a:lnTo>
                  <a:lnTo>
                    <a:pt x="125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6"/>
                  </a:lnTo>
                  <a:lnTo>
                    <a:pt x="127" y="368"/>
                  </a:lnTo>
                  <a:lnTo>
                    <a:pt x="130" y="368"/>
                  </a:lnTo>
                  <a:lnTo>
                    <a:pt x="130" y="368"/>
                  </a:lnTo>
                  <a:lnTo>
                    <a:pt x="132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8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5" y="366"/>
                  </a:lnTo>
                  <a:lnTo>
                    <a:pt x="138" y="366"/>
                  </a:lnTo>
                  <a:lnTo>
                    <a:pt x="140" y="363"/>
                  </a:lnTo>
                  <a:lnTo>
                    <a:pt x="140" y="363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61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0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45" y="358"/>
                  </a:lnTo>
                  <a:lnTo>
                    <a:pt x="148" y="358"/>
                  </a:lnTo>
                  <a:lnTo>
                    <a:pt x="151" y="358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48" y="355"/>
                  </a:lnTo>
                  <a:lnTo>
                    <a:pt x="148" y="355"/>
                  </a:lnTo>
                  <a:lnTo>
                    <a:pt x="148" y="353"/>
                  </a:lnTo>
                  <a:lnTo>
                    <a:pt x="151" y="353"/>
                  </a:lnTo>
                  <a:lnTo>
                    <a:pt x="151" y="350"/>
                  </a:lnTo>
                  <a:lnTo>
                    <a:pt x="151" y="348"/>
                  </a:lnTo>
                  <a:lnTo>
                    <a:pt x="151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5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48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2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5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3" y="335"/>
                  </a:lnTo>
                  <a:lnTo>
                    <a:pt x="145" y="335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32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45" y="327"/>
                  </a:lnTo>
                  <a:lnTo>
                    <a:pt x="145" y="324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5" y="327"/>
                  </a:lnTo>
                  <a:lnTo>
                    <a:pt x="148" y="327"/>
                  </a:lnTo>
                  <a:lnTo>
                    <a:pt x="148" y="327"/>
                  </a:lnTo>
                  <a:lnTo>
                    <a:pt x="148" y="329"/>
                  </a:lnTo>
                  <a:lnTo>
                    <a:pt x="148" y="329"/>
                  </a:lnTo>
                  <a:lnTo>
                    <a:pt x="151" y="329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3" y="329"/>
                  </a:lnTo>
                  <a:lnTo>
                    <a:pt x="153" y="329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2"/>
                  </a:lnTo>
                  <a:lnTo>
                    <a:pt x="153" y="335"/>
                  </a:lnTo>
                  <a:lnTo>
                    <a:pt x="156" y="335"/>
                  </a:lnTo>
                  <a:lnTo>
                    <a:pt x="156" y="335"/>
                  </a:lnTo>
                  <a:lnTo>
                    <a:pt x="156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32"/>
                  </a:lnTo>
                  <a:lnTo>
                    <a:pt x="158" y="329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9"/>
                  </a:lnTo>
                  <a:lnTo>
                    <a:pt x="164" y="327"/>
                  </a:lnTo>
                  <a:lnTo>
                    <a:pt x="161" y="327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4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1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6" y="332"/>
                  </a:lnTo>
                  <a:lnTo>
                    <a:pt x="166" y="329"/>
                  </a:lnTo>
                  <a:lnTo>
                    <a:pt x="166" y="329"/>
                  </a:lnTo>
                  <a:lnTo>
                    <a:pt x="169" y="329"/>
                  </a:lnTo>
                  <a:lnTo>
                    <a:pt x="169" y="329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6" y="327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6" y="319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9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1" y="317"/>
                  </a:lnTo>
                  <a:lnTo>
                    <a:pt x="164" y="317"/>
                  </a:lnTo>
                  <a:lnTo>
                    <a:pt x="161" y="317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61" y="314"/>
                  </a:lnTo>
                  <a:lnTo>
                    <a:pt x="161" y="311"/>
                  </a:lnTo>
                  <a:lnTo>
                    <a:pt x="161" y="311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4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1" y="311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66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6" y="306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8"/>
                  </a:lnTo>
                  <a:lnTo>
                    <a:pt x="166" y="296"/>
                  </a:lnTo>
                  <a:lnTo>
                    <a:pt x="166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3"/>
                  </a:lnTo>
                  <a:lnTo>
                    <a:pt x="166" y="293"/>
                  </a:lnTo>
                  <a:lnTo>
                    <a:pt x="164" y="291"/>
                  </a:lnTo>
                  <a:lnTo>
                    <a:pt x="164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61" y="280"/>
                  </a:lnTo>
                  <a:lnTo>
                    <a:pt x="158" y="280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61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6" y="275"/>
                  </a:lnTo>
                  <a:lnTo>
                    <a:pt x="156" y="272"/>
                  </a:lnTo>
                  <a:lnTo>
                    <a:pt x="156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67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7"/>
                  </a:lnTo>
                  <a:lnTo>
                    <a:pt x="145" y="265"/>
                  </a:lnTo>
                  <a:lnTo>
                    <a:pt x="145" y="265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7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5" y="262"/>
                  </a:lnTo>
                  <a:lnTo>
                    <a:pt x="143" y="262"/>
                  </a:lnTo>
                  <a:lnTo>
                    <a:pt x="143" y="262"/>
                  </a:lnTo>
                  <a:lnTo>
                    <a:pt x="143" y="259"/>
                  </a:lnTo>
                  <a:lnTo>
                    <a:pt x="140" y="262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0" y="259"/>
                  </a:lnTo>
                  <a:lnTo>
                    <a:pt x="143" y="259"/>
                  </a:lnTo>
                  <a:lnTo>
                    <a:pt x="143" y="259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3" y="257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40" y="259"/>
                  </a:lnTo>
                  <a:lnTo>
                    <a:pt x="140" y="257"/>
                  </a:lnTo>
                  <a:lnTo>
                    <a:pt x="140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7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52"/>
                  </a:lnTo>
                  <a:lnTo>
                    <a:pt x="143" y="249"/>
                  </a:lnTo>
                  <a:lnTo>
                    <a:pt x="143" y="249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40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7"/>
                  </a:lnTo>
                  <a:lnTo>
                    <a:pt x="138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5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9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0" y="231"/>
                  </a:lnTo>
                  <a:lnTo>
                    <a:pt x="127" y="231"/>
                  </a:lnTo>
                  <a:lnTo>
                    <a:pt x="127" y="231"/>
                  </a:lnTo>
                  <a:lnTo>
                    <a:pt x="127" y="228"/>
                  </a:lnTo>
                  <a:lnTo>
                    <a:pt x="130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8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2" y="226"/>
                  </a:lnTo>
                  <a:lnTo>
                    <a:pt x="132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27" y="215"/>
                  </a:lnTo>
                  <a:lnTo>
                    <a:pt x="125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13"/>
                  </a:lnTo>
                  <a:lnTo>
                    <a:pt x="127" y="210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27" y="208"/>
                  </a:lnTo>
                  <a:lnTo>
                    <a:pt x="130" y="205"/>
                  </a:lnTo>
                  <a:lnTo>
                    <a:pt x="130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0" y="200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7" y="197"/>
                  </a:lnTo>
                  <a:lnTo>
                    <a:pt x="125" y="197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92"/>
                  </a:lnTo>
                  <a:lnTo>
                    <a:pt x="127" y="189"/>
                  </a:lnTo>
                  <a:lnTo>
                    <a:pt x="127" y="189"/>
                  </a:lnTo>
                  <a:lnTo>
                    <a:pt x="125" y="189"/>
                  </a:lnTo>
                  <a:lnTo>
                    <a:pt x="127" y="187"/>
                  </a:lnTo>
                  <a:lnTo>
                    <a:pt x="127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20" y="179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2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17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09" y="189"/>
                  </a:lnTo>
                  <a:lnTo>
                    <a:pt x="109" y="189"/>
                  </a:lnTo>
                  <a:lnTo>
                    <a:pt x="107" y="189"/>
                  </a:lnTo>
                  <a:lnTo>
                    <a:pt x="104" y="187"/>
                  </a:lnTo>
                  <a:lnTo>
                    <a:pt x="107" y="187"/>
                  </a:lnTo>
                  <a:lnTo>
                    <a:pt x="107" y="184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9" y="174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6" y="171"/>
                  </a:lnTo>
                  <a:lnTo>
                    <a:pt x="96" y="169"/>
                  </a:lnTo>
                  <a:lnTo>
                    <a:pt x="99" y="169"/>
                  </a:lnTo>
                  <a:lnTo>
                    <a:pt x="99" y="169"/>
                  </a:lnTo>
                  <a:lnTo>
                    <a:pt x="101" y="169"/>
                  </a:lnTo>
                  <a:lnTo>
                    <a:pt x="99" y="166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9" y="161"/>
                  </a:lnTo>
                  <a:lnTo>
                    <a:pt x="99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4" y="151"/>
                  </a:lnTo>
                  <a:lnTo>
                    <a:pt x="94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4" y="145"/>
                  </a:lnTo>
                  <a:lnTo>
                    <a:pt x="91" y="145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51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3" y="153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3" y="148"/>
                  </a:lnTo>
                  <a:lnTo>
                    <a:pt x="83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6" y="153"/>
                  </a:lnTo>
                  <a:lnTo>
                    <a:pt x="73" y="153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6" y="138"/>
                  </a:lnTo>
                  <a:lnTo>
                    <a:pt x="76" y="135"/>
                  </a:lnTo>
                  <a:lnTo>
                    <a:pt x="73" y="138"/>
                  </a:lnTo>
                  <a:lnTo>
                    <a:pt x="70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5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5" y="143"/>
                  </a:lnTo>
                  <a:lnTo>
                    <a:pt x="65" y="143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8"/>
                  </a:lnTo>
                  <a:lnTo>
                    <a:pt x="55" y="138"/>
                  </a:lnTo>
                  <a:lnTo>
                    <a:pt x="55" y="140"/>
                  </a:lnTo>
                  <a:lnTo>
                    <a:pt x="55" y="140"/>
                  </a:lnTo>
                  <a:lnTo>
                    <a:pt x="52" y="13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0" y="135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3"/>
                  </a:lnTo>
                  <a:lnTo>
                    <a:pt x="39" y="145"/>
                  </a:lnTo>
                  <a:lnTo>
                    <a:pt x="39" y="145"/>
                  </a:lnTo>
                  <a:lnTo>
                    <a:pt x="37" y="145"/>
                  </a:lnTo>
                  <a:lnTo>
                    <a:pt x="37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4" y="145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7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3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7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50" y="161"/>
                  </a:lnTo>
                  <a:lnTo>
                    <a:pt x="47" y="161"/>
                  </a:lnTo>
                  <a:lnTo>
                    <a:pt x="44" y="161"/>
                  </a:lnTo>
                  <a:lnTo>
                    <a:pt x="44" y="158"/>
                  </a:lnTo>
                  <a:lnTo>
                    <a:pt x="42" y="161"/>
                  </a:lnTo>
                  <a:lnTo>
                    <a:pt x="42" y="161"/>
                  </a:lnTo>
                  <a:lnTo>
                    <a:pt x="39" y="161"/>
                  </a:lnTo>
                  <a:lnTo>
                    <a:pt x="39" y="158"/>
                  </a:lnTo>
                  <a:lnTo>
                    <a:pt x="37" y="161"/>
                  </a:lnTo>
                  <a:lnTo>
                    <a:pt x="37" y="161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2" y="169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6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6"/>
                  </a:lnTo>
                  <a:lnTo>
                    <a:pt x="13" y="164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3" y="156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9" y="148"/>
                  </a:lnTo>
                  <a:lnTo>
                    <a:pt x="19" y="145"/>
                  </a:lnTo>
                  <a:lnTo>
                    <a:pt x="19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1" y="130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7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9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5" name="Freeform 135"/>
            <p:cNvSpPr>
              <a:spLocks/>
            </p:cNvSpPr>
            <p:nvPr/>
          </p:nvSpPr>
          <p:spPr bwMode="auto">
            <a:xfrm>
              <a:off x="811" y="3287"/>
              <a:ext cx="113" cy="93"/>
            </a:xfrm>
            <a:custGeom>
              <a:avLst/>
              <a:gdLst>
                <a:gd name="T0" fmla="*/ 5 w 113"/>
                <a:gd name="T1" fmla="*/ 16 h 93"/>
                <a:gd name="T2" fmla="*/ 10 w 113"/>
                <a:gd name="T3" fmla="*/ 18 h 93"/>
                <a:gd name="T4" fmla="*/ 20 w 113"/>
                <a:gd name="T5" fmla="*/ 18 h 93"/>
                <a:gd name="T6" fmla="*/ 25 w 113"/>
                <a:gd name="T7" fmla="*/ 18 h 93"/>
                <a:gd name="T8" fmla="*/ 31 w 113"/>
                <a:gd name="T9" fmla="*/ 16 h 93"/>
                <a:gd name="T10" fmla="*/ 36 w 113"/>
                <a:gd name="T11" fmla="*/ 16 h 93"/>
                <a:gd name="T12" fmla="*/ 49 w 113"/>
                <a:gd name="T13" fmla="*/ 8 h 93"/>
                <a:gd name="T14" fmla="*/ 54 w 113"/>
                <a:gd name="T15" fmla="*/ 5 h 93"/>
                <a:gd name="T16" fmla="*/ 56 w 113"/>
                <a:gd name="T17" fmla="*/ 5 h 93"/>
                <a:gd name="T18" fmla="*/ 62 w 113"/>
                <a:gd name="T19" fmla="*/ 3 h 93"/>
                <a:gd name="T20" fmla="*/ 64 w 113"/>
                <a:gd name="T21" fmla="*/ 0 h 93"/>
                <a:gd name="T22" fmla="*/ 67 w 113"/>
                <a:gd name="T23" fmla="*/ 3 h 93"/>
                <a:gd name="T24" fmla="*/ 72 w 113"/>
                <a:gd name="T25" fmla="*/ 0 h 93"/>
                <a:gd name="T26" fmla="*/ 80 w 113"/>
                <a:gd name="T27" fmla="*/ 8 h 93"/>
                <a:gd name="T28" fmla="*/ 88 w 113"/>
                <a:gd name="T29" fmla="*/ 8 h 93"/>
                <a:gd name="T30" fmla="*/ 93 w 113"/>
                <a:gd name="T31" fmla="*/ 13 h 93"/>
                <a:gd name="T32" fmla="*/ 98 w 113"/>
                <a:gd name="T33" fmla="*/ 13 h 93"/>
                <a:gd name="T34" fmla="*/ 103 w 113"/>
                <a:gd name="T35" fmla="*/ 18 h 93"/>
                <a:gd name="T36" fmla="*/ 103 w 113"/>
                <a:gd name="T37" fmla="*/ 21 h 93"/>
                <a:gd name="T38" fmla="*/ 103 w 113"/>
                <a:gd name="T39" fmla="*/ 21 h 93"/>
                <a:gd name="T40" fmla="*/ 103 w 113"/>
                <a:gd name="T41" fmla="*/ 28 h 93"/>
                <a:gd name="T42" fmla="*/ 98 w 113"/>
                <a:gd name="T43" fmla="*/ 34 h 93"/>
                <a:gd name="T44" fmla="*/ 100 w 113"/>
                <a:gd name="T45" fmla="*/ 39 h 93"/>
                <a:gd name="T46" fmla="*/ 103 w 113"/>
                <a:gd name="T47" fmla="*/ 41 h 93"/>
                <a:gd name="T48" fmla="*/ 108 w 113"/>
                <a:gd name="T49" fmla="*/ 47 h 93"/>
                <a:gd name="T50" fmla="*/ 111 w 113"/>
                <a:gd name="T51" fmla="*/ 47 h 93"/>
                <a:gd name="T52" fmla="*/ 113 w 113"/>
                <a:gd name="T53" fmla="*/ 49 h 93"/>
                <a:gd name="T54" fmla="*/ 113 w 113"/>
                <a:gd name="T55" fmla="*/ 57 h 93"/>
                <a:gd name="T56" fmla="*/ 111 w 113"/>
                <a:gd name="T57" fmla="*/ 62 h 93"/>
                <a:gd name="T58" fmla="*/ 108 w 113"/>
                <a:gd name="T59" fmla="*/ 65 h 93"/>
                <a:gd name="T60" fmla="*/ 106 w 113"/>
                <a:gd name="T61" fmla="*/ 67 h 93"/>
                <a:gd name="T62" fmla="*/ 100 w 113"/>
                <a:gd name="T63" fmla="*/ 70 h 93"/>
                <a:gd name="T64" fmla="*/ 103 w 113"/>
                <a:gd name="T65" fmla="*/ 73 h 93"/>
                <a:gd name="T66" fmla="*/ 108 w 113"/>
                <a:gd name="T67" fmla="*/ 83 h 93"/>
                <a:gd name="T68" fmla="*/ 103 w 113"/>
                <a:gd name="T69" fmla="*/ 88 h 93"/>
                <a:gd name="T70" fmla="*/ 98 w 113"/>
                <a:gd name="T71" fmla="*/ 91 h 93"/>
                <a:gd name="T72" fmla="*/ 88 w 113"/>
                <a:gd name="T73" fmla="*/ 91 h 93"/>
                <a:gd name="T74" fmla="*/ 82 w 113"/>
                <a:gd name="T75" fmla="*/ 88 h 93"/>
                <a:gd name="T76" fmla="*/ 80 w 113"/>
                <a:gd name="T77" fmla="*/ 88 h 93"/>
                <a:gd name="T78" fmla="*/ 77 w 113"/>
                <a:gd name="T79" fmla="*/ 93 h 93"/>
                <a:gd name="T80" fmla="*/ 75 w 113"/>
                <a:gd name="T81" fmla="*/ 80 h 93"/>
                <a:gd name="T82" fmla="*/ 67 w 113"/>
                <a:gd name="T83" fmla="*/ 75 h 93"/>
                <a:gd name="T84" fmla="*/ 62 w 113"/>
                <a:gd name="T85" fmla="*/ 75 h 93"/>
                <a:gd name="T86" fmla="*/ 54 w 113"/>
                <a:gd name="T87" fmla="*/ 75 h 93"/>
                <a:gd name="T88" fmla="*/ 54 w 113"/>
                <a:gd name="T89" fmla="*/ 83 h 93"/>
                <a:gd name="T90" fmla="*/ 44 w 113"/>
                <a:gd name="T91" fmla="*/ 86 h 93"/>
                <a:gd name="T92" fmla="*/ 41 w 113"/>
                <a:gd name="T93" fmla="*/ 78 h 93"/>
                <a:gd name="T94" fmla="*/ 36 w 113"/>
                <a:gd name="T95" fmla="*/ 73 h 93"/>
                <a:gd name="T96" fmla="*/ 33 w 113"/>
                <a:gd name="T97" fmla="*/ 67 h 93"/>
                <a:gd name="T98" fmla="*/ 25 w 113"/>
                <a:gd name="T99" fmla="*/ 57 h 93"/>
                <a:gd name="T100" fmla="*/ 23 w 113"/>
                <a:gd name="T101" fmla="*/ 49 h 93"/>
                <a:gd name="T102" fmla="*/ 25 w 113"/>
                <a:gd name="T103" fmla="*/ 49 h 93"/>
                <a:gd name="T104" fmla="*/ 20 w 113"/>
                <a:gd name="T105" fmla="*/ 44 h 93"/>
                <a:gd name="T106" fmla="*/ 20 w 113"/>
                <a:gd name="T107" fmla="*/ 39 h 93"/>
                <a:gd name="T108" fmla="*/ 10 w 113"/>
                <a:gd name="T109" fmla="*/ 31 h 93"/>
                <a:gd name="T110" fmla="*/ 2 w 113"/>
                <a:gd name="T111" fmla="*/ 31 h 93"/>
                <a:gd name="T112" fmla="*/ 0 w 113"/>
                <a:gd name="T113" fmla="*/ 2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" h="93">
                  <a:moveTo>
                    <a:pt x="0" y="21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41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4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3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8" y="13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6"/>
                  </a:lnTo>
                  <a:lnTo>
                    <a:pt x="100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31"/>
                  </a:lnTo>
                  <a:lnTo>
                    <a:pt x="100" y="31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3" y="44"/>
                  </a:lnTo>
                  <a:lnTo>
                    <a:pt x="103" y="44"/>
                  </a:lnTo>
                  <a:lnTo>
                    <a:pt x="106" y="44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60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5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5"/>
                  </a:lnTo>
                  <a:lnTo>
                    <a:pt x="103" y="75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6"/>
                  </a:lnTo>
                  <a:lnTo>
                    <a:pt x="111" y="86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6" y="88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3" y="88"/>
                  </a:lnTo>
                  <a:lnTo>
                    <a:pt x="103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98" y="91"/>
                  </a:lnTo>
                  <a:lnTo>
                    <a:pt x="95" y="91"/>
                  </a:lnTo>
                  <a:lnTo>
                    <a:pt x="95" y="88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91"/>
                  </a:lnTo>
                  <a:lnTo>
                    <a:pt x="90" y="88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80" y="86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6"/>
                  </a:lnTo>
                  <a:lnTo>
                    <a:pt x="75" y="83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9" y="80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1" y="75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1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3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8" y="60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7"/>
                  </a:lnTo>
                  <a:lnTo>
                    <a:pt x="25" y="49"/>
                  </a:lnTo>
                  <a:lnTo>
                    <a:pt x="23" y="49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44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36"/>
                  </a:lnTo>
                  <a:lnTo>
                    <a:pt x="15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6" name="Freeform 136"/>
            <p:cNvSpPr>
              <a:spLocks/>
            </p:cNvSpPr>
            <p:nvPr/>
          </p:nvSpPr>
          <p:spPr bwMode="auto">
            <a:xfrm>
              <a:off x="811" y="3287"/>
              <a:ext cx="113" cy="93"/>
            </a:xfrm>
            <a:custGeom>
              <a:avLst/>
              <a:gdLst>
                <a:gd name="T0" fmla="*/ 5 w 113"/>
                <a:gd name="T1" fmla="*/ 16 h 93"/>
                <a:gd name="T2" fmla="*/ 10 w 113"/>
                <a:gd name="T3" fmla="*/ 18 h 93"/>
                <a:gd name="T4" fmla="*/ 20 w 113"/>
                <a:gd name="T5" fmla="*/ 18 h 93"/>
                <a:gd name="T6" fmla="*/ 25 w 113"/>
                <a:gd name="T7" fmla="*/ 18 h 93"/>
                <a:gd name="T8" fmla="*/ 31 w 113"/>
                <a:gd name="T9" fmla="*/ 16 h 93"/>
                <a:gd name="T10" fmla="*/ 36 w 113"/>
                <a:gd name="T11" fmla="*/ 16 h 93"/>
                <a:gd name="T12" fmla="*/ 49 w 113"/>
                <a:gd name="T13" fmla="*/ 8 h 93"/>
                <a:gd name="T14" fmla="*/ 54 w 113"/>
                <a:gd name="T15" fmla="*/ 5 h 93"/>
                <a:gd name="T16" fmla="*/ 56 w 113"/>
                <a:gd name="T17" fmla="*/ 5 h 93"/>
                <a:gd name="T18" fmla="*/ 62 w 113"/>
                <a:gd name="T19" fmla="*/ 3 h 93"/>
                <a:gd name="T20" fmla="*/ 64 w 113"/>
                <a:gd name="T21" fmla="*/ 0 h 93"/>
                <a:gd name="T22" fmla="*/ 67 w 113"/>
                <a:gd name="T23" fmla="*/ 3 h 93"/>
                <a:gd name="T24" fmla="*/ 72 w 113"/>
                <a:gd name="T25" fmla="*/ 0 h 93"/>
                <a:gd name="T26" fmla="*/ 80 w 113"/>
                <a:gd name="T27" fmla="*/ 8 h 93"/>
                <a:gd name="T28" fmla="*/ 88 w 113"/>
                <a:gd name="T29" fmla="*/ 8 h 93"/>
                <a:gd name="T30" fmla="*/ 93 w 113"/>
                <a:gd name="T31" fmla="*/ 13 h 93"/>
                <a:gd name="T32" fmla="*/ 98 w 113"/>
                <a:gd name="T33" fmla="*/ 13 h 93"/>
                <a:gd name="T34" fmla="*/ 103 w 113"/>
                <a:gd name="T35" fmla="*/ 18 h 93"/>
                <a:gd name="T36" fmla="*/ 103 w 113"/>
                <a:gd name="T37" fmla="*/ 21 h 93"/>
                <a:gd name="T38" fmla="*/ 103 w 113"/>
                <a:gd name="T39" fmla="*/ 21 h 93"/>
                <a:gd name="T40" fmla="*/ 103 w 113"/>
                <a:gd name="T41" fmla="*/ 28 h 93"/>
                <a:gd name="T42" fmla="*/ 98 w 113"/>
                <a:gd name="T43" fmla="*/ 34 h 93"/>
                <a:gd name="T44" fmla="*/ 100 w 113"/>
                <a:gd name="T45" fmla="*/ 39 h 93"/>
                <a:gd name="T46" fmla="*/ 103 w 113"/>
                <a:gd name="T47" fmla="*/ 41 h 93"/>
                <a:gd name="T48" fmla="*/ 108 w 113"/>
                <a:gd name="T49" fmla="*/ 47 h 93"/>
                <a:gd name="T50" fmla="*/ 111 w 113"/>
                <a:gd name="T51" fmla="*/ 47 h 93"/>
                <a:gd name="T52" fmla="*/ 113 w 113"/>
                <a:gd name="T53" fmla="*/ 49 h 93"/>
                <a:gd name="T54" fmla="*/ 113 w 113"/>
                <a:gd name="T55" fmla="*/ 57 h 93"/>
                <a:gd name="T56" fmla="*/ 111 w 113"/>
                <a:gd name="T57" fmla="*/ 62 h 93"/>
                <a:gd name="T58" fmla="*/ 108 w 113"/>
                <a:gd name="T59" fmla="*/ 65 h 93"/>
                <a:gd name="T60" fmla="*/ 106 w 113"/>
                <a:gd name="T61" fmla="*/ 67 h 93"/>
                <a:gd name="T62" fmla="*/ 100 w 113"/>
                <a:gd name="T63" fmla="*/ 70 h 93"/>
                <a:gd name="T64" fmla="*/ 103 w 113"/>
                <a:gd name="T65" fmla="*/ 73 h 93"/>
                <a:gd name="T66" fmla="*/ 108 w 113"/>
                <a:gd name="T67" fmla="*/ 83 h 93"/>
                <a:gd name="T68" fmla="*/ 103 w 113"/>
                <a:gd name="T69" fmla="*/ 88 h 93"/>
                <a:gd name="T70" fmla="*/ 98 w 113"/>
                <a:gd name="T71" fmla="*/ 91 h 93"/>
                <a:gd name="T72" fmla="*/ 88 w 113"/>
                <a:gd name="T73" fmla="*/ 91 h 93"/>
                <a:gd name="T74" fmla="*/ 82 w 113"/>
                <a:gd name="T75" fmla="*/ 88 h 93"/>
                <a:gd name="T76" fmla="*/ 80 w 113"/>
                <a:gd name="T77" fmla="*/ 88 h 93"/>
                <a:gd name="T78" fmla="*/ 77 w 113"/>
                <a:gd name="T79" fmla="*/ 93 h 93"/>
                <a:gd name="T80" fmla="*/ 75 w 113"/>
                <a:gd name="T81" fmla="*/ 80 h 93"/>
                <a:gd name="T82" fmla="*/ 67 w 113"/>
                <a:gd name="T83" fmla="*/ 75 h 93"/>
                <a:gd name="T84" fmla="*/ 62 w 113"/>
                <a:gd name="T85" fmla="*/ 75 h 93"/>
                <a:gd name="T86" fmla="*/ 54 w 113"/>
                <a:gd name="T87" fmla="*/ 75 h 93"/>
                <a:gd name="T88" fmla="*/ 54 w 113"/>
                <a:gd name="T89" fmla="*/ 83 h 93"/>
                <a:gd name="T90" fmla="*/ 44 w 113"/>
                <a:gd name="T91" fmla="*/ 86 h 93"/>
                <a:gd name="T92" fmla="*/ 41 w 113"/>
                <a:gd name="T93" fmla="*/ 78 h 93"/>
                <a:gd name="T94" fmla="*/ 36 w 113"/>
                <a:gd name="T95" fmla="*/ 73 h 93"/>
                <a:gd name="T96" fmla="*/ 33 w 113"/>
                <a:gd name="T97" fmla="*/ 67 h 93"/>
                <a:gd name="T98" fmla="*/ 25 w 113"/>
                <a:gd name="T99" fmla="*/ 57 h 93"/>
                <a:gd name="T100" fmla="*/ 23 w 113"/>
                <a:gd name="T101" fmla="*/ 49 h 93"/>
                <a:gd name="T102" fmla="*/ 25 w 113"/>
                <a:gd name="T103" fmla="*/ 49 h 93"/>
                <a:gd name="T104" fmla="*/ 20 w 113"/>
                <a:gd name="T105" fmla="*/ 44 h 93"/>
                <a:gd name="T106" fmla="*/ 20 w 113"/>
                <a:gd name="T107" fmla="*/ 39 h 93"/>
                <a:gd name="T108" fmla="*/ 10 w 113"/>
                <a:gd name="T109" fmla="*/ 31 h 93"/>
                <a:gd name="T110" fmla="*/ 2 w 113"/>
                <a:gd name="T111" fmla="*/ 31 h 93"/>
                <a:gd name="T112" fmla="*/ 0 w 113"/>
                <a:gd name="T113" fmla="*/ 2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" h="93">
                  <a:moveTo>
                    <a:pt x="0" y="21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41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4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3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8" y="13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6"/>
                  </a:lnTo>
                  <a:lnTo>
                    <a:pt x="100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31"/>
                  </a:lnTo>
                  <a:lnTo>
                    <a:pt x="100" y="31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3" y="44"/>
                  </a:lnTo>
                  <a:lnTo>
                    <a:pt x="103" y="44"/>
                  </a:lnTo>
                  <a:lnTo>
                    <a:pt x="106" y="44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60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5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5"/>
                  </a:lnTo>
                  <a:lnTo>
                    <a:pt x="103" y="75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6"/>
                  </a:lnTo>
                  <a:lnTo>
                    <a:pt x="111" y="86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6" y="88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3" y="88"/>
                  </a:lnTo>
                  <a:lnTo>
                    <a:pt x="103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98" y="91"/>
                  </a:lnTo>
                  <a:lnTo>
                    <a:pt x="95" y="91"/>
                  </a:lnTo>
                  <a:lnTo>
                    <a:pt x="95" y="88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91"/>
                  </a:lnTo>
                  <a:lnTo>
                    <a:pt x="90" y="88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80" y="86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6"/>
                  </a:lnTo>
                  <a:lnTo>
                    <a:pt x="75" y="83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9" y="80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1" y="75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1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3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8" y="60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7"/>
                  </a:lnTo>
                  <a:lnTo>
                    <a:pt x="25" y="49"/>
                  </a:lnTo>
                  <a:lnTo>
                    <a:pt x="23" y="49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44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36"/>
                  </a:lnTo>
                  <a:lnTo>
                    <a:pt x="15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7" name="Freeform 137"/>
            <p:cNvSpPr>
              <a:spLocks/>
            </p:cNvSpPr>
            <p:nvPr/>
          </p:nvSpPr>
          <p:spPr bwMode="auto">
            <a:xfrm>
              <a:off x="811" y="3287"/>
              <a:ext cx="113" cy="93"/>
            </a:xfrm>
            <a:custGeom>
              <a:avLst/>
              <a:gdLst>
                <a:gd name="T0" fmla="*/ 5 w 113"/>
                <a:gd name="T1" fmla="*/ 16 h 93"/>
                <a:gd name="T2" fmla="*/ 10 w 113"/>
                <a:gd name="T3" fmla="*/ 18 h 93"/>
                <a:gd name="T4" fmla="*/ 20 w 113"/>
                <a:gd name="T5" fmla="*/ 18 h 93"/>
                <a:gd name="T6" fmla="*/ 25 w 113"/>
                <a:gd name="T7" fmla="*/ 18 h 93"/>
                <a:gd name="T8" fmla="*/ 31 w 113"/>
                <a:gd name="T9" fmla="*/ 16 h 93"/>
                <a:gd name="T10" fmla="*/ 36 w 113"/>
                <a:gd name="T11" fmla="*/ 16 h 93"/>
                <a:gd name="T12" fmla="*/ 49 w 113"/>
                <a:gd name="T13" fmla="*/ 8 h 93"/>
                <a:gd name="T14" fmla="*/ 54 w 113"/>
                <a:gd name="T15" fmla="*/ 5 h 93"/>
                <a:gd name="T16" fmla="*/ 56 w 113"/>
                <a:gd name="T17" fmla="*/ 5 h 93"/>
                <a:gd name="T18" fmla="*/ 62 w 113"/>
                <a:gd name="T19" fmla="*/ 3 h 93"/>
                <a:gd name="T20" fmla="*/ 64 w 113"/>
                <a:gd name="T21" fmla="*/ 0 h 93"/>
                <a:gd name="T22" fmla="*/ 67 w 113"/>
                <a:gd name="T23" fmla="*/ 3 h 93"/>
                <a:gd name="T24" fmla="*/ 72 w 113"/>
                <a:gd name="T25" fmla="*/ 0 h 93"/>
                <a:gd name="T26" fmla="*/ 80 w 113"/>
                <a:gd name="T27" fmla="*/ 8 h 93"/>
                <a:gd name="T28" fmla="*/ 88 w 113"/>
                <a:gd name="T29" fmla="*/ 8 h 93"/>
                <a:gd name="T30" fmla="*/ 93 w 113"/>
                <a:gd name="T31" fmla="*/ 13 h 93"/>
                <a:gd name="T32" fmla="*/ 98 w 113"/>
                <a:gd name="T33" fmla="*/ 13 h 93"/>
                <a:gd name="T34" fmla="*/ 103 w 113"/>
                <a:gd name="T35" fmla="*/ 18 h 93"/>
                <a:gd name="T36" fmla="*/ 103 w 113"/>
                <a:gd name="T37" fmla="*/ 21 h 93"/>
                <a:gd name="T38" fmla="*/ 103 w 113"/>
                <a:gd name="T39" fmla="*/ 21 h 93"/>
                <a:gd name="T40" fmla="*/ 103 w 113"/>
                <a:gd name="T41" fmla="*/ 28 h 93"/>
                <a:gd name="T42" fmla="*/ 98 w 113"/>
                <a:gd name="T43" fmla="*/ 34 h 93"/>
                <a:gd name="T44" fmla="*/ 100 w 113"/>
                <a:gd name="T45" fmla="*/ 39 h 93"/>
                <a:gd name="T46" fmla="*/ 103 w 113"/>
                <a:gd name="T47" fmla="*/ 41 h 93"/>
                <a:gd name="T48" fmla="*/ 108 w 113"/>
                <a:gd name="T49" fmla="*/ 47 h 93"/>
                <a:gd name="T50" fmla="*/ 111 w 113"/>
                <a:gd name="T51" fmla="*/ 47 h 93"/>
                <a:gd name="T52" fmla="*/ 113 w 113"/>
                <a:gd name="T53" fmla="*/ 49 h 93"/>
                <a:gd name="T54" fmla="*/ 113 w 113"/>
                <a:gd name="T55" fmla="*/ 57 h 93"/>
                <a:gd name="T56" fmla="*/ 111 w 113"/>
                <a:gd name="T57" fmla="*/ 62 h 93"/>
                <a:gd name="T58" fmla="*/ 108 w 113"/>
                <a:gd name="T59" fmla="*/ 65 h 93"/>
                <a:gd name="T60" fmla="*/ 106 w 113"/>
                <a:gd name="T61" fmla="*/ 67 h 93"/>
                <a:gd name="T62" fmla="*/ 100 w 113"/>
                <a:gd name="T63" fmla="*/ 70 h 93"/>
                <a:gd name="T64" fmla="*/ 103 w 113"/>
                <a:gd name="T65" fmla="*/ 73 h 93"/>
                <a:gd name="T66" fmla="*/ 108 w 113"/>
                <a:gd name="T67" fmla="*/ 83 h 93"/>
                <a:gd name="T68" fmla="*/ 103 w 113"/>
                <a:gd name="T69" fmla="*/ 88 h 93"/>
                <a:gd name="T70" fmla="*/ 98 w 113"/>
                <a:gd name="T71" fmla="*/ 91 h 93"/>
                <a:gd name="T72" fmla="*/ 88 w 113"/>
                <a:gd name="T73" fmla="*/ 91 h 93"/>
                <a:gd name="T74" fmla="*/ 82 w 113"/>
                <a:gd name="T75" fmla="*/ 88 h 93"/>
                <a:gd name="T76" fmla="*/ 80 w 113"/>
                <a:gd name="T77" fmla="*/ 88 h 93"/>
                <a:gd name="T78" fmla="*/ 77 w 113"/>
                <a:gd name="T79" fmla="*/ 93 h 93"/>
                <a:gd name="T80" fmla="*/ 75 w 113"/>
                <a:gd name="T81" fmla="*/ 80 h 93"/>
                <a:gd name="T82" fmla="*/ 67 w 113"/>
                <a:gd name="T83" fmla="*/ 75 h 93"/>
                <a:gd name="T84" fmla="*/ 62 w 113"/>
                <a:gd name="T85" fmla="*/ 75 h 93"/>
                <a:gd name="T86" fmla="*/ 54 w 113"/>
                <a:gd name="T87" fmla="*/ 75 h 93"/>
                <a:gd name="T88" fmla="*/ 54 w 113"/>
                <a:gd name="T89" fmla="*/ 83 h 93"/>
                <a:gd name="T90" fmla="*/ 44 w 113"/>
                <a:gd name="T91" fmla="*/ 86 h 93"/>
                <a:gd name="T92" fmla="*/ 41 w 113"/>
                <a:gd name="T93" fmla="*/ 78 h 93"/>
                <a:gd name="T94" fmla="*/ 36 w 113"/>
                <a:gd name="T95" fmla="*/ 73 h 93"/>
                <a:gd name="T96" fmla="*/ 33 w 113"/>
                <a:gd name="T97" fmla="*/ 67 h 93"/>
                <a:gd name="T98" fmla="*/ 25 w 113"/>
                <a:gd name="T99" fmla="*/ 57 h 93"/>
                <a:gd name="T100" fmla="*/ 23 w 113"/>
                <a:gd name="T101" fmla="*/ 49 h 93"/>
                <a:gd name="T102" fmla="*/ 25 w 113"/>
                <a:gd name="T103" fmla="*/ 49 h 93"/>
                <a:gd name="T104" fmla="*/ 20 w 113"/>
                <a:gd name="T105" fmla="*/ 44 h 93"/>
                <a:gd name="T106" fmla="*/ 20 w 113"/>
                <a:gd name="T107" fmla="*/ 39 h 93"/>
                <a:gd name="T108" fmla="*/ 10 w 113"/>
                <a:gd name="T109" fmla="*/ 31 h 93"/>
                <a:gd name="T110" fmla="*/ 2 w 113"/>
                <a:gd name="T111" fmla="*/ 31 h 93"/>
                <a:gd name="T112" fmla="*/ 0 w 113"/>
                <a:gd name="T113" fmla="*/ 2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" h="93">
                  <a:moveTo>
                    <a:pt x="0" y="21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41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4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3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8" y="13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6"/>
                  </a:lnTo>
                  <a:lnTo>
                    <a:pt x="100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31"/>
                  </a:lnTo>
                  <a:lnTo>
                    <a:pt x="100" y="31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3" y="44"/>
                  </a:lnTo>
                  <a:lnTo>
                    <a:pt x="103" y="44"/>
                  </a:lnTo>
                  <a:lnTo>
                    <a:pt x="106" y="44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60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5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5"/>
                  </a:lnTo>
                  <a:lnTo>
                    <a:pt x="103" y="75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6"/>
                  </a:lnTo>
                  <a:lnTo>
                    <a:pt x="111" y="86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6" y="88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3" y="88"/>
                  </a:lnTo>
                  <a:lnTo>
                    <a:pt x="103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98" y="91"/>
                  </a:lnTo>
                  <a:lnTo>
                    <a:pt x="95" y="91"/>
                  </a:lnTo>
                  <a:lnTo>
                    <a:pt x="95" y="88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91"/>
                  </a:lnTo>
                  <a:lnTo>
                    <a:pt x="90" y="88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80" y="86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6"/>
                  </a:lnTo>
                  <a:lnTo>
                    <a:pt x="75" y="83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9" y="80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1" y="75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1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3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8" y="60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7"/>
                  </a:lnTo>
                  <a:lnTo>
                    <a:pt x="25" y="49"/>
                  </a:lnTo>
                  <a:lnTo>
                    <a:pt x="23" y="49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44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36"/>
                  </a:lnTo>
                  <a:lnTo>
                    <a:pt x="15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8" name="Freeform 138"/>
            <p:cNvSpPr>
              <a:spLocks/>
            </p:cNvSpPr>
            <p:nvPr/>
          </p:nvSpPr>
          <p:spPr bwMode="auto">
            <a:xfrm>
              <a:off x="811" y="3287"/>
              <a:ext cx="113" cy="93"/>
            </a:xfrm>
            <a:custGeom>
              <a:avLst/>
              <a:gdLst>
                <a:gd name="T0" fmla="*/ 5 w 113"/>
                <a:gd name="T1" fmla="*/ 16 h 93"/>
                <a:gd name="T2" fmla="*/ 10 w 113"/>
                <a:gd name="T3" fmla="*/ 18 h 93"/>
                <a:gd name="T4" fmla="*/ 20 w 113"/>
                <a:gd name="T5" fmla="*/ 18 h 93"/>
                <a:gd name="T6" fmla="*/ 25 w 113"/>
                <a:gd name="T7" fmla="*/ 18 h 93"/>
                <a:gd name="T8" fmla="*/ 31 w 113"/>
                <a:gd name="T9" fmla="*/ 16 h 93"/>
                <a:gd name="T10" fmla="*/ 36 w 113"/>
                <a:gd name="T11" fmla="*/ 16 h 93"/>
                <a:gd name="T12" fmla="*/ 49 w 113"/>
                <a:gd name="T13" fmla="*/ 8 h 93"/>
                <a:gd name="T14" fmla="*/ 54 w 113"/>
                <a:gd name="T15" fmla="*/ 5 h 93"/>
                <a:gd name="T16" fmla="*/ 56 w 113"/>
                <a:gd name="T17" fmla="*/ 5 h 93"/>
                <a:gd name="T18" fmla="*/ 62 w 113"/>
                <a:gd name="T19" fmla="*/ 3 h 93"/>
                <a:gd name="T20" fmla="*/ 64 w 113"/>
                <a:gd name="T21" fmla="*/ 0 h 93"/>
                <a:gd name="T22" fmla="*/ 67 w 113"/>
                <a:gd name="T23" fmla="*/ 3 h 93"/>
                <a:gd name="T24" fmla="*/ 72 w 113"/>
                <a:gd name="T25" fmla="*/ 0 h 93"/>
                <a:gd name="T26" fmla="*/ 80 w 113"/>
                <a:gd name="T27" fmla="*/ 8 h 93"/>
                <a:gd name="T28" fmla="*/ 88 w 113"/>
                <a:gd name="T29" fmla="*/ 8 h 93"/>
                <a:gd name="T30" fmla="*/ 93 w 113"/>
                <a:gd name="T31" fmla="*/ 13 h 93"/>
                <a:gd name="T32" fmla="*/ 98 w 113"/>
                <a:gd name="T33" fmla="*/ 13 h 93"/>
                <a:gd name="T34" fmla="*/ 103 w 113"/>
                <a:gd name="T35" fmla="*/ 18 h 93"/>
                <a:gd name="T36" fmla="*/ 103 w 113"/>
                <a:gd name="T37" fmla="*/ 21 h 93"/>
                <a:gd name="T38" fmla="*/ 103 w 113"/>
                <a:gd name="T39" fmla="*/ 21 h 93"/>
                <a:gd name="T40" fmla="*/ 103 w 113"/>
                <a:gd name="T41" fmla="*/ 28 h 93"/>
                <a:gd name="T42" fmla="*/ 98 w 113"/>
                <a:gd name="T43" fmla="*/ 34 h 93"/>
                <a:gd name="T44" fmla="*/ 100 w 113"/>
                <a:gd name="T45" fmla="*/ 39 h 93"/>
                <a:gd name="T46" fmla="*/ 103 w 113"/>
                <a:gd name="T47" fmla="*/ 41 h 93"/>
                <a:gd name="T48" fmla="*/ 108 w 113"/>
                <a:gd name="T49" fmla="*/ 47 h 93"/>
                <a:gd name="T50" fmla="*/ 111 w 113"/>
                <a:gd name="T51" fmla="*/ 47 h 93"/>
                <a:gd name="T52" fmla="*/ 113 w 113"/>
                <a:gd name="T53" fmla="*/ 49 h 93"/>
                <a:gd name="T54" fmla="*/ 113 w 113"/>
                <a:gd name="T55" fmla="*/ 57 h 93"/>
                <a:gd name="T56" fmla="*/ 111 w 113"/>
                <a:gd name="T57" fmla="*/ 62 h 93"/>
                <a:gd name="T58" fmla="*/ 108 w 113"/>
                <a:gd name="T59" fmla="*/ 65 h 93"/>
                <a:gd name="T60" fmla="*/ 106 w 113"/>
                <a:gd name="T61" fmla="*/ 67 h 93"/>
                <a:gd name="T62" fmla="*/ 100 w 113"/>
                <a:gd name="T63" fmla="*/ 70 h 93"/>
                <a:gd name="T64" fmla="*/ 103 w 113"/>
                <a:gd name="T65" fmla="*/ 73 h 93"/>
                <a:gd name="T66" fmla="*/ 108 w 113"/>
                <a:gd name="T67" fmla="*/ 83 h 93"/>
                <a:gd name="T68" fmla="*/ 103 w 113"/>
                <a:gd name="T69" fmla="*/ 88 h 93"/>
                <a:gd name="T70" fmla="*/ 98 w 113"/>
                <a:gd name="T71" fmla="*/ 91 h 93"/>
                <a:gd name="T72" fmla="*/ 88 w 113"/>
                <a:gd name="T73" fmla="*/ 91 h 93"/>
                <a:gd name="T74" fmla="*/ 82 w 113"/>
                <a:gd name="T75" fmla="*/ 88 h 93"/>
                <a:gd name="T76" fmla="*/ 80 w 113"/>
                <a:gd name="T77" fmla="*/ 88 h 93"/>
                <a:gd name="T78" fmla="*/ 77 w 113"/>
                <a:gd name="T79" fmla="*/ 93 h 93"/>
                <a:gd name="T80" fmla="*/ 75 w 113"/>
                <a:gd name="T81" fmla="*/ 80 h 93"/>
                <a:gd name="T82" fmla="*/ 67 w 113"/>
                <a:gd name="T83" fmla="*/ 75 h 93"/>
                <a:gd name="T84" fmla="*/ 62 w 113"/>
                <a:gd name="T85" fmla="*/ 75 h 93"/>
                <a:gd name="T86" fmla="*/ 54 w 113"/>
                <a:gd name="T87" fmla="*/ 75 h 93"/>
                <a:gd name="T88" fmla="*/ 54 w 113"/>
                <a:gd name="T89" fmla="*/ 83 h 93"/>
                <a:gd name="T90" fmla="*/ 44 w 113"/>
                <a:gd name="T91" fmla="*/ 86 h 93"/>
                <a:gd name="T92" fmla="*/ 41 w 113"/>
                <a:gd name="T93" fmla="*/ 78 h 93"/>
                <a:gd name="T94" fmla="*/ 36 w 113"/>
                <a:gd name="T95" fmla="*/ 73 h 93"/>
                <a:gd name="T96" fmla="*/ 33 w 113"/>
                <a:gd name="T97" fmla="*/ 67 h 93"/>
                <a:gd name="T98" fmla="*/ 25 w 113"/>
                <a:gd name="T99" fmla="*/ 57 h 93"/>
                <a:gd name="T100" fmla="*/ 23 w 113"/>
                <a:gd name="T101" fmla="*/ 49 h 93"/>
                <a:gd name="T102" fmla="*/ 25 w 113"/>
                <a:gd name="T103" fmla="*/ 49 h 93"/>
                <a:gd name="T104" fmla="*/ 20 w 113"/>
                <a:gd name="T105" fmla="*/ 44 h 93"/>
                <a:gd name="T106" fmla="*/ 20 w 113"/>
                <a:gd name="T107" fmla="*/ 39 h 93"/>
                <a:gd name="T108" fmla="*/ 10 w 113"/>
                <a:gd name="T109" fmla="*/ 31 h 93"/>
                <a:gd name="T110" fmla="*/ 2 w 113"/>
                <a:gd name="T111" fmla="*/ 31 h 93"/>
                <a:gd name="T112" fmla="*/ 0 w 113"/>
                <a:gd name="T113" fmla="*/ 2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3" h="93">
                  <a:moveTo>
                    <a:pt x="0" y="21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41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4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3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8" y="13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6"/>
                  </a:lnTo>
                  <a:lnTo>
                    <a:pt x="100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31"/>
                  </a:lnTo>
                  <a:lnTo>
                    <a:pt x="100" y="31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100" y="36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3" y="44"/>
                  </a:lnTo>
                  <a:lnTo>
                    <a:pt x="103" y="44"/>
                  </a:lnTo>
                  <a:lnTo>
                    <a:pt x="106" y="44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3" y="60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5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5"/>
                  </a:lnTo>
                  <a:lnTo>
                    <a:pt x="103" y="75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6"/>
                  </a:lnTo>
                  <a:lnTo>
                    <a:pt x="111" y="86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6" y="88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3" y="88"/>
                  </a:lnTo>
                  <a:lnTo>
                    <a:pt x="103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100" y="91"/>
                  </a:lnTo>
                  <a:lnTo>
                    <a:pt x="98" y="91"/>
                  </a:lnTo>
                  <a:lnTo>
                    <a:pt x="95" y="91"/>
                  </a:lnTo>
                  <a:lnTo>
                    <a:pt x="95" y="88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91"/>
                  </a:lnTo>
                  <a:lnTo>
                    <a:pt x="90" y="88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80" y="86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5" y="93"/>
                  </a:lnTo>
                  <a:lnTo>
                    <a:pt x="75" y="91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6"/>
                  </a:lnTo>
                  <a:lnTo>
                    <a:pt x="75" y="83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9" y="80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1" y="75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1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3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8" y="60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7"/>
                  </a:lnTo>
                  <a:lnTo>
                    <a:pt x="25" y="49"/>
                  </a:lnTo>
                  <a:lnTo>
                    <a:pt x="23" y="49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44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36"/>
                  </a:lnTo>
                  <a:lnTo>
                    <a:pt x="15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899" name="Freeform 139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3 w 73"/>
                <a:gd name="T1" fmla="*/ 42 h 60"/>
                <a:gd name="T2" fmla="*/ 5 w 73"/>
                <a:gd name="T3" fmla="*/ 31 h 60"/>
                <a:gd name="T4" fmla="*/ 3 w 73"/>
                <a:gd name="T5" fmla="*/ 26 h 60"/>
                <a:gd name="T6" fmla="*/ 5 w 73"/>
                <a:gd name="T7" fmla="*/ 21 h 60"/>
                <a:gd name="T8" fmla="*/ 5 w 73"/>
                <a:gd name="T9" fmla="*/ 16 h 60"/>
                <a:gd name="T10" fmla="*/ 5 w 73"/>
                <a:gd name="T11" fmla="*/ 13 h 60"/>
                <a:gd name="T12" fmla="*/ 13 w 73"/>
                <a:gd name="T13" fmla="*/ 16 h 60"/>
                <a:gd name="T14" fmla="*/ 13 w 73"/>
                <a:gd name="T15" fmla="*/ 8 h 60"/>
                <a:gd name="T16" fmla="*/ 18 w 73"/>
                <a:gd name="T17" fmla="*/ 8 h 60"/>
                <a:gd name="T18" fmla="*/ 21 w 73"/>
                <a:gd name="T19" fmla="*/ 5 h 60"/>
                <a:gd name="T20" fmla="*/ 24 w 73"/>
                <a:gd name="T21" fmla="*/ 3 h 60"/>
                <a:gd name="T22" fmla="*/ 24 w 73"/>
                <a:gd name="T23" fmla="*/ 8 h 60"/>
                <a:gd name="T24" fmla="*/ 31 w 73"/>
                <a:gd name="T25" fmla="*/ 8 h 60"/>
                <a:gd name="T26" fmla="*/ 36 w 73"/>
                <a:gd name="T27" fmla="*/ 5 h 60"/>
                <a:gd name="T28" fmla="*/ 39 w 73"/>
                <a:gd name="T29" fmla="*/ 5 h 60"/>
                <a:gd name="T30" fmla="*/ 39 w 73"/>
                <a:gd name="T31" fmla="*/ 3 h 60"/>
                <a:gd name="T32" fmla="*/ 42 w 73"/>
                <a:gd name="T33" fmla="*/ 0 h 60"/>
                <a:gd name="T34" fmla="*/ 44 w 73"/>
                <a:gd name="T35" fmla="*/ 0 h 60"/>
                <a:gd name="T36" fmla="*/ 47 w 73"/>
                <a:gd name="T37" fmla="*/ 8 h 60"/>
                <a:gd name="T38" fmla="*/ 44 w 73"/>
                <a:gd name="T39" fmla="*/ 13 h 60"/>
                <a:gd name="T40" fmla="*/ 55 w 73"/>
                <a:gd name="T41" fmla="*/ 18 h 60"/>
                <a:gd name="T42" fmla="*/ 57 w 73"/>
                <a:gd name="T43" fmla="*/ 23 h 60"/>
                <a:gd name="T44" fmla="*/ 60 w 73"/>
                <a:gd name="T45" fmla="*/ 26 h 60"/>
                <a:gd name="T46" fmla="*/ 57 w 73"/>
                <a:gd name="T47" fmla="*/ 31 h 60"/>
                <a:gd name="T48" fmla="*/ 57 w 73"/>
                <a:gd name="T49" fmla="*/ 34 h 60"/>
                <a:gd name="T50" fmla="*/ 57 w 73"/>
                <a:gd name="T51" fmla="*/ 36 h 60"/>
                <a:gd name="T52" fmla="*/ 65 w 73"/>
                <a:gd name="T53" fmla="*/ 36 h 60"/>
                <a:gd name="T54" fmla="*/ 68 w 73"/>
                <a:gd name="T55" fmla="*/ 36 h 60"/>
                <a:gd name="T56" fmla="*/ 73 w 73"/>
                <a:gd name="T57" fmla="*/ 39 h 60"/>
                <a:gd name="T58" fmla="*/ 73 w 73"/>
                <a:gd name="T59" fmla="*/ 42 h 60"/>
                <a:gd name="T60" fmla="*/ 73 w 73"/>
                <a:gd name="T61" fmla="*/ 42 h 60"/>
                <a:gd name="T62" fmla="*/ 70 w 73"/>
                <a:gd name="T63" fmla="*/ 44 h 60"/>
                <a:gd name="T64" fmla="*/ 70 w 73"/>
                <a:gd name="T65" fmla="*/ 47 h 60"/>
                <a:gd name="T66" fmla="*/ 68 w 73"/>
                <a:gd name="T67" fmla="*/ 52 h 60"/>
                <a:gd name="T68" fmla="*/ 65 w 73"/>
                <a:gd name="T69" fmla="*/ 54 h 60"/>
                <a:gd name="T70" fmla="*/ 62 w 73"/>
                <a:gd name="T71" fmla="*/ 60 h 60"/>
                <a:gd name="T72" fmla="*/ 60 w 73"/>
                <a:gd name="T73" fmla="*/ 54 h 60"/>
                <a:gd name="T74" fmla="*/ 60 w 73"/>
                <a:gd name="T75" fmla="*/ 52 h 60"/>
                <a:gd name="T76" fmla="*/ 55 w 73"/>
                <a:gd name="T77" fmla="*/ 49 h 60"/>
                <a:gd name="T78" fmla="*/ 49 w 73"/>
                <a:gd name="T79" fmla="*/ 49 h 60"/>
                <a:gd name="T80" fmla="*/ 42 w 73"/>
                <a:gd name="T81" fmla="*/ 49 h 60"/>
                <a:gd name="T82" fmla="*/ 42 w 73"/>
                <a:gd name="T83" fmla="*/ 44 h 60"/>
                <a:gd name="T84" fmla="*/ 36 w 73"/>
                <a:gd name="T85" fmla="*/ 44 h 60"/>
                <a:gd name="T86" fmla="*/ 36 w 73"/>
                <a:gd name="T87" fmla="*/ 49 h 60"/>
                <a:gd name="T88" fmla="*/ 34 w 73"/>
                <a:gd name="T89" fmla="*/ 52 h 60"/>
                <a:gd name="T90" fmla="*/ 29 w 73"/>
                <a:gd name="T91" fmla="*/ 47 h 60"/>
                <a:gd name="T92" fmla="*/ 24 w 73"/>
                <a:gd name="T93" fmla="*/ 47 h 60"/>
                <a:gd name="T94" fmla="*/ 18 w 73"/>
                <a:gd name="T95" fmla="*/ 47 h 60"/>
                <a:gd name="T96" fmla="*/ 13 w 73"/>
                <a:gd name="T97" fmla="*/ 44 h 60"/>
                <a:gd name="T98" fmla="*/ 8 w 73"/>
                <a:gd name="T99" fmla="*/ 47 h 60"/>
                <a:gd name="T100" fmla="*/ 3 w 73"/>
                <a:gd name="T101" fmla="*/ 49 h 60"/>
                <a:gd name="T102" fmla="*/ 5 w 73"/>
                <a:gd name="T103" fmla="*/ 47 h 60"/>
                <a:gd name="T104" fmla="*/ 3 w 73"/>
                <a:gd name="T105" fmla="*/ 47 h 60"/>
                <a:gd name="T106" fmla="*/ 3 w 73"/>
                <a:gd name="T107" fmla="*/ 44 h 60"/>
                <a:gd name="T108" fmla="*/ 0 w 73"/>
                <a:gd name="T109" fmla="*/ 47 h 60"/>
                <a:gd name="T110" fmla="*/ 0 w 73"/>
                <a:gd name="T111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5" y="3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7" y="13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5" y="18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8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6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44"/>
                  </a:lnTo>
                  <a:lnTo>
                    <a:pt x="21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7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0" name="Freeform 140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3 w 73"/>
                <a:gd name="T1" fmla="*/ 42 h 60"/>
                <a:gd name="T2" fmla="*/ 5 w 73"/>
                <a:gd name="T3" fmla="*/ 31 h 60"/>
                <a:gd name="T4" fmla="*/ 3 w 73"/>
                <a:gd name="T5" fmla="*/ 26 h 60"/>
                <a:gd name="T6" fmla="*/ 5 w 73"/>
                <a:gd name="T7" fmla="*/ 21 h 60"/>
                <a:gd name="T8" fmla="*/ 5 w 73"/>
                <a:gd name="T9" fmla="*/ 16 h 60"/>
                <a:gd name="T10" fmla="*/ 5 w 73"/>
                <a:gd name="T11" fmla="*/ 13 h 60"/>
                <a:gd name="T12" fmla="*/ 13 w 73"/>
                <a:gd name="T13" fmla="*/ 16 h 60"/>
                <a:gd name="T14" fmla="*/ 13 w 73"/>
                <a:gd name="T15" fmla="*/ 8 h 60"/>
                <a:gd name="T16" fmla="*/ 18 w 73"/>
                <a:gd name="T17" fmla="*/ 8 h 60"/>
                <a:gd name="T18" fmla="*/ 21 w 73"/>
                <a:gd name="T19" fmla="*/ 5 h 60"/>
                <a:gd name="T20" fmla="*/ 24 w 73"/>
                <a:gd name="T21" fmla="*/ 3 h 60"/>
                <a:gd name="T22" fmla="*/ 24 w 73"/>
                <a:gd name="T23" fmla="*/ 8 h 60"/>
                <a:gd name="T24" fmla="*/ 31 w 73"/>
                <a:gd name="T25" fmla="*/ 8 h 60"/>
                <a:gd name="T26" fmla="*/ 36 w 73"/>
                <a:gd name="T27" fmla="*/ 5 h 60"/>
                <a:gd name="T28" fmla="*/ 39 w 73"/>
                <a:gd name="T29" fmla="*/ 5 h 60"/>
                <a:gd name="T30" fmla="*/ 39 w 73"/>
                <a:gd name="T31" fmla="*/ 3 h 60"/>
                <a:gd name="T32" fmla="*/ 42 w 73"/>
                <a:gd name="T33" fmla="*/ 0 h 60"/>
                <a:gd name="T34" fmla="*/ 44 w 73"/>
                <a:gd name="T35" fmla="*/ 0 h 60"/>
                <a:gd name="T36" fmla="*/ 47 w 73"/>
                <a:gd name="T37" fmla="*/ 8 h 60"/>
                <a:gd name="T38" fmla="*/ 44 w 73"/>
                <a:gd name="T39" fmla="*/ 13 h 60"/>
                <a:gd name="T40" fmla="*/ 55 w 73"/>
                <a:gd name="T41" fmla="*/ 18 h 60"/>
                <a:gd name="T42" fmla="*/ 57 w 73"/>
                <a:gd name="T43" fmla="*/ 23 h 60"/>
                <a:gd name="T44" fmla="*/ 60 w 73"/>
                <a:gd name="T45" fmla="*/ 26 h 60"/>
                <a:gd name="T46" fmla="*/ 57 w 73"/>
                <a:gd name="T47" fmla="*/ 31 h 60"/>
                <a:gd name="T48" fmla="*/ 57 w 73"/>
                <a:gd name="T49" fmla="*/ 34 h 60"/>
                <a:gd name="T50" fmla="*/ 57 w 73"/>
                <a:gd name="T51" fmla="*/ 36 h 60"/>
                <a:gd name="T52" fmla="*/ 65 w 73"/>
                <a:gd name="T53" fmla="*/ 36 h 60"/>
                <a:gd name="T54" fmla="*/ 68 w 73"/>
                <a:gd name="T55" fmla="*/ 36 h 60"/>
                <a:gd name="T56" fmla="*/ 73 w 73"/>
                <a:gd name="T57" fmla="*/ 39 h 60"/>
                <a:gd name="T58" fmla="*/ 73 w 73"/>
                <a:gd name="T59" fmla="*/ 42 h 60"/>
                <a:gd name="T60" fmla="*/ 73 w 73"/>
                <a:gd name="T61" fmla="*/ 42 h 60"/>
                <a:gd name="T62" fmla="*/ 70 w 73"/>
                <a:gd name="T63" fmla="*/ 44 h 60"/>
                <a:gd name="T64" fmla="*/ 70 w 73"/>
                <a:gd name="T65" fmla="*/ 47 h 60"/>
                <a:gd name="T66" fmla="*/ 68 w 73"/>
                <a:gd name="T67" fmla="*/ 52 h 60"/>
                <a:gd name="T68" fmla="*/ 65 w 73"/>
                <a:gd name="T69" fmla="*/ 54 h 60"/>
                <a:gd name="T70" fmla="*/ 62 w 73"/>
                <a:gd name="T71" fmla="*/ 60 h 60"/>
                <a:gd name="T72" fmla="*/ 60 w 73"/>
                <a:gd name="T73" fmla="*/ 54 h 60"/>
                <a:gd name="T74" fmla="*/ 60 w 73"/>
                <a:gd name="T75" fmla="*/ 52 h 60"/>
                <a:gd name="T76" fmla="*/ 55 w 73"/>
                <a:gd name="T77" fmla="*/ 49 h 60"/>
                <a:gd name="T78" fmla="*/ 49 w 73"/>
                <a:gd name="T79" fmla="*/ 49 h 60"/>
                <a:gd name="T80" fmla="*/ 42 w 73"/>
                <a:gd name="T81" fmla="*/ 49 h 60"/>
                <a:gd name="T82" fmla="*/ 42 w 73"/>
                <a:gd name="T83" fmla="*/ 44 h 60"/>
                <a:gd name="T84" fmla="*/ 36 w 73"/>
                <a:gd name="T85" fmla="*/ 44 h 60"/>
                <a:gd name="T86" fmla="*/ 36 w 73"/>
                <a:gd name="T87" fmla="*/ 49 h 60"/>
                <a:gd name="T88" fmla="*/ 34 w 73"/>
                <a:gd name="T89" fmla="*/ 52 h 60"/>
                <a:gd name="T90" fmla="*/ 29 w 73"/>
                <a:gd name="T91" fmla="*/ 47 h 60"/>
                <a:gd name="T92" fmla="*/ 24 w 73"/>
                <a:gd name="T93" fmla="*/ 47 h 60"/>
                <a:gd name="T94" fmla="*/ 18 w 73"/>
                <a:gd name="T95" fmla="*/ 47 h 60"/>
                <a:gd name="T96" fmla="*/ 13 w 73"/>
                <a:gd name="T97" fmla="*/ 44 h 60"/>
                <a:gd name="T98" fmla="*/ 8 w 73"/>
                <a:gd name="T99" fmla="*/ 47 h 60"/>
                <a:gd name="T100" fmla="*/ 3 w 73"/>
                <a:gd name="T101" fmla="*/ 49 h 60"/>
                <a:gd name="T102" fmla="*/ 5 w 73"/>
                <a:gd name="T103" fmla="*/ 47 h 60"/>
                <a:gd name="T104" fmla="*/ 3 w 73"/>
                <a:gd name="T105" fmla="*/ 47 h 60"/>
                <a:gd name="T106" fmla="*/ 3 w 73"/>
                <a:gd name="T107" fmla="*/ 44 h 60"/>
                <a:gd name="T108" fmla="*/ 0 w 73"/>
                <a:gd name="T109" fmla="*/ 47 h 60"/>
                <a:gd name="T110" fmla="*/ 0 w 73"/>
                <a:gd name="T111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5" y="3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7" y="13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5" y="18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8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6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44"/>
                  </a:lnTo>
                  <a:lnTo>
                    <a:pt x="21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7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1" name="Freeform 141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3 w 73"/>
                <a:gd name="T1" fmla="*/ 42 h 60"/>
                <a:gd name="T2" fmla="*/ 5 w 73"/>
                <a:gd name="T3" fmla="*/ 31 h 60"/>
                <a:gd name="T4" fmla="*/ 3 w 73"/>
                <a:gd name="T5" fmla="*/ 26 h 60"/>
                <a:gd name="T6" fmla="*/ 5 w 73"/>
                <a:gd name="T7" fmla="*/ 21 h 60"/>
                <a:gd name="T8" fmla="*/ 5 w 73"/>
                <a:gd name="T9" fmla="*/ 16 h 60"/>
                <a:gd name="T10" fmla="*/ 5 w 73"/>
                <a:gd name="T11" fmla="*/ 13 h 60"/>
                <a:gd name="T12" fmla="*/ 13 w 73"/>
                <a:gd name="T13" fmla="*/ 16 h 60"/>
                <a:gd name="T14" fmla="*/ 13 w 73"/>
                <a:gd name="T15" fmla="*/ 8 h 60"/>
                <a:gd name="T16" fmla="*/ 18 w 73"/>
                <a:gd name="T17" fmla="*/ 8 h 60"/>
                <a:gd name="T18" fmla="*/ 21 w 73"/>
                <a:gd name="T19" fmla="*/ 5 h 60"/>
                <a:gd name="T20" fmla="*/ 24 w 73"/>
                <a:gd name="T21" fmla="*/ 3 h 60"/>
                <a:gd name="T22" fmla="*/ 24 w 73"/>
                <a:gd name="T23" fmla="*/ 8 h 60"/>
                <a:gd name="T24" fmla="*/ 31 w 73"/>
                <a:gd name="T25" fmla="*/ 8 h 60"/>
                <a:gd name="T26" fmla="*/ 36 w 73"/>
                <a:gd name="T27" fmla="*/ 5 h 60"/>
                <a:gd name="T28" fmla="*/ 39 w 73"/>
                <a:gd name="T29" fmla="*/ 5 h 60"/>
                <a:gd name="T30" fmla="*/ 39 w 73"/>
                <a:gd name="T31" fmla="*/ 3 h 60"/>
                <a:gd name="T32" fmla="*/ 42 w 73"/>
                <a:gd name="T33" fmla="*/ 0 h 60"/>
                <a:gd name="T34" fmla="*/ 44 w 73"/>
                <a:gd name="T35" fmla="*/ 0 h 60"/>
                <a:gd name="T36" fmla="*/ 47 w 73"/>
                <a:gd name="T37" fmla="*/ 8 h 60"/>
                <a:gd name="T38" fmla="*/ 44 w 73"/>
                <a:gd name="T39" fmla="*/ 13 h 60"/>
                <a:gd name="T40" fmla="*/ 55 w 73"/>
                <a:gd name="T41" fmla="*/ 18 h 60"/>
                <a:gd name="T42" fmla="*/ 57 w 73"/>
                <a:gd name="T43" fmla="*/ 23 h 60"/>
                <a:gd name="T44" fmla="*/ 60 w 73"/>
                <a:gd name="T45" fmla="*/ 26 h 60"/>
                <a:gd name="T46" fmla="*/ 57 w 73"/>
                <a:gd name="T47" fmla="*/ 31 h 60"/>
                <a:gd name="T48" fmla="*/ 57 w 73"/>
                <a:gd name="T49" fmla="*/ 34 h 60"/>
                <a:gd name="T50" fmla="*/ 57 w 73"/>
                <a:gd name="T51" fmla="*/ 36 h 60"/>
                <a:gd name="T52" fmla="*/ 65 w 73"/>
                <a:gd name="T53" fmla="*/ 36 h 60"/>
                <a:gd name="T54" fmla="*/ 68 w 73"/>
                <a:gd name="T55" fmla="*/ 36 h 60"/>
                <a:gd name="T56" fmla="*/ 73 w 73"/>
                <a:gd name="T57" fmla="*/ 39 h 60"/>
                <a:gd name="T58" fmla="*/ 73 w 73"/>
                <a:gd name="T59" fmla="*/ 42 h 60"/>
                <a:gd name="T60" fmla="*/ 73 w 73"/>
                <a:gd name="T61" fmla="*/ 42 h 60"/>
                <a:gd name="T62" fmla="*/ 70 w 73"/>
                <a:gd name="T63" fmla="*/ 44 h 60"/>
                <a:gd name="T64" fmla="*/ 70 w 73"/>
                <a:gd name="T65" fmla="*/ 47 h 60"/>
                <a:gd name="T66" fmla="*/ 68 w 73"/>
                <a:gd name="T67" fmla="*/ 52 h 60"/>
                <a:gd name="T68" fmla="*/ 65 w 73"/>
                <a:gd name="T69" fmla="*/ 54 h 60"/>
                <a:gd name="T70" fmla="*/ 62 w 73"/>
                <a:gd name="T71" fmla="*/ 60 h 60"/>
                <a:gd name="T72" fmla="*/ 60 w 73"/>
                <a:gd name="T73" fmla="*/ 54 h 60"/>
                <a:gd name="T74" fmla="*/ 60 w 73"/>
                <a:gd name="T75" fmla="*/ 52 h 60"/>
                <a:gd name="T76" fmla="*/ 55 w 73"/>
                <a:gd name="T77" fmla="*/ 49 h 60"/>
                <a:gd name="T78" fmla="*/ 49 w 73"/>
                <a:gd name="T79" fmla="*/ 49 h 60"/>
                <a:gd name="T80" fmla="*/ 42 w 73"/>
                <a:gd name="T81" fmla="*/ 49 h 60"/>
                <a:gd name="T82" fmla="*/ 42 w 73"/>
                <a:gd name="T83" fmla="*/ 44 h 60"/>
                <a:gd name="T84" fmla="*/ 36 w 73"/>
                <a:gd name="T85" fmla="*/ 44 h 60"/>
                <a:gd name="T86" fmla="*/ 36 w 73"/>
                <a:gd name="T87" fmla="*/ 49 h 60"/>
                <a:gd name="T88" fmla="*/ 34 w 73"/>
                <a:gd name="T89" fmla="*/ 52 h 60"/>
                <a:gd name="T90" fmla="*/ 29 w 73"/>
                <a:gd name="T91" fmla="*/ 47 h 60"/>
                <a:gd name="T92" fmla="*/ 24 w 73"/>
                <a:gd name="T93" fmla="*/ 47 h 60"/>
                <a:gd name="T94" fmla="*/ 18 w 73"/>
                <a:gd name="T95" fmla="*/ 47 h 60"/>
                <a:gd name="T96" fmla="*/ 13 w 73"/>
                <a:gd name="T97" fmla="*/ 44 h 60"/>
                <a:gd name="T98" fmla="*/ 8 w 73"/>
                <a:gd name="T99" fmla="*/ 47 h 60"/>
                <a:gd name="T100" fmla="*/ 3 w 73"/>
                <a:gd name="T101" fmla="*/ 49 h 60"/>
                <a:gd name="T102" fmla="*/ 5 w 73"/>
                <a:gd name="T103" fmla="*/ 47 h 60"/>
                <a:gd name="T104" fmla="*/ 3 w 73"/>
                <a:gd name="T105" fmla="*/ 47 h 60"/>
                <a:gd name="T106" fmla="*/ 3 w 73"/>
                <a:gd name="T107" fmla="*/ 44 h 60"/>
                <a:gd name="T108" fmla="*/ 0 w 73"/>
                <a:gd name="T109" fmla="*/ 47 h 60"/>
                <a:gd name="T110" fmla="*/ 0 w 73"/>
                <a:gd name="T111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5" y="3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7" y="13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5" y="18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8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6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44"/>
                  </a:lnTo>
                  <a:lnTo>
                    <a:pt x="21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7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2" name="Freeform 142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3 w 73"/>
                <a:gd name="T1" fmla="*/ 42 h 60"/>
                <a:gd name="T2" fmla="*/ 5 w 73"/>
                <a:gd name="T3" fmla="*/ 31 h 60"/>
                <a:gd name="T4" fmla="*/ 3 w 73"/>
                <a:gd name="T5" fmla="*/ 26 h 60"/>
                <a:gd name="T6" fmla="*/ 5 w 73"/>
                <a:gd name="T7" fmla="*/ 21 h 60"/>
                <a:gd name="T8" fmla="*/ 5 w 73"/>
                <a:gd name="T9" fmla="*/ 16 h 60"/>
                <a:gd name="T10" fmla="*/ 5 w 73"/>
                <a:gd name="T11" fmla="*/ 13 h 60"/>
                <a:gd name="T12" fmla="*/ 13 w 73"/>
                <a:gd name="T13" fmla="*/ 16 h 60"/>
                <a:gd name="T14" fmla="*/ 13 w 73"/>
                <a:gd name="T15" fmla="*/ 8 h 60"/>
                <a:gd name="T16" fmla="*/ 18 w 73"/>
                <a:gd name="T17" fmla="*/ 8 h 60"/>
                <a:gd name="T18" fmla="*/ 21 w 73"/>
                <a:gd name="T19" fmla="*/ 5 h 60"/>
                <a:gd name="T20" fmla="*/ 24 w 73"/>
                <a:gd name="T21" fmla="*/ 3 h 60"/>
                <a:gd name="T22" fmla="*/ 24 w 73"/>
                <a:gd name="T23" fmla="*/ 8 h 60"/>
                <a:gd name="T24" fmla="*/ 31 w 73"/>
                <a:gd name="T25" fmla="*/ 8 h 60"/>
                <a:gd name="T26" fmla="*/ 36 w 73"/>
                <a:gd name="T27" fmla="*/ 5 h 60"/>
                <a:gd name="T28" fmla="*/ 39 w 73"/>
                <a:gd name="T29" fmla="*/ 5 h 60"/>
                <a:gd name="T30" fmla="*/ 39 w 73"/>
                <a:gd name="T31" fmla="*/ 3 h 60"/>
                <a:gd name="T32" fmla="*/ 42 w 73"/>
                <a:gd name="T33" fmla="*/ 0 h 60"/>
                <a:gd name="T34" fmla="*/ 44 w 73"/>
                <a:gd name="T35" fmla="*/ 0 h 60"/>
                <a:gd name="T36" fmla="*/ 47 w 73"/>
                <a:gd name="T37" fmla="*/ 8 h 60"/>
                <a:gd name="T38" fmla="*/ 44 w 73"/>
                <a:gd name="T39" fmla="*/ 13 h 60"/>
                <a:gd name="T40" fmla="*/ 55 w 73"/>
                <a:gd name="T41" fmla="*/ 18 h 60"/>
                <a:gd name="T42" fmla="*/ 57 w 73"/>
                <a:gd name="T43" fmla="*/ 23 h 60"/>
                <a:gd name="T44" fmla="*/ 60 w 73"/>
                <a:gd name="T45" fmla="*/ 26 h 60"/>
                <a:gd name="T46" fmla="*/ 57 w 73"/>
                <a:gd name="T47" fmla="*/ 31 h 60"/>
                <a:gd name="T48" fmla="*/ 57 w 73"/>
                <a:gd name="T49" fmla="*/ 34 h 60"/>
                <a:gd name="T50" fmla="*/ 57 w 73"/>
                <a:gd name="T51" fmla="*/ 36 h 60"/>
                <a:gd name="T52" fmla="*/ 65 w 73"/>
                <a:gd name="T53" fmla="*/ 36 h 60"/>
                <a:gd name="T54" fmla="*/ 68 w 73"/>
                <a:gd name="T55" fmla="*/ 36 h 60"/>
                <a:gd name="T56" fmla="*/ 73 w 73"/>
                <a:gd name="T57" fmla="*/ 39 h 60"/>
                <a:gd name="T58" fmla="*/ 73 w 73"/>
                <a:gd name="T59" fmla="*/ 42 h 60"/>
                <a:gd name="T60" fmla="*/ 73 w 73"/>
                <a:gd name="T61" fmla="*/ 42 h 60"/>
                <a:gd name="T62" fmla="*/ 70 w 73"/>
                <a:gd name="T63" fmla="*/ 44 h 60"/>
                <a:gd name="T64" fmla="*/ 70 w 73"/>
                <a:gd name="T65" fmla="*/ 47 h 60"/>
                <a:gd name="T66" fmla="*/ 68 w 73"/>
                <a:gd name="T67" fmla="*/ 52 h 60"/>
                <a:gd name="T68" fmla="*/ 65 w 73"/>
                <a:gd name="T69" fmla="*/ 54 h 60"/>
                <a:gd name="T70" fmla="*/ 62 w 73"/>
                <a:gd name="T71" fmla="*/ 60 h 60"/>
                <a:gd name="T72" fmla="*/ 60 w 73"/>
                <a:gd name="T73" fmla="*/ 54 h 60"/>
                <a:gd name="T74" fmla="*/ 60 w 73"/>
                <a:gd name="T75" fmla="*/ 52 h 60"/>
                <a:gd name="T76" fmla="*/ 55 w 73"/>
                <a:gd name="T77" fmla="*/ 49 h 60"/>
                <a:gd name="T78" fmla="*/ 49 w 73"/>
                <a:gd name="T79" fmla="*/ 49 h 60"/>
                <a:gd name="T80" fmla="*/ 42 w 73"/>
                <a:gd name="T81" fmla="*/ 49 h 60"/>
                <a:gd name="T82" fmla="*/ 42 w 73"/>
                <a:gd name="T83" fmla="*/ 44 h 60"/>
                <a:gd name="T84" fmla="*/ 36 w 73"/>
                <a:gd name="T85" fmla="*/ 44 h 60"/>
                <a:gd name="T86" fmla="*/ 36 w 73"/>
                <a:gd name="T87" fmla="*/ 49 h 60"/>
                <a:gd name="T88" fmla="*/ 34 w 73"/>
                <a:gd name="T89" fmla="*/ 52 h 60"/>
                <a:gd name="T90" fmla="*/ 29 w 73"/>
                <a:gd name="T91" fmla="*/ 47 h 60"/>
                <a:gd name="T92" fmla="*/ 24 w 73"/>
                <a:gd name="T93" fmla="*/ 47 h 60"/>
                <a:gd name="T94" fmla="*/ 18 w 73"/>
                <a:gd name="T95" fmla="*/ 47 h 60"/>
                <a:gd name="T96" fmla="*/ 13 w 73"/>
                <a:gd name="T97" fmla="*/ 44 h 60"/>
                <a:gd name="T98" fmla="*/ 8 w 73"/>
                <a:gd name="T99" fmla="*/ 47 h 60"/>
                <a:gd name="T100" fmla="*/ 3 w 73"/>
                <a:gd name="T101" fmla="*/ 49 h 60"/>
                <a:gd name="T102" fmla="*/ 5 w 73"/>
                <a:gd name="T103" fmla="*/ 47 h 60"/>
                <a:gd name="T104" fmla="*/ 3 w 73"/>
                <a:gd name="T105" fmla="*/ 47 h 60"/>
                <a:gd name="T106" fmla="*/ 3 w 73"/>
                <a:gd name="T107" fmla="*/ 44 h 60"/>
                <a:gd name="T108" fmla="*/ 0 w 73"/>
                <a:gd name="T109" fmla="*/ 47 h 60"/>
                <a:gd name="T110" fmla="*/ 0 w 73"/>
                <a:gd name="T111" fmla="*/ 4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5" y="31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7" y="13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5" y="18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2" y="34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8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52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6" y="44"/>
                  </a:lnTo>
                  <a:lnTo>
                    <a:pt x="26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44"/>
                  </a:lnTo>
                  <a:lnTo>
                    <a:pt x="21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7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3" name="Freeform 143"/>
            <p:cNvSpPr>
              <a:spLocks/>
            </p:cNvSpPr>
            <p:nvPr/>
          </p:nvSpPr>
          <p:spPr bwMode="auto">
            <a:xfrm>
              <a:off x="1357" y="2602"/>
              <a:ext cx="391" cy="387"/>
            </a:xfrm>
            <a:custGeom>
              <a:avLst/>
              <a:gdLst>
                <a:gd name="T0" fmla="*/ 26 w 391"/>
                <a:gd name="T1" fmla="*/ 76 h 387"/>
                <a:gd name="T2" fmla="*/ 33 w 391"/>
                <a:gd name="T3" fmla="*/ 70 h 387"/>
                <a:gd name="T4" fmla="*/ 49 w 391"/>
                <a:gd name="T5" fmla="*/ 58 h 387"/>
                <a:gd name="T6" fmla="*/ 77 w 391"/>
                <a:gd name="T7" fmla="*/ 47 h 387"/>
                <a:gd name="T8" fmla="*/ 90 w 391"/>
                <a:gd name="T9" fmla="*/ 34 h 387"/>
                <a:gd name="T10" fmla="*/ 106 w 391"/>
                <a:gd name="T11" fmla="*/ 34 h 387"/>
                <a:gd name="T12" fmla="*/ 127 w 391"/>
                <a:gd name="T13" fmla="*/ 50 h 387"/>
                <a:gd name="T14" fmla="*/ 137 w 391"/>
                <a:gd name="T15" fmla="*/ 52 h 387"/>
                <a:gd name="T16" fmla="*/ 165 w 391"/>
                <a:gd name="T17" fmla="*/ 60 h 387"/>
                <a:gd name="T18" fmla="*/ 181 w 391"/>
                <a:gd name="T19" fmla="*/ 65 h 387"/>
                <a:gd name="T20" fmla="*/ 191 w 391"/>
                <a:gd name="T21" fmla="*/ 70 h 387"/>
                <a:gd name="T22" fmla="*/ 207 w 391"/>
                <a:gd name="T23" fmla="*/ 58 h 387"/>
                <a:gd name="T24" fmla="*/ 220 w 391"/>
                <a:gd name="T25" fmla="*/ 55 h 387"/>
                <a:gd name="T26" fmla="*/ 243 w 391"/>
                <a:gd name="T27" fmla="*/ 47 h 387"/>
                <a:gd name="T28" fmla="*/ 253 w 391"/>
                <a:gd name="T29" fmla="*/ 32 h 387"/>
                <a:gd name="T30" fmla="*/ 282 w 391"/>
                <a:gd name="T31" fmla="*/ 16 h 387"/>
                <a:gd name="T32" fmla="*/ 282 w 391"/>
                <a:gd name="T33" fmla="*/ 0 h 387"/>
                <a:gd name="T34" fmla="*/ 292 w 391"/>
                <a:gd name="T35" fmla="*/ 24 h 387"/>
                <a:gd name="T36" fmla="*/ 326 w 391"/>
                <a:gd name="T37" fmla="*/ 24 h 387"/>
                <a:gd name="T38" fmla="*/ 334 w 391"/>
                <a:gd name="T39" fmla="*/ 50 h 387"/>
                <a:gd name="T40" fmla="*/ 354 w 391"/>
                <a:gd name="T41" fmla="*/ 50 h 387"/>
                <a:gd name="T42" fmla="*/ 347 w 391"/>
                <a:gd name="T43" fmla="*/ 73 h 387"/>
                <a:gd name="T44" fmla="*/ 321 w 391"/>
                <a:gd name="T45" fmla="*/ 120 h 387"/>
                <a:gd name="T46" fmla="*/ 352 w 391"/>
                <a:gd name="T47" fmla="*/ 153 h 387"/>
                <a:gd name="T48" fmla="*/ 372 w 391"/>
                <a:gd name="T49" fmla="*/ 190 h 387"/>
                <a:gd name="T50" fmla="*/ 370 w 391"/>
                <a:gd name="T51" fmla="*/ 221 h 387"/>
                <a:gd name="T52" fmla="*/ 380 w 391"/>
                <a:gd name="T53" fmla="*/ 249 h 387"/>
                <a:gd name="T54" fmla="*/ 383 w 391"/>
                <a:gd name="T55" fmla="*/ 283 h 387"/>
                <a:gd name="T56" fmla="*/ 372 w 391"/>
                <a:gd name="T57" fmla="*/ 309 h 387"/>
                <a:gd name="T58" fmla="*/ 388 w 391"/>
                <a:gd name="T59" fmla="*/ 343 h 387"/>
                <a:gd name="T60" fmla="*/ 370 w 391"/>
                <a:gd name="T61" fmla="*/ 348 h 387"/>
                <a:gd name="T62" fmla="*/ 344 w 391"/>
                <a:gd name="T63" fmla="*/ 358 h 387"/>
                <a:gd name="T64" fmla="*/ 318 w 391"/>
                <a:gd name="T65" fmla="*/ 353 h 387"/>
                <a:gd name="T66" fmla="*/ 310 w 391"/>
                <a:gd name="T67" fmla="*/ 369 h 387"/>
                <a:gd name="T68" fmla="*/ 305 w 391"/>
                <a:gd name="T69" fmla="*/ 379 h 387"/>
                <a:gd name="T70" fmla="*/ 284 w 391"/>
                <a:gd name="T71" fmla="*/ 384 h 387"/>
                <a:gd name="T72" fmla="*/ 266 w 391"/>
                <a:gd name="T73" fmla="*/ 384 h 387"/>
                <a:gd name="T74" fmla="*/ 243 w 391"/>
                <a:gd name="T75" fmla="*/ 374 h 387"/>
                <a:gd name="T76" fmla="*/ 228 w 391"/>
                <a:gd name="T77" fmla="*/ 371 h 387"/>
                <a:gd name="T78" fmla="*/ 215 w 391"/>
                <a:gd name="T79" fmla="*/ 371 h 387"/>
                <a:gd name="T80" fmla="*/ 217 w 391"/>
                <a:gd name="T81" fmla="*/ 358 h 387"/>
                <a:gd name="T82" fmla="*/ 204 w 391"/>
                <a:gd name="T83" fmla="*/ 343 h 387"/>
                <a:gd name="T84" fmla="*/ 212 w 391"/>
                <a:gd name="T85" fmla="*/ 322 h 387"/>
                <a:gd name="T86" fmla="*/ 207 w 391"/>
                <a:gd name="T87" fmla="*/ 304 h 387"/>
                <a:gd name="T88" fmla="*/ 196 w 391"/>
                <a:gd name="T89" fmla="*/ 296 h 387"/>
                <a:gd name="T90" fmla="*/ 184 w 391"/>
                <a:gd name="T91" fmla="*/ 286 h 387"/>
                <a:gd name="T92" fmla="*/ 158 w 391"/>
                <a:gd name="T93" fmla="*/ 273 h 387"/>
                <a:gd name="T94" fmla="*/ 137 w 391"/>
                <a:gd name="T95" fmla="*/ 273 h 387"/>
                <a:gd name="T96" fmla="*/ 114 w 391"/>
                <a:gd name="T97" fmla="*/ 255 h 387"/>
                <a:gd name="T98" fmla="*/ 108 w 391"/>
                <a:gd name="T99" fmla="*/ 236 h 387"/>
                <a:gd name="T100" fmla="*/ 108 w 391"/>
                <a:gd name="T101" fmla="*/ 223 h 387"/>
                <a:gd name="T102" fmla="*/ 114 w 391"/>
                <a:gd name="T103" fmla="*/ 200 h 387"/>
                <a:gd name="T104" fmla="*/ 119 w 391"/>
                <a:gd name="T105" fmla="*/ 187 h 387"/>
                <a:gd name="T106" fmla="*/ 101 w 391"/>
                <a:gd name="T107" fmla="*/ 185 h 387"/>
                <a:gd name="T108" fmla="*/ 101 w 391"/>
                <a:gd name="T109" fmla="*/ 164 h 387"/>
                <a:gd name="T110" fmla="*/ 106 w 391"/>
                <a:gd name="T111" fmla="*/ 151 h 387"/>
                <a:gd name="T112" fmla="*/ 106 w 391"/>
                <a:gd name="T113" fmla="*/ 135 h 387"/>
                <a:gd name="T114" fmla="*/ 96 w 391"/>
                <a:gd name="T115" fmla="*/ 122 h 387"/>
                <a:gd name="T116" fmla="*/ 75 w 391"/>
                <a:gd name="T117" fmla="*/ 120 h 387"/>
                <a:gd name="T118" fmla="*/ 52 w 391"/>
                <a:gd name="T119" fmla="*/ 102 h 387"/>
                <a:gd name="T120" fmla="*/ 31 w 391"/>
                <a:gd name="T121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87">
                  <a:moveTo>
                    <a:pt x="0" y="81"/>
                  </a:move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5" y="78"/>
                  </a:lnTo>
                  <a:lnTo>
                    <a:pt x="7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5" y="78"/>
                  </a:lnTo>
                  <a:lnTo>
                    <a:pt x="13" y="7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8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72" y="50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5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8" y="34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6" y="37"/>
                  </a:lnTo>
                  <a:lnTo>
                    <a:pt x="106" y="34"/>
                  </a:lnTo>
                  <a:lnTo>
                    <a:pt x="108" y="37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11" y="42"/>
                  </a:lnTo>
                  <a:lnTo>
                    <a:pt x="111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9" y="42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4" y="45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4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5" y="55"/>
                  </a:lnTo>
                  <a:lnTo>
                    <a:pt x="147" y="55"/>
                  </a:lnTo>
                  <a:lnTo>
                    <a:pt x="150" y="58"/>
                  </a:lnTo>
                  <a:lnTo>
                    <a:pt x="150" y="58"/>
                  </a:lnTo>
                  <a:lnTo>
                    <a:pt x="150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3" y="60"/>
                  </a:lnTo>
                  <a:lnTo>
                    <a:pt x="165" y="60"/>
                  </a:lnTo>
                  <a:lnTo>
                    <a:pt x="165" y="60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3" y="63"/>
                  </a:lnTo>
                  <a:lnTo>
                    <a:pt x="165" y="63"/>
                  </a:lnTo>
                  <a:lnTo>
                    <a:pt x="165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8" y="65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5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6" y="68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4" y="70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9" y="63"/>
                  </a:lnTo>
                  <a:lnTo>
                    <a:pt x="199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2" y="58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2" y="55"/>
                  </a:lnTo>
                  <a:lnTo>
                    <a:pt x="222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0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5"/>
                  </a:lnTo>
                  <a:lnTo>
                    <a:pt x="235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40" y="52"/>
                  </a:lnTo>
                  <a:lnTo>
                    <a:pt x="240" y="50"/>
                  </a:lnTo>
                  <a:lnTo>
                    <a:pt x="243" y="50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3" y="47"/>
                  </a:lnTo>
                  <a:lnTo>
                    <a:pt x="246" y="47"/>
                  </a:lnTo>
                  <a:lnTo>
                    <a:pt x="246" y="47"/>
                  </a:lnTo>
                  <a:lnTo>
                    <a:pt x="248" y="47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7"/>
                  </a:lnTo>
                  <a:lnTo>
                    <a:pt x="251" y="37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1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4" y="24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6" y="21"/>
                  </a:lnTo>
                  <a:lnTo>
                    <a:pt x="266" y="19"/>
                  </a:lnTo>
                  <a:lnTo>
                    <a:pt x="269" y="16"/>
                  </a:lnTo>
                  <a:lnTo>
                    <a:pt x="272" y="16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9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4" y="13"/>
                  </a:lnTo>
                  <a:lnTo>
                    <a:pt x="284" y="11"/>
                  </a:lnTo>
                  <a:lnTo>
                    <a:pt x="284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79" y="8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3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4" y="6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2" y="19"/>
                  </a:lnTo>
                  <a:lnTo>
                    <a:pt x="295" y="19"/>
                  </a:lnTo>
                  <a:lnTo>
                    <a:pt x="295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4"/>
                  </a:lnTo>
                  <a:lnTo>
                    <a:pt x="292" y="24"/>
                  </a:lnTo>
                  <a:lnTo>
                    <a:pt x="295" y="24"/>
                  </a:lnTo>
                  <a:lnTo>
                    <a:pt x="297" y="24"/>
                  </a:lnTo>
                  <a:lnTo>
                    <a:pt x="300" y="24"/>
                  </a:lnTo>
                  <a:lnTo>
                    <a:pt x="303" y="24"/>
                  </a:lnTo>
                  <a:lnTo>
                    <a:pt x="303" y="21"/>
                  </a:lnTo>
                  <a:lnTo>
                    <a:pt x="305" y="24"/>
                  </a:lnTo>
                  <a:lnTo>
                    <a:pt x="308" y="24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3" y="26"/>
                  </a:lnTo>
                  <a:lnTo>
                    <a:pt x="316" y="24"/>
                  </a:lnTo>
                  <a:lnTo>
                    <a:pt x="318" y="24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4"/>
                  </a:lnTo>
                  <a:lnTo>
                    <a:pt x="323" y="24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8" y="24"/>
                  </a:lnTo>
                  <a:lnTo>
                    <a:pt x="328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6"/>
                  </a:lnTo>
                  <a:lnTo>
                    <a:pt x="331" y="29"/>
                  </a:lnTo>
                  <a:lnTo>
                    <a:pt x="331" y="32"/>
                  </a:lnTo>
                  <a:lnTo>
                    <a:pt x="328" y="37"/>
                  </a:lnTo>
                  <a:lnTo>
                    <a:pt x="326" y="39"/>
                  </a:lnTo>
                  <a:lnTo>
                    <a:pt x="323" y="42"/>
                  </a:lnTo>
                  <a:lnTo>
                    <a:pt x="321" y="45"/>
                  </a:lnTo>
                  <a:lnTo>
                    <a:pt x="318" y="47"/>
                  </a:lnTo>
                  <a:lnTo>
                    <a:pt x="316" y="50"/>
                  </a:lnTo>
                  <a:lnTo>
                    <a:pt x="313" y="52"/>
                  </a:lnTo>
                  <a:lnTo>
                    <a:pt x="318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31" y="55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9" y="47"/>
                  </a:lnTo>
                  <a:lnTo>
                    <a:pt x="339" y="47"/>
                  </a:lnTo>
                  <a:lnTo>
                    <a:pt x="339" y="45"/>
                  </a:lnTo>
                  <a:lnTo>
                    <a:pt x="341" y="45"/>
                  </a:lnTo>
                  <a:lnTo>
                    <a:pt x="344" y="45"/>
                  </a:lnTo>
                  <a:lnTo>
                    <a:pt x="344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4" y="50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5"/>
                  </a:lnTo>
                  <a:lnTo>
                    <a:pt x="354" y="55"/>
                  </a:lnTo>
                  <a:lnTo>
                    <a:pt x="352" y="55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49" y="58"/>
                  </a:lnTo>
                  <a:lnTo>
                    <a:pt x="349" y="58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7" y="63"/>
                  </a:lnTo>
                  <a:lnTo>
                    <a:pt x="347" y="63"/>
                  </a:lnTo>
                  <a:lnTo>
                    <a:pt x="347" y="65"/>
                  </a:lnTo>
                  <a:lnTo>
                    <a:pt x="347" y="68"/>
                  </a:lnTo>
                  <a:lnTo>
                    <a:pt x="344" y="68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7" y="70"/>
                  </a:lnTo>
                  <a:lnTo>
                    <a:pt x="347" y="73"/>
                  </a:lnTo>
                  <a:lnTo>
                    <a:pt x="347" y="73"/>
                  </a:lnTo>
                  <a:lnTo>
                    <a:pt x="347" y="76"/>
                  </a:lnTo>
                  <a:lnTo>
                    <a:pt x="347" y="76"/>
                  </a:lnTo>
                  <a:lnTo>
                    <a:pt x="347" y="78"/>
                  </a:lnTo>
                  <a:lnTo>
                    <a:pt x="347" y="81"/>
                  </a:lnTo>
                  <a:lnTo>
                    <a:pt x="344" y="83"/>
                  </a:lnTo>
                  <a:lnTo>
                    <a:pt x="344" y="86"/>
                  </a:lnTo>
                  <a:lnTo>
                    <a:pt x="341" y="89"/>
                  </a:lnTo>
                  <a:lnTo>
                    <a:pt x="341" y="91"/>
                  </a:lnTo>
                  <a:lnTo>
                    <a:pt x="339" y="91"/>
                  </a:lnTo>
                  <a:lnTo>
                    <a:pt x="336" y="96"/>
                  </a:lnTo>
                  <a:lnTo>
                    <a:pt x="334" y="99"/>
                  </a:lnTo>
                  <a:lnTo>
                    <a:pt x="328" y="102"/>
                  </a:lnTo>
                  <a:lnTo>
                    <a:pt x="326" y="102"/>
                  </a:lnTo>
                  <a:lnTo>
                    <a:pt x="323" y="102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1" y="109"/>
                  </a:lnTo>
                  <a:lnTo>
                    <a:pt x="321" y="112"/>
                  </a:lnTo>
                  <a:lnTo>
                    <a:pt x="321" y="115"/>
                  </a:lnTo>
                  <a:lnTo>
                    <a:pt x="321" y="117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21" y="122"/>
                  </a:lnTo>
                  <a:lnTo>
                    <a:pt x="321" y="125"/>
                  </a:lnTo>
                  <a:lnTo>
                    <a:pt x="318" y="125"/>
                  </a:lnTo>
                  <a:lnTo>
                    <a:pt x="318" y="128"/>
                  </a:lnTo>
                  <a:lnTo>
                    <a:pt x="318" y="130"/>
                  </a:lnTo>
                  <a:lnTo>
                    <a:pt x="321" y="130"/>
                  </a:lnTo>
                  <a:lnTo>
                    <a:pt x="323" y="130"/>
                  </a:lnTo>
                  <a:lnTo>
                    <a:pt x="326" y="130"/>
                  </a:lnTo>
                  <a:lnTo>
                    <a:pt x="328" y="130"/>
                  </a:lnTo>
                  <a:lnTo>
                    <a:pt x="328" y="133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4" y="138"/>
                  </a:lnTo>
                  <a:lnTo>
                    <a:pt x="339" y="140"/>
                  </a:lnTo>
                  <a:lnTo>
                    <a:pt x="341" y="143"/>
                  </a:lnTo>
                  <a:lnTo>
                    <a:pt x="344" y="146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9" y="148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2" y="151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4" y="153"/>
                  </a:lnTo>
                  <a:lnTo>
                    <a:pt x="354" y="156"/>
                  </a:lnTo>
                  <a:lnTo>
                    <a:pt x="354" y="156"/>
                  </a:lnTo>
                  <a:lnTo>
                    <a:pt x="357" y="156"/>
                  </a:lnTo>
                  <a:lnTo>
                    <a:pt x="357" y="159"/>
                  </a:lnTo>
                  <a:lnTo>
                    <a:pt x="360" y="161"/>
                  </a:lnTo>
                  <a:lnTo>
                    <a:pt x="360" y="161"/>
                  </a:lnTo>
                  <a:lnTo>
                    <a:pt x="362" y="164"/>
                  </a:lnTo>
                  <a:lnTo>
                    <a:pt x="365" y="164"/>
                  </a:lnTo>
                  <a:lnTo>
                    <a:pt x="367" y="166"/>
                  </a:lnTo>
                  <a:lnTo>
                    <a:pt x="370" y="166"/>
                  </a:lnTo>
                  <a:lnTo>
                    <a:pt x="370" y="169"/>
                  </a:lnTo>
                  <a:lnTo>
                    <a:pt x="372" y="172"/>
                  </a:lnTo>
                  <a:lnTo>
                    <a:pt x="375" y="172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2" y="177"/>
                  </a:lnTo>
                  <a:lnTo>
                    <a:pt x="372" y="179"/>
                  </a:lnTo>
                  <a:lnTo>
                    <a:pt x="372" y="182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2" y="190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67" y="198"/>
                  </a:lnTo>
                  <a:lnTo>
                    <a:pt x="367" y="198"/>
                  </a:lnTo>
                  <a:lnTo>
                    <a:pt x="365" y="198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5"/>
                  </a:lnTo>
                  <a:lnTo>
                    <a:pt x="365" y="205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7" y="213"/>
                  </a:lnTo>
                  <a:lnTo>
                    <a:pt x="367" y="213"/>
                  </a:lnTo>
                  <a:lnTo>
                    <a:pt x="367" y="216"/>
                  </a:lnTo>
                  <a:lnTo>
                    <a:pt x="367" y="218"/>
                  </a:lnTo>
                  <a:lnTo>
                    <a:pt x="370" y="221"/>
                  </a:lnTo>
                  <a:lnTo>
                    <a:pt x="367" y="223"/>
                  </a:lnTo>
                  <a:lnTo>
                    <a:pt x="367" y="223"/>
                  </a:lnTo>
                  <a:lnTo>
                    <a:pt x="370" y="223"/>
                  </a:lnTo>
                  <a:lnTo>
                    <a:pt x="370" y="226"/>
                  </a:lnTo>
                  <a:lnTo>
                    <a:pt x="372" y="226"/>
                  </a:lnTo>
                  <a:lnTo>
                    <a:pt x="375" y="229"/>
                  </a:lnTo>
                  <a:lnTo>
                    <a:pt x="378" y="229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3" y="231"/>
                  </a:lnTo>
                  <a:lnTo>
                    <a:pt x="383" y="231"/>
                  </a:lnTo>
                  <a:lnTo>
                    <a:pt x="383" y="234"/>
                  </a:lnTo>
                  <a:lnTo>
                    <a:pt x="383" y="236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80" y="242"/>
                  </a:lnTo>
                  <a:lnTo>
                    <a:pt x="383" y="242"/>
                  </a:lnTo>
                  <a:lnTo>
                    <a:pt x="383" y="242"/>
                  </a:lnTo>
                  <a:lnTo>
                    <a:pt x="383" y="244"/>
                  </a:lnTo>
                  <a:lnTo>
                    <a:pt x="383" y="244"/>
                  </a:lnTo>
                  <a:lnTo>
                    <a:pt x="383" y="247"/>
                  </a:lnTo>
                  <a:lnTo>
                    <a:pt x="380" y="247"/>
                  </a:lnTo>
                  <a:lnTo>
                    <a:pt x="380" y="249"/>
                  </a:lnTo>
                  <a:lnTo>
                    <a:pt x="380" y="249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3" y="257"/>
                  </a:lnTo>
                  <a:lnTo>
                    <a:pt x="385" y="260"/>
                  </a:lnTo>
                  <a:lnTo>
                    <a:pt x="388" y="260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8"/>
                  </a:lnTo>
                  <a:lnTo>
                    <a:pt x="388" y="270"/>
                  </a:lnTo>
                  <a:lnTo>
                    <a:pt x="385" y="273"/>
                  </a:lnTo>
                  <a:lnTo>
                    <a:pt x="383" y="273"/>
                  </a:lnTo>
                  <a:lnTo>
                    <a:pt x="385" y="273"/>
                  </a:lnTo>
                  <a:lnTo>
                    <a:pt x="385" y="275"/>
                  </a:lnTo>
                  <a:lnTo>
                    <a:pt x="383" y="275"/>
                  </a:lnTo>
                  <a:lnTo>
                    <a:pt x="383" y="278"/>
                  </a:lnTo>
                  <a:lnTo>
                    <a:pt x="383" y="278"/>
                  </a:lnTo>
                  <a:lnTo>
                    <a:pt x="383" y="280"/>
                  </a:lnTo>
                  <a:lnTo>
                    <a:pt x="383" y="280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8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78" y="293"/>
                  </a:lnTo>
                  <a:lnTo>
                    <a:pt x="378" y="296"/>
                  </a:lnTo>
                  <a:lnTo>
                    <a:pt x="375" y="296"/>
                  </a:lnTo>
                  <a:lnTo>
                    <a:pt x="375" y="299"/>
                  </a:lnTo>
                  <a:lnTo>
                    <a:pt x="375" y="299"/>
                  </a:lnTo>
                  <a:lnTo>
                    <a:pt x="372" y="299"/>
                  </a:lnTo>
                  <a:lnTo>
                    <a:pt x="372" y="299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0" y="301"/>
                  </a:lnTo>
                  <a:lnTo>
                    <a:pt x="370" y="301"/>
                  </a:lnTo>
                  <a:lnTo>
                    <a:pt x="370" y="304"/>
                  </a:lnTo>
                  <a:lnTo>
                    <a:pt x="370" y="304"/>
                  </a:lnTo>
                  <a:lnTo>
                    <a:pt x="370" y="306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5" y="309"/>
                  </a:lnTo>
                  <a:lnTo>
                    <a:pt x="375" y="309"/>
                  </a:lnTo>
                  <a:lnTo>
                    <a:pt x="375" y="312"/>
                  </a:lnTo>
                  <a:lnTo>
                    <a:pt x="375" y="312"/>
                  </a:lnTo>
                  <a:lnTo>
                    <a:pt x="378" y="314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9"/>
                  </a:lnTo>
                  <a:lnTo>
                    <a:pt x="378" y="322"/>
                  </a:lnTo>
                  <a:lnTo>
                    <a:pt x="380" y="322"/>
                  </a:lnTo>
                  <a:lnTo>
                    <a:pt x="383" y="325"/>
                  </a:lnTo>
                  <a:lnTo>
                    <a:pt x="385" y="327"/>
                  </a:lnTo>
                  <a:lnTo>
                    <a:pt x="388" y="330"/>
                  </a:lnTo>
                  <a:lnTo>
                    <a:pt x="388" y="332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8"/>
                  </a:lnTo>
                  <a:lnTo>
                    <a:pt x="388" y="340"/>
                  </a:lnTo>
                  <a:lnTo>
                    <a:pt x="388" y="340"/>
                  </a:lnTo>
                  <a:lnTo>
                    <a:pt x="391" y="343"/>
                  </a:lnTo>
                  <a:lnTo>
                    <a:pt x="391" y="343"/>
                  </a:lnTo>
                  <a:lnTo>
                    <a:pt x="388" y="343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5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8"/>
                  </a:lnTo>
                  <a:lnTo>
                    <a:pt x="383" y="348"/>
                  </a:lnTo>
                  <a:lnTo>
                    <a:pt x="383" y="350"/>
                  </a:lnTo>
                  <a:lnTo>
                    <a:pt x="380" y="350"/>
                  </a:lnTo>
                  <a:lnTo>
                    <a:pt x="380" y="350"/>
                  </a:lnTo>
                  <a:lnTo>
                    <a:pt x="380" y="353"/>
                  </a:lnTo>
                  <a:lnTo>
                    <a:pt x="378" y="353"/>
                  </a:lnTo>
                  <a:lnTo>
                    <a:pt x="375" y="350"/>
                  </a:lnTo>
                  <a:lnTo>
                    <a:pt x="375" y="350"/>
                  </a:lnTo>
                  <a:lnTo>
                    <a:pt x="372" y="353"/>
                  </a:lnTo>
                  <a:lnTo>
                    <a:pt x="372" y="353"/>
                  </a:lnTo>
                  <a:lnTo>
                    <a:pt x="372" y="350"/>
                  </a:lnTo>
                  <a:lnTo>
                    <a:pt x="372" y="350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5" y="348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2" y="350"/>
                  </a:lnTo>
                  <a:lnTo>
                    <a:pt x="360" y="350"/>
                  </a:lnTo>
                  <a:lnTo>
                    <a:pt x="357" y="350"/>
                  </a:lnTo>
                  <a:lnTo>
                    <a:pt x="354" y="350"/>
                  </a:lnTo>
                  <a:lnTo>
                    <a:pt x="354" y="350"/>
                  </a:lnTo>
                  <a:lnTo>
                    <a:pt x="354" y="353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49" y="353"/>
                  </a:lnTo>
                  <a:lnTo>
                    <a:pt x="349" y="356"/>
                  </a:lnTo>
                  <a:lnTo>
                    <a:pt x="347" y="356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58"/>
                  </a:lnTo>
                  <a:lnTo>
                    <a:pt x="339" y="358"/>
                  </a:lnTo>
                  <a:lnTo>
                    <a:pt x="339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28" y="356"/>
                  </a:lnTo>
                  <a:lnTo>
                    <a:pt x="328" y="356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3" y="353"/>
                  </a:lnTo>
                  <a:lnTo>
                    <a:pt x="321" y="353"/>
                  </a:lnTo>
                  <a:lnTo>
                    <a:pt x="321" y="353"/>
                  </a:lnTo>
                  <a:lnTo>
                    <a:pt x="318" y="353"/>
                  </a:lnTo>
                  <a:lnTo>
                    <a:pt x="318" y="356"/>
                  </a:lnTo>
                  <a:lnTo>
                    <a:pt x="318" y="356"/>
                  </a:lnTo>
                  <a:lnTo>
                    <a:pt x="321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6" y="358"/>
                  </a:lnTo>
                  <a:lnTo>
                    <a:pt x="316" y="361"/>
                  </a:lnTo>
                  <a:lnTo>
                    <a:pt x="316" y="361"/>
                  </a:lnTo>
                  <a:lnTo>
                    <a:pt x="316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6"/>
                  </a:lnTo>
                  <a:lnTo>
                    <a:pt x="313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6"/>
                  </a:lnTo>
                  <a:lnTo>
                    <a:pt x="310" y="376"/>
                  </a:lnTo>
                  <a:lnTo>
                    <a:pt x="308" y="376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5" y="382"/>
                  </a:lnTo>
                  <a:lnTo>
                    <a:pt x="295" y="382"/>
                  </a:lnTo>
                  <a:lnTo>
                    <a:pt x="292" y="382"/>
                  </a:lnTo>
                  <a:lnTo>
                    <a:pt x="290" y="382"/>
                  </a:lnTo>
                  <a:lnTo>
                    <a:pt x="287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4"/>
                  </a:lnTo>
                  <a:lnTo>
                    <a:pt x="284" y="384"/>
                  </a:lnTo>
                  <a:lnTo>
                    <a:pt x="282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69" y="384"/>
                  </a:lnTo>
                  <a:lnTo>
                    <a:pt x="269" y="382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6" y="382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4" y="384"/>
                  </a:lnTo>
                  <a:lnTo>
                    <a:pt x="261" y="384"/>
                  </a:lnTo>
                  <a:lnTo>
                    <a:pt x="261" y="384"/>
                  </a:lnTo>
                  <a:lnTo>
                    <a:pt x="259" y="384"/>
                  </a:lnTo>
                  <a:lnTo>
                    <a:pt x="259" y="382"/>
                  </a:lnTo>
                  <a:lnTo>
                    <a:pt x="259" y="382"/>
                  </a:lnTo>
                  <a:lnTo>
                    <a:pt x="256" y="382"/>
                  </a:lnTo>
                  <a:lnTo>
                    <a:pt x="253" y="382"/>
                  </a:lnTo>
                  <a:lnTo>
                    <a:pt x="253" y="384"/>
                  </a:lnTo>
                  <a:lnTo>
                    <a:pt x="253" y="382"/>
                  </a:lnTo>
                  <a:lnTo>
                    <a:pt x="253" y="382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1" y="379"/>
                  </a:lnTo>
                  <a:lnTo>
                    <a:pt x="251" y="379"/>
                  </a:lnTo>
                  <a:lnTo>
                    <a:pt x="248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5" y="371"/>
                  </a:lnTo>
                  <a:lnTo>
                    <a:pt x="235" y="371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3" y="374"/>
                  </a:lnTo>
                  <a:lnTo>
                    <a:pt x="230" y="371"/>
                  </a:lnTo>
                  <a:lnTo>
                    <a:pt x="228" y="371"/>
                  </a:lnTo>
                  <a:lnTo>
                    <a:pt x="230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5" y="376"/>
                  </a:lnTo>
                  <a:lnTo>
                    <a:pt x="225" y="376"/>
                  </a:lnTo>
                  <a:lnTo>
                    <a:pt x="225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0" y="379"/>
                  </a:lnTo>
                  <a:lnTo>
                    <a:pt x="217" y="379"/>
                  </a:lnTo>
                  <a:lnTo>
                    <a:pt x="217" y="379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1"/>
                  </a:lnTo>
                  <a:lnTo>
                    <a:pt x="215" y="361"/>
                  </a:lnTo>
                  <a:lnTo>
                    <a:pt x="217" y="361"/>
                  </a:lnTo>
                  <a:lnTo>
                    <a:pt x="217" y="358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5" y="353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09" y="350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5"/>
                  </a:lnTo>
                  <a:lnTo>
                    <a:pt x="212" y="345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7" y="343"/>
                  </a:lnTo>
                  <a:lnTo>
                    <a:pt x="207" y="340"/>
                  </a:lnTo>
                  <a:lnTo>
                    <a:pt x="207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2" y="340"/>
                  </a:lnTo>
                  <a:lnTo>
                    <a:pt x="202" y="340"/>
                  </a:lnTo>
                  <a:lnTo>
                    <a:pt x="199" y="340"/>
                  </a:lnTo>
                  <a:lnTo>
                    <a:pt x="199" y="338"/>
                  </a:lnTo>
                  <a:lnTo>
                    <a:pt x="199" y="335"/>
                  </a:lnTo>
                  <a:lnTo>
                    <a:pt x="199" y="335"/>
                  </a:lnTo>
                  <a:lnTo>
                    <a:pt x="202" y="332"/>
                  </a:lnTo>
                  <a:lnTo>
                    <a:pt x="204" y="332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2"/>
                  </a:lnTo>
                  <a:lnTo>
                    <a:pt x="209" y="309"/>
                  </a:lnTo>
                  <a:lnTo>
                    <a:pt x="209" y="306"/>
                  </a:lnTo>
                  <a:lnTo>
                    <a:pt x="207" y="304"/>
                  </a:lnTo>
                  <a:lnTo>
                    <a:pt x="207" y="301"/>
                  </a:lnTo>
                  <a:lnTo>
                    <a:pt x="207" y="299"/>
                  </a:lnTo>
                  <a:lnTo>
                    <a:pt x="207" y="299"/>
                  </a:lnTo>
                  <a:lnTo>
                    <a:pt x="209" y="299"/>
                  </a:lnTo>
                  <a:lnTo>
                    <a:pt x="209" y="299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4" y="291"/>
                  </a:lnTo>
                  <a:lnTo>
                    <a:pt x="194" y="291"/>
                  </a:lnTo>
                  <a:lnTo>
                    <a:pt x="191" y="291"/>
                  </a:lnTo>
                  <a:lnTo>
                    <a:pt x="191" y="291"/>
                  </a:lnTo>
                  <a:lnTo>
                    <a:pt x="189" y="291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6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1" y="286"/>
                  </a:lnTo>
                  <a:lnTo>
                    <a:pt x="181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3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73" y="280"/>
                  </a:lnTo>
                  <a:lnTo>
                    <a:pt x="171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0" y="275"/>
                  </a:lnTo>
                  <a:lnTo>
                    <a:pt x="160" y="273"/>
                  </a:lnTo>
                  <a:lnTo>
                    <a:pt x="160" y="273"/>
                  </a:lnTo>
                  <a:lnTo>
                    <a:pt x="158" y="273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47" y="278"/>
                  </a:lnTo>
                  <a:lnTo>
                    <a:pt x="145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2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4" y="270"/>
                  </a:lnTo>
                  <a:lnTo>
                    <a:pt x="134" y="270"/>
                  </a:lnTo>
                  <a:lnTo>
                    <a:pt x="134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7" y="268"/>
                  </a:lnTo>
                  <a:lnTo>
                    <a:pt x="124" y="268"/>
                  </a:lnTo>
                  <a:lnTo>
                    <a:pt x="124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19" y="265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6" y="260"/>
                  </a:lnTo>
                  <a:lnTo>
                    <a:pt x="116" y="260"/>
                  </a:lnTo>
                  <a:lnTo>
                    <a:pt x="116" y="257"/>
                  </a:lnTo>
                  <a:lnTo>
                    <a:pt x="114" y="257"/>
                  </a:lnTo>
                  <a:lnTo>
                    <a:pt x="114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6" y="247"/>
                  </a:lnTo>
                  <a:lnTo>
                    <a:pt x="106" y="244"/>
                  </a:lnTo>
                  <a:lnTo>
                    <a:pt x="106" y="242"/>
                  </a:lnTo>
                  <a:lnTo>
                    <a:pt x="106" y="242"/>
                  </a:lnTo>
                  <a:lnTo>
                    <a:pt x="108" y="242"/>
                  </a:lnTo>
                  <a:lnTo>
                    <a:pt x="108" y="242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1" y="236"/>
                  </a:lnTo>
                  <a:lnTo>
                    <a:pt x="111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08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6"/>
                  </a:lnTo>
                  <a:lnTo>
                    <a:pt x="108" y="223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4" y="216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6" y="198"/>
                  </a:lnTo>
                  <a:lnTo>
                    <a:pt x="114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9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6" y="187"/>
                  </a:lnTo>
                  <a:lnTo>
                    <a:pt x="114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2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6" y="182"/>
                  </a:lnTo>
                  <a:lnTo>
                    <a:pt x="96" y="179"/>
                  </a:lnTo>
                  <a:lnTo>
                    <a:pt x="98" y="179"/>
                  </a:lnTo>
                  <a:lnTo>
                    <a:pt x="98" y="177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69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1"/>
                  </a:lnTo>
                  <a:lnTo>
                    <a:pt x="106" y="159"/>
                  </a:lnTo>
                  <a:lnTo>
                    <a:pt x="106" y="156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6" y="156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6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3"/>
                  </a:lnTo>
                  <a:lnTo>
                    <a:pt x="103" y="143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0"/>
                  </a:lnTo>
                  <a:lnTo>
                    <a:pt x="108" y="128"/>
                  </a:lnTo>
                  <a:lnTo>
                    <a:pt x="108" y="125"/>
                  </a:lnTo>
                  <a:lnTo>
                    <a:pt x="106" y="125"/>
                  </a:lnTo>
                  <a:lnTo>
                    <a:pt x="106" y="125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1" y="120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2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6"/>
                  </a:lnTo>
                  <a:lnTo>
                    <a:pt x="44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39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28" y="89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3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5" y="86"/>
                  </a:lnTo>
                  <a:lnTo>
                    <a:pt x="13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5" y="86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4" name="Freeform 144"/>
            <p:cNvSpPr>
              <a:spLocks/>
            </p:cNvSpPr>
            <p:nvPr/>
          </p:nvSpPr>
          <p:spPr bwMode="auto">
            <a:xfrm>
              <a:off x="1357" y="2602"/>
              <a:ext cx="391" cy="387"/>
            </a:xfrm>
            <a:custGeom>
              <a:avLst/>
              <a:gdLst>
                <a:gd name="T0" fmla="*/ 26 w 391"/>
                <a:gd name="T1" fmla="*/ 76 h 387"/>
                <a:gd name="T2" fmla="*/ 33 w 391"/>
                <a:gd name="T3" fmla="*/ 70 h 387"/>
                <a:gd name="T4" fmla="*/ 49 w 391"/>
                <a:gd name="T5" fmla="*/ 58 h 387"/>
                <a:gd name="T6" fmla="*/ 77 w 391"/>
                <a:gd name="T7" fmla="*/ 47 h 387"/>
                <a:gd name="T8" fmla="*/ 90 w 391"/>
                <a:gd name="T9" fmla="*/ 34 h 387"/>
                <a:gd name="T10" fmla="*/ 106 w 391"/>
                <a:gd name="T11" fmla="*/ 34 h 387"/>
                <a:gd name="T12" fmla="*/ 127 w 391"/>
                <a:gd name="T13" fmla="*/ 50 h 387"/>
                <a:gd name="T14" fmla="*/ 137 w 391"/>
                <a:gd name="T15" fmla="*/ 52 h 387"/>
                <a:gd name="T16" fmla="*/ 165 w 391"/>
                <a:gd name="T17" fmla="*/ 60 h 387"/>
                <a:gd name="T18" fmla="*/ 181 w 391"/>
                <a:gd name="T19" fmla="*/ 65 h 387"/>
                <a:gd name="T20" fmla="*/ 191 w 391"/>
                <a:gd name="T21" fmla="*/ 70 h 387"/>
                <a:gd name="T22" fmla="*/ 207 w 391"/>
                <a:gd name="T23" fmla="*/ 58 h 387"/>
                <a:gd name="T24" fmla="*/ 220 w 391"/>
                <a:gd name="T25" fmla="*/ 55 h 387"/>
                <a:gd name="T26" fmla="*/ 243 w 391"/>
                <a:gd name="T27" fmla="*/ 47 h 387"/>
                <a:gd name="T28" fmla="*/ 253 w 391"/>
                <a:gd name="T29" fmla="*/ 32 h 387"/>
                <a:gd name="T30" fmla="*/ 282 w 391"/>
                <a:gd name="T31" fmla="*/ 16 h 387"/>
                <a:gd name="T32" fmla="*/ 282 w 391"/>
                <a:gd name="T33" fmla="*/ 0 h 387"/>
                <a:gd name="T34" fmla="*/ 292 w 391"/>
                <a:gd name="T35" fmla="*/ 24 h 387"/>
                <a:gd name="T36" fmla="*/ 326 w 391"/>
                <a:gd name="T37" fmla="*/ 24 h 387"/>
                <a:gd name="T38" fmla="*/ 334 w 391"/>
                <a:gd name="T39" fmla="*/ 50 h 387"/>
                <a:gd name="T40" fmla="*/ 354 w 391"/>
                <a:gd name="T41" fmla="*/ 50 h 387"/>
                <a:gd name="T42" fmla="*/ 347 w 391"/>
                <a:gd name="T43" fmla="*/ 73 h 387"/>
                <a:gd name="T44" fmla="*/ 321 w 391"/>
                <a:gd name="T45" fmla="*/ 120 h 387"/>
                <a:gd name="T46" fmla="*/ 352 w 391"/>
                <a:gd name="T47" fmla="*/ 153 h 387"/>
                <a:gd name="T48" fmla="*/ 372 w 391"/>
                <a:gd name="T49" fmla="*/ 190 h 387"/>
                <a:gd name="T50" fmla="*/ 370 w 391"/>
                <a:gd name="T51" fmla="*/ 221 h 387"/>
                <a:gd name="T52" fmla="*/ 380 w 391"/>
                <a:gd name="T53" fmla="*/ 249 h 387"/>
                <a:gd name="T54" fmla="*/ 383 w 391"/>
                <a:gd name="T55" fmla="*/ 283 h 387"/>
                <a:gd name="T56" fmla="*/ 372 w 391"/>
                <a:gd name="T57" fmla="*/ 309 h 387"/>
                <a:gd name="T58" fmla="*/ 388 w 391"/>
                <a:gd name="T59" fmla="*/ 343 h 387"/>
                <a:gd name="T60" fmla="*/ 370 w 391"/>
                <a:gd name="T61" fmla="*/ 348 h 387"/>
                <a:gd name="T62" fmla="*/ 344 w 391"/>
                <a:gd name="T63" fmla="*/ 358 h 387"/>
                <a:gd name="T64" fmla="*/ 318 w 391"/>
                <a:gd name="T65" fmla="*/ 353 h 387"/>
                <a:gd name="T66" fmla="*/ 310 w 391"/>
                <a:gd name="T67" fmla="*/ 369 h 387"/>
                <a:gd name="T68" fmla="*/ 305 w 391"/>
                <a:gd name="T69" fmla="*/ 379 h 387"/>
                <a:gd name="T70" fmla="*/ 284 w 391"/>
                <a:gd name="T71" fmla="*/ 384 h 387"/>
                <a:gd name="T72" fmla="*/ 266 w 391"/>
                <a:gd name="T73" fmla="*/ 384 h 387"/>
                <a:gd name="T74" fmla="*/ 243 w 391"/>
                <a:gd name="T75" fmla="*/ 374 h 387"/>
                <a:gd name="T76" fmla="*/ 228 w 391"/>
                <a:gd name="T77" fmla="*/ 371 h 387"/>
                <a:gd name="T78" fmla="*/ 215 w 391"/>
                <a:gd name="T79" fmla="*/ 371 h 387"/>
                <a:gd name="T80" fmla="*/ 217 w 391"/>
                <a:gd name="T81" fmla="*/ 358 h 387"/>
                <a:gd name="T82" fmla="*/ 204 w 391"/>
                <a:gd name="T83" fmla="*/ 343 h 387"/>
                <a:gd name="T84" fmla="*/ 212 w 391"/>
                <a:gd name="T85" fmla="*/ 322 h 387"/>
                <a:gd name="T86" fmla="*/ 207 w 391"/>
                <a:gd name="T87" fmla="*/ 304 h 387"/>
                <a:gd name="T88" fmla="*/ 196 w 391"/>
                <a:gd name="T89" fmla="*/ 296 h 387"/>
                <a:gd name="T90" fmla="*/ 184 w 391"/>
                <a:gd name="T91" fmla="*/ 286 h 387"/>
                <a:gd name="T92" fmla="*/ 158 w 391"/>
                <a:gd name="T93" fmla="*/ 273 h 387"/>
                <a:gd name="T94" fmla="*/ 137 w 391"/>
                <a:gd name="T95" fmla="*/ 273 h 387"/>
                <a:gd name="T96" fmla="*/ 114 w 391"/>
                <a:gd name="T97" fmla="*/ 255 h 387"/>
                <a:gd name="T98" fmla="*/ 108 w 391"/>
                <a:gd name="T99" fmla="*/ 236 h 387"/>
                <a:gd name="T100" fmla="*/ 108 w 391"/>
                <a:gd name="T101" fmla="*/ 223 h 387"/>
                <a:gd name="T102" fmla="*/ 114 w 391"/>
                <a:gd name="T103" fmla="*/ 200 h 387"/>
                <a:gd name="T104" fmla="*/ 119 w 391"/>
                <a:gd name="T105" fmla="*/ 187 h 387"/>
                <a:gd name="T106" fmla="*/ 101 w 391"/>
                <a:gd name="T107" fmla="*/ 185 h 387"/>
                <a:gd name="T108" fmla="*/ 101 w 391"/>
                <a:gd name="T109" fmla="*/ 164 h 387"/>
                <a:gd name="T110" fmla="*/ 106 w 391"/>
                <a:gd name="T111" fmla="*/ 151 h 387"/>
                <a:gd name="T112" fmla="*/ 106 w 391"/>
                <a:gd name="T113" fmla="*/ 135 h 387"/>
                <a:gd name="T114" fmla="*/ 96 w 391"/>
                <a:gd name="T115" fmla="*/ 122 h 387"/>
                <a:gd name="T116" fmla="*/ 75 w 391"/>
                <a:gd name="T117" fmla="*/ 120 h 387"/>
                <a:gd name="T118" fmla="*/ 52 w 391"/>
                <a:gd name="T119" fmla="*/ 102 h 387"/>
                <a:gd name="T120" fmla="*/ 31 w 391"/>
                <a:gd name="T121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87">
                  <a:moveTo>
                    <a:pt x="0" y="81"/>
                  </a:move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5" y="78"/>
                  </a:lnTo>
                  <a:lnTo>
                    <a:pt x="7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5" y="78"/>
                  </a:lnTo>
                  <a:lnTo>
                    <a:pt x="13" y="7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8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72" y="50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5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8" y="34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6" y="37"/>
                  </a:lnTo>
                  <a:lnTo>
                    <a:pt x="106" y="34"/>
                  </a:lnTo>
                  <a:lnTo>
                    <a:pt x="108" y="37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11" y="42"/>
                  </a:lnTo>
                  <a:lnTo>
                    <a:pt x="111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9" y="42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4" y="45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4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5" y="55"/>
                  </a:lnTo>
                  <a:lnTo>
                    <a:pt x="147" y="55"/>
                  </a:lnTo>
                  <a:lnTo>
                    <a:pt x="150" y="58"/>
                  </a:lnTo>
                  <a:lnTo>
                    <a:pt x="150" y="58"/>
                  </a:lnTo>
                  <a:lnTo>
                    <a:pt x="150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3" y="60"/>
                  </a:lnTo>
                  <a:lnTo>
                    <a:pt x="165" y="60"/>
                  </a:lnTo>
                  <a:lnTo>
                    <a:pt x="165" y="60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3" y="63"/>
                  </a:lnTo>
                  <a:lnTo>
                    <a:pt x="165" y="63"/>
                  </a:lnTo>
                  <a:lnTo>
                    <a:pt x="165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8" y="65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5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6" y="68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4" y="70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9" y="63"/>
                  </a:lnTo>
                  <a:lnTo>
                    <a:pt x="199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2" y="58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2" y="55"/>
                  </a:lnTo>
                  <a:lnTo>
                    <a:pt x="222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0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5"/>
                  </a:lnTo>
                  <a:lnTo>
                    <a:pt x="235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40" y="52"/>
                  </a:lnTo>
                  <a:lnTo>
                    <a:pt x="240" y="50"/>
                  </a:lnTo>
                  <a:lnTo>
                    <a:pt x="243" y="50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3" y="47"/>
                  </a:lnTo>
                  <a:lnTo>
                    <a:pt x="246" y="47"/>
                  </a:lnTo>
                  <a:lnTo>
                    <a:pt x="246" y="47"/>
                  </a:lnTo>
                  <a:lnTo>
                    <a:pt x="248" y="47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7"/>
                  </a:lnTo>
                  <a:lnTo>
                    <a:pt x="251" y="37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1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4" y="24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6" y="21"/>
                  </a:lnTo>
                  <a:lnTo>
                    <a:pt x="266" y="19"/>
                  </a:lnTo>
                  <a:lnTo>
                    <a:pt x="269" y="16"/>
                  </a:lnTo>
                  <a:lnTo>
                    <a:pt x="272" y="16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9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4" y="13"/>
                  </a:lnTo>
                  <a:lnTo>
                    <a:pt x="284" y="11"/>
                  </a:lnTo>
                  <a:lnTo>
                    <a:pt x="284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79" y="8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3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4" y="6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2" y="19"/>
                  </a:lnTo>
                  <a:lnTo>
                    <a:pt x="295" y="19"/>
                  </a:lnTo>
                  <a:lnTo>
                    <a:pt x="295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4"/>
                  </a:lnTo>
                  <a:lnTo>
                    <a:pt x="292" y="24"/>
                  </a:lnTo>
                  <a:lnTo>
                    <a:pt x="295" y="24"/>
                  </a:lnTo>
                  <a:lnTo>
                    <a:pt x="297" y="24"/>
                  </a:lnTo>
                  <a:lnTo>
                    <a:pt x="300" y="24"/>
                  </a:lnTo>
                  <a:lnTo>
                    <a:pt x="303" y="24"/>
                  </a:lnTo>
                  <a:lnTo>
                    <a:pt x="303" y="21"/>
                  </a:lnTo>
                  <a:lnTo>
                    <a:pt x="305" y="24"/>
                  </a:lnTo>
                  <a:lnTo>
                    <a:pt x="308" y="24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3" y="26"/>
                  </a:lnTo>
                  <a:lnTo>
                    <a:pt x="316" y="24"/>
                  </a:lnTo>
                  <a:lnTo>
                    <a:pt x="318" y="24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4"/>
                  </a:lnTo>
                  <a:lnTo>
                    <a:pt x="323" y="24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8" y="24"/>
                  </a:lnTo>
                  <a:lnTo>
                    <a:pt x="328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6"/>
                  </a:lnTo>
                  <a:lnTo>
                    <a:pt x="331" y="29"/>
                  </a:lnTo>
                  <a:lnTo>
                    <a:pt x="331" y="32"/>
                  </a:lnTo>
                  <a:lnTo>
                    <a:pt x="328" y="37"/>
                  </a:lnTo>
                  <a:lnTo>
                    <a:pt x="326" y="39"/>
                  </a:lnTo>
                  <a:lnTo>
                    <a:pt x="323" y="42"/>
                  </a:lnTo>
                  <a:lnTo>
                    <a:pt x="321" y="45"/>
                  </a:lnTo>
                  <a:lnTo>
                    <a:pt x="318" y="47"/>
                  </a:lnTo>
                  <a:lnTo>
                    <a:pt x="316" y="50"/>
                  </a:lnTo>
                  <a:lnTo>
                    <a:pt x="313" y="52"/>
                  </a:lnTo>
                  <a:lnTo>
                    <a:pt x="318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31" y="55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9" y="47"/>
                  </a:lnTo>
                  <a:lnTo>
                    <a:pt x="339" y="47"/>
                  </a:lnTo>
                  <a:lnTo>
                    <a:pt x="339" y="45"/>
                  </a:lnTo>
                  <a:lnTo>
                    <a:pt x="341" y="45"/>
                  </a:lnTo>
                  <a:lnTo>
                    <a:pt x="344" y="45"/>
                  </a:lnTo>
                  <a:lnTo>
                    <a:pt x="344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4" y="50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5"/>
                  </a:lnTo>
                  <a:lnTo>
                    <a:pt x="354" y="55"/>
                  </a:lnTo>
                  <a:lnTo>
                    <a:pt x="352" y="55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49" y="58"/>
                  </a:lnTo>
                  <a:lnTo>
                    <a:pt x="349" y="58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7" y="63"/>
                  </a:lnTo>
                  <a:lnTo>
                    <a:pt x="347" y="63"/>
                  </a:lnTo>
                  <a:lnTo>
                    <a:pt x="347" y="65"/>
                  </a:lnTo>
                  <a:lnTo>
                    <a:pt x="347" y="68"/>
                  </a:lnTo>
                  <a:lnTo>
                    <a:pt x="344" y="68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7" y="70"/>
                  </a:lnTo>
                  <a:lnTo>
                    <a:pt x="347" y="73"/>
                  </a:lnTo>
                  <a:lnTo>
                    <a:pt x="347" y="73"/>
                  </a:lnTo>
                  <a:lnTo>
                    <a:pt x="347" y="76"/>
                  </a:lnTo>
                  <a:lnTo>
                    <a:pt x="347" y="76"/>
                  </a:lnTo>
                  <a:lnTo>
                    <a:pt x="347" y="78"/>
                  </a:lnTo>
                  <a:lnTo>
                    <a:pt x="347" y="81"/>
                  </a:lnTo>
                  <a:lnTo>
                    <a:pt x="344" y="83"/>
                  </a:lnTo>
                  <a:lnTo>
                    <a:pt x="344" y="86"/>
                  </a:lnTo>
                  <a:lnTo>
                    <a:pt x="341" y="89"/>
                  </a:lnTo>
                  <a:lnTo>
                    <a:pt x="341" y="91"/>
                  </a:lnTo>
                  <a:lnTo>
                    <a:pt x="339" y="91"/>
                  </a:lnTo>
                  <a:lnTo>
                    <a:pt x="336" y="96"/>
                  </a:lnTo>
                  <a:lnTo>
                    <a:pt x="334" y="99"/>
                  </a:lnTo>
                  <a:lnTo>
                    <a:pt x="328" y="102"/>
                  </a:lnTo>
                  <a:lnTo>
                    <a:pt x="326" y="102"/>
                  </a:lnTo>
                  <a:lnTo>
                    <a:pt x="323" y="102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1" y="109"/>
                  </a:lnTo>
                  <a:lnTo>
                    <a:pt x="321" y="112"/>
                  </a:lnTo>
                  <a:lnTo>
                    <a:pt x="321" y="115"/>
                  </a:lnTo>
                  <a:lnTo>
                    <a:pt x="321" y="117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21" y="122"/>
                  </a:lnTo>
                  <a:lnTo>
                    <a:pt x="321" y="125"/>
                  </a:lnTo>
                  <a:lnTo>
                    <a:pt x="318" y="125"/>
                  </a:lnTo>
                  <a:lnTo>
                    <a:pt x="318" y="128"/>
                  </a:lnTo>
                  <a:lnTo>
                    <a:pt x="318" y="130"/>
                  </a:lnTo>
                  <a:lnTo>
                    <a:pt x="321" y="130"/>
                  </a:lnTo>
                  <a:lnTo>
                    <a:pt x="323" y="130"/>
                  </a:lnTo>
                  <a:lnTo>
                    <a:pt x="326" y="130"/>
                  </a:lnTo>
                  <a:lnTo>
                    <a:pt x="328" y="130"/>
                  </a:lnTo>
                  <a:lnTo>
                    <a:pt x="328" y="133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4" y="138"/>
                  </a:lnTo>
                  <a:lnTo>
                    <a:pt x="339" y="140"/>
                  </a:lnTo>
                  <a:lnTo>
                    <a:pt x="341" y="143"/>
                  </a:lnTo>
                  <a:lnTo>
                    <a:pt x="344" y="146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9" y="148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2" y="151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4" y="153"/>
                  </a:lnTo>
                  <a:lnTo>
                    <a:pt x="354" y="156"/>
                  </a:lnTo>
                  <a:lnTo>
                    <a:pt x="354" y="156"/>
                  </a:lnTo>
                  <a:lnTo>
                    <a:pt x="357" y="156"/>
                  </a:lnTo>
                  <a:lnTo>
                    <a:pt x="357" y="159"/>
                  </a:lnTo>
                  <a:lnTo>
                    <a:pt x="360" y="161"/>
                  </a:lnTo>
                  <a:lnTo>
                    <a:pt x="360" y="161"/>
                  </a:lnTo>
                  <a:lnTo>
                    <a:pt x="362" y="164"/>
                  </a:lnTo>
                  <a:lnTo>
                    <a:pt x="365" y="164"/>
                  </a:lnTo>
                  <a:lnTo>
                    <a:pt x="367" y="166"/>
                  </a:lnTo>
                  <a:lnTo>
                    <a:pt x="370" y="166"/>
                  </a:lnTo>
                  <a:lnTo>
                    <a:pt x="370" y="169"/>
                  </a:lnTo>
                  <a:lnTo>
                    <a:pt x="372" y="172"/>
                  </a:lnTo>
                  <a:lnTo>
                    <a:pt x="375" y="172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2" y="177"/>
                  </a:lnTo>
                  <a:lnTo>
                    <a:pt x="372" y="179"/>
                  </a:lnTo>
                  <a:lnTo>
                    <a:pt x="372" y="182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2" y="190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67" y="198"/>
                  </a:lnTo>
                  <a:lnTo>
                    <a:pt x="367" y="198"/>
                  </a:lnTo>
                  <a:lnTo>
                    <a:pt x="365" y="198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5"/>
                  </a:lnTo>
                  <a:lnTo>
                    <a:pt x="365" y="205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7" y="213"/>
                  </a:lnTo>
                  <a:lnTo>
                    <a:pt x="367" y="213"/>
                  </a:lnTo>
                  <a:lnTo>
                    <a:pt x="367" y="216"/>
                  </a:lnTo>
                  <a:lnTo>
                    <a:pt x="367" y="218"/>
                  </a:lnTo>
                  <a:lnTo>
                    <a:pt x="370" y="221"/>
                  </a:lnTo>
                  <a:lnTo>
                    <a:pt x="367" y="223"/>
                  </a:lnTo>
                  <a:lnTo>
                    <a:pt x="367" y="223"/>
                  </a:lnTo>
                  <a:lnTo>
                    <a:pt x="370" y="223"/>
                  </a:lnTo>
                  <a:lnTo>
                    <a:pt x="370" y="226"/>
                  </a:lnTo>
                  <a:lnTo>
                    <a:pt x="372" y="226"/>
                  </a:lnTo>
                  <a:lnTo>
                    <a:pt x="375" y="229"/>
                  </a:lnTo>
                  <a:lnTo>
                    <a:pt x="378" y="229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3" y="231"/>
                  </a:lnTo>
                  <a:lnTo>
                    <a:pt x="383" y="231"/>
                  </a:lnTo>
                  <a:lnTo>
                    <a:pt x="383" y="234"/>
                  </a:lnTo>
                  <a:lnTo>
                    <a:pt x="383" y="236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80" y="242"/>
                  </a:lnTo>
                  <a:lnTo>
                    <a:pt x="383" y="242"/>
                  </a:lnTo>
                  <a:lnTo>
                    <a:pt x="383" y="242"/>
                  </a:lnTo>
                  <a:lnTo>
                    <a:pt x="383" y="244"/>
                  </a:lnTo>
                  <a:lnTo>
                    <a:pt x="383" y="244"/>
                  </a:lnTo>
                  <a:lnTo>
                    <a:pt x="383" y="247"/>
                  </a:lnTo>
                  <a:lnTo>
                    <a:pt x="380" y="247"/>
                  </a:lnTo>
                  <a:lnTo>
                    <a:pt x="380" y="249"/>
                  </a:lnTo>
                  <a:lnTo>
                    <a:pt x="380" y="249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3" y="257"/>
                  </a:lnTo>
                  <a:lnTo>
                    <a:pt x="385" y="260"/>
                  </a:lnTo>
                  <a:lnTo>
                    <a:pt x="388" y="260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8"/>
                  </a:lnTo>
                  <a:lnTo>
                    <a:pt x="388" y="270"/>
                  </a:lnTo>
                  <a:lnTo>
                    <a:pt x="385" y="273"/>
                  </a:lnTo>
                  <a:lnTo>
                    <a:pt x="383" y="273"/>
                  </a:lnTo>
                  <a:lnTo>
                    <a:pt x="385" y="273"/>
                  </a:lnTo>
                  <a:lnTo>
                    <a:pt x="385" y="275"/>
                  </a:lnTo>
                  <a:lnTo>
                    <a:pt x="383" y="275"/>
                  </a:lnTo>
                  <a:lnTo>
                    <a:pt x="383" y="278"/>
                  </a:lnTo>
                  <a:lnTo>
                    <a:pt x="383" y="278"/>
                  </a:lnTo>
                  <a:lnTo>
                    <a:pt x="383" y="280"/>
                  </a:lnTo>
                  <a:lnTo>
                    <a:pt x="383" y="280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8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78" y="293"/>
                  </a:lnTo>
                  <a:lnTo>
                    <a:pt x="378" y="296"/>
                  </a:lnTo>
                  <a:lnTo>
                    <a:pt x="375" y="296"/>
                  </a:lnTo>
                  <a:lnTo>
                    <a:pt x="375" y="299"/>
                  </a:lnTo>
                  <a:lnTo>
                    <a:pt x="375" y="299"/>
                  </a:lnTo>
                  <a:lnTo>
                    <a:pt x="372" y="299"/>
                  </a:lnTo>
                  <a:lnTo>
                    <a:pt x="372" y="299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0" y="301"/>
                  </a:lnTo>
                  <a:lnTo>
                    <a:pt x="370" y="301"/>
                  </a:lnTo>
                  <a:lnTo>
                    <a:pt x="370" y="304"/>
                  </a:lnTo>
                  <a:lnTo>
                    <a:pt x="370" y="304"/>
                  </a:lnTo>
                  <a:lnTo>
                    <a:pt x="370" y="306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5" y="309"/>
                  </a:lnTo>
                  <a:lnTo>
                    <a:pt x="375" y="309"/>
                  </a:lnTo>
                  <a:lnTo>
                    <a:pt x="375" y="312"/>
                  </a:lnTo>
                  <a:lnTo>
                    <a:pt x="375" y="312"/>
                  </a:lnTo>
                  <a:lnTo>
                    <a:pt x="378" y="314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9"/>
                  </a:lnTo>
                  <a:lnTo>
                    <a:pt x="378" y="322"/>
                  </a:lnTo>
                  <a:lnTo>
                    <a:pt x="380" y="322"/>
                  </a:lnTo>
                  <a:lnTo>
                    <a:pt x="383" y="325"/>
                  </a:lnTo>
                  <a:lnTo>
                    <a:pt x="385" y="327"/>
                  </a:lnTo>
                  <a:lnTo>
                    <a:pt x="388" y="330"/>
                  </a:lnTo>
                  <a:lnTo>
                    <a:pt x="388" y="332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8"/>
                  </a:lnTo>
                  <a:lnTo>
                    <a:pt x="388" y="340"/>
                  </a:lnTo>
                  <a:lnTo>
                    <a:pt x="388" y="340"/>
                  </a:lnTo>
                  <a:lnTo>
                    <a:pt x="391" y="343"/>
                  </a:lnTo>
                  <a:lnTo>
                    <a:pt x="391" y="343"/>
                  </a:lnTo>
                  <a:lnTo>
                    <a:pt x="388" y="343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5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8"/>
                  </a:lnTo>
                  <a:lnTo>
                    <a:pt x="383" y="348"/>
                  </a:lnTo>
                  <a:lnTo>
                    <a:pt x="383" y="350"/>
                  </a:lnTo>
                  <a:lnTo>
                    <a:pt x="380" y="350"/>
                  </a:lnTo>
                  <a:lnTo>
                    <a:pt x="380" y="350"/>
                  </a:lnTo>
                  <a:lnTo>
                    <a:pt x="380" y="353"/>
                  </a:lnTo>
                  <a:lnTo>
                    <a:pt x="378" y="353"/>
                  </a:lnTo>
                  <a:lnTo>
                    <a:pt x="375" y="350"/>
                  </a:lnTo>
                  <a:lnTo>
                    <a:pt x="375" y="350"/>
                  </a:lnTo>
                  <a:lnTo>
                    <a:pt x="372" y="353"/>
                  </a:lnTo>
                  <a:lnTo>
                    <a:pt x="372" y="353"/>
                  </a:lnTo>
                  <a:lnTo>
                    <a:pt x="372" y="350"/>
                  </a:lnTo>
                  <a:lnTo>
                    <a:pt x="372" y="350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5" y="348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2" y="350"/>
                  </a:lnTo>
                  <a:lnTo>
                    <a:pt x="360" y="350"/>
                  </a:lnTo>
                  <a:lnTo>
                    <a:pt x="357" y="350"/>
                  </a:lnTo>
                  <a:lnTo>
                    <a:pt x="354" y="350"/>
                  </a:lnTo>
                  <a:lnTo>
                    <a:pt x="354" y="350"/>
                  </a:lnTo>
                  <a:lnTo>
                    <a:pt x="354" y="353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49" y="353"/>
                  </a:lnTo>
                  <a:lnTo>
                    <a:pt x="349" y="356"/>
                  </a:lnTo>
                  <a:lnTo>
                    <a:pt x="347" y="356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58"/>
                  </a:lnTo>
                  <a:lnTo>
                    <a:pt x="339" y="358"/>
                  </a:lnTo>
                  <a:lnTo>
                    <a:pt x="339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28" y="356"/>
                  </a:lnTo>
                  <a:lnTo>
                    <a:pt x="328" y="356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3" y="353"/>
                  </a:lnTo>
                  <a:lnTo>
                    <a:pt x="321" y="353"/>
                  </a:lnTo>
                  <a:lnTo>
                    <a:pt x="321" y="353"/>
                  </a:lnTo>
                  <a:lnTo>
                    <a:pt x="318" y="353"/>
                  </a:lnTo>
                  <a:lnTo>
                    <a:pt x="318" y="356"/>
                  </a:lnTo>
                  <a:lnTo>
                    <a:pt x="318" y="356"/>
                  </a:lnTo>
                  <a:lnTo>
                    <a:pt x="321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6" y="358"/>
                  </a:lnTo>
                  <a:lnTo>
                    <a:pt x="316" y="361"/>
                  </a:lnTo>
                  <a:lnTo>
                    <a:pt x="316" y="361"/>
                  </a:lnTo>
                  <a:lnTo>
                    <a:pt x="316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6"/>
                  </a:lnTo>
                  <a:lnTo>
                    <a:pt x="313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6"/>
                  </a:lnTo>
                  <a:lnTo>
                    <a:pt x="310" y="376"/>
                  </a:lnTo>
                  <a:lnTo>
                    <a:pt x="308" y="376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5" y="382"/>
                  </a:lnTo>
                  <a:lnTo>
                    <a:pt x="295" y="382"/>
                  </a:lnTo>
                  <a:lnTo>
                    <a:pt x="292" y="382"/>
                  </a:lnTo>
                  <a:lnTo>
                    <a:pt x="290" y="382"/>
                  </a:lnTo>
                  <a:lnTo>
                    <a:pt x="287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4"/>
                  </a:lnTo>
                  <a:lnTo>
                    <a:pt x="284" y="384"/>
                  </a:lnTo>
                  <a:lnTo>
                    <a:pt x="282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69" y="384"/>
                  </a:lnTo>
                  <a:lnTo>
                    <a:pt x="269" y="382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6" y="382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4" y="384"/>
                  </a:lnTo>
                  <a:lnTo>
                    <a:pt x="261" y="384"/>
                  </a:lnTo>
                  <a:lnTo>
                    <a:pt x="261" y="384"/>
                  </a:lnTo>
                  <a:lnTo>
                    <a:pt x="259" y="384"/>
                  </a:lnTo>
                  <a:lnTo>
                    <a:pt x="259" y="382"/>
                  </a:lnTo>
                  <a:lnTo>
                    <a:pt x="259" y="382"/>
                  </a:lnTo>
                  <a:lnTo>
                    <a:pt x="256" y="382"/>
                  </a:lnTo>
                  <a:lnTo>
                    <a:pt x="253" y="382"/>
                  </a:lnTo>
                  <a:lnTo>
                    <a:pt x="253" y="384"/>
                  </a:lnTo>
                  <a:lnTo>
                    <a:pt x="253" y="382"/>
                  </a:lnTo>
                  <a:lnTo>
                    <a:pt x="253" y="382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1" y="379"/>
                  </a:lnTo>
                  <a:lnTo>
                    <a:pt x="251" y="379"/>
                  </a:lnTo>
                  <a:lnTo>
                    <a:pt x="248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5" y="371"/>
                  </a:lnTo>
                  <a:lnTo>
                    <a:pt x="235" y="371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3" y="374"/>
                  </a:lnTo>
                  <a:lnTo>
                    <a:pt x="230" y="371"/>
                  </a:lnTo>
                  <a:lnTo>
                    <a:pt x="228" y="371"/>
                  </a:lnTo>
                  <a:lnTo>
                    <a:pt x="230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5" y="376"/>
                  </a:lnTo>
                  <a:lnTo>
                    <a:pt x="225" y="376"/>
                  </a:lnTo>
                  <a:lnTo>
                    <a:pt x="225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0" y="379"/>
                  </a:lnTo>
                  <a:lnTo>
                    <a:pt x="217" y="379"/>
                  </a:lnTo>
                  <a:lnTo>
                    <a:pt x="217" y="379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1"/>
                  </a:lnTo>
                  <a:lnTo>
                    <a:pt x="215" y="361"/>
                  </a:lnTo>
                  <a:lnTo>
                    <a:pt x="217" y="361"/>
                  </a:lnTo>
                  <a:lnTo>
                    <a:pt x="217" y="358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5" y="353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09" y="350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5"/>
                  </a:lnTo>
                  <a:lnTo>
                    <a:pt x="212" y="345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7" y="343"/>
                  </a:lnTo>
                  <a:lnTo>
                    <a:pt x="207" y="340"/>
                  </a:lnTo>
                  <a:lnTo>
                    <a:pt x="207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2" y="340"/>
                  </a:lnTo>
                  <a:lnTo>
                    <a:pt x="202" y="340"/>
                  </a:lnTo>
                  <a:lnTo>
                    <a:pt x="199" y="340"/>
                  </a:lnTo>
                  <a:lnTo>
                    <a:pt x="199" y="338"/>
                  </a:lnTo>
                  <a:lnTo>
                    <a:pt x="199" y="335"/>
                  </a:lnTo>
                  <a:lnTo>
                    <a:pt x="199" y="335"/>
                  </a:lnTo>
                  <a:lnTo>
                    <a:pt x="202" y="332"/>
                  </a:lnTo>
                  <a:lnTo>
                    <a:pt x="204" y="332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2"/>
                  </a:lnTo>
                  <a:lnTo>
                    <a:pt x="209" y="309"/>
                  </a:lnTo>
                  <a:lnTo>
                    <a:pt x="209" y="306"/>
                  </a:lnTo>
                  <a:lnTo>
                    <a:pt x="207" y="304"/>
                  </a:lnTo>
                  <a:lnTo>
                    <a:pt x="207" y="301"/>
                  </a:lnTo>
                  <a:lnTo>
                    <a:pt x="207" y="299"/>
                  </a:lnTo>
                  <a:lnTo>
                    <a:pt x="207" y="299"/>
                  </a:lnTo>
                  <a:lnTo>
                    <a:pt x="209" y="299"/>
                  </a:lnTo>
                  <a:lnTo>
                    <a:pt x="209" y="299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4" y="291"/>
                  </a:lnTo>
                  <a:lnTo>
                    <a:pt x="194" y="291"/>
                  </a:lnTo>
                  <a:lnTo>
                    <a:pt x="191" y="291"/>
                  </a:lnTo>
                  <a:lnTo>
                    <a:pt x="191" y="291"/>
                  </a:lnTo>
                  <a:lnTo>
                    <a:pt x="189" y="291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6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1" y="286"/>
                  </a:lnTo>
                  <a:lnTo>
                    <a:pt x="181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3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73" y="280"/>
                  </a:lnTo>
                  <a:lnTo>
                    <a:pt x="171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0" y="275"/>
                  </a:lnTo>
                  <a:lnTo>
                    <a:pt x="160" y="273"/>
                  </a:lnTo>
                  <a:lnTo>
                    <a:pt x="160" y="273"/>
                  </a:lnTo>
                  <a:lnTo>
                    <a:pt x="158" y="273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47" y="278"/>
                  </a:lnTo>
                  <a:lnTo>
                    <a:pt x="145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2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4" y="270"/>
                  </a:lnTo>
                  <a:lnTo>
                    <a:pt x="134" y="270"/>
                  </a:lnTo>
                  <a:lnTo>
                    <a:pt x="134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7" y="268"/>
                  </a:lnTo>
                  <a:lnTo>
                    <a:pt x="124" y="268"/>
                  </a:lnTo>
                  <a:lnTo>
                    <a:pt x="124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19" y="265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6" y="260"/>
                  </a:lnTo>
                  <a:lnTo>
                    <a:pt x="116" y="260"/>
                  </a:lnTo>
                  <a:lnTo>
                    <a:pt x="116" y="257"/>
                  </a:lnTo>
                  <a:lnTo>
                    <a:pt x="114" y="257"/>
                  </a:lnTo>
                  <a:lnTo>
                    <a:pt x="114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6" y="247"/>
                  </a:lnTo>
                  <a:lnTo>
                    <a:pt x="106" y="244"/>
                  </a:lnTo>
                  <a:lnTo>
                    <a:pt x="106" y="242"/>
                  </a:lnTo>
                  <a:lnTo>
                    <a:pt x="106" y="242"/>
                  </a:lnTo>
                  <a:lnTo>
                    <a:pt x="108" y="242"/>
                  </a:lnTo>
                  <a:lnTo>
                    <a:pt x="108" y="242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1" y="236"/>
                  </a:lnTo>
                  <a:lnTo>
                    <a:pt x="111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08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6"/>
                  </a:lnTo>
                  <a:lnTo>
                    <a:pt x="108" y="223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4" y="216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6" y="198"/>
                  </a:lnTo>
                  <a:lnTo>
                    <a:pt x="114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9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6" y="187"/>
                  </a:lnTo>
                  <a:lnTo>
                    <a:pt x="114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2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6" y="182"/>
                  </a:lnTo>
                  <a:lnTo>
                    <a:pt x="96" y="179"/>
                  </a:lnTo>
                  <a:lnTo>
                    <a:pt x="98" y="179"/>
                  </a:lnTo>
                  <a:lnTo>
                    <a:pt x="98" y="177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69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1"/>
                  </a:lnTo>
                  <a:lnTo>
                    <a:pt x="106" y="159"/>
                  </a:lnTo>
                  <a:lnTo>
                    <a:pt x="106" y="156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6" y="156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6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3"/>
                  </a:lnTo>
                  <a:lnTo>
                    <a:pt x="103" y="143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0"/>
                  </a:lnTo>
                  <a:lnTo>
                    <a:pt x="108" y="128"/>
                  </a:lnTo>
                  <a:lnTo>
                    <a:pt x="108" y="125"/>
                  </a:lnTo>
                  <a:lnTo>
                    <a:pt x="106" y="125"/>
                  </a:lnTo>
                  <a:lnTo>
                    <a:pt x="106" y="125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1" y="120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2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6"/>
                  </a:lnTo>
                  <a:lnTo>
                    <a:pt x="44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39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28" y="89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3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5" y="86"/>
                  </a:lnTo>
                  <a:lnTo>
                    <a:pt x="13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5" y="86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5" name="Freeform 145"/>
            <p:cNvSpPr>
              <a:spLocks/>
            </p:cNvSpPr>
            <p:nvPr/>
          </p:nvSpPr>
          <p:spPr bwMode="auto">
            <a:xfrm>
              <a:off x="1357" y="2602"/>
              <a:ext cx="391" cy="387"/>
            </a:xfrm>
            <a:custGeom>
              <a:avLst/>
              <a:gdLst>
                <a:gd name="T0" fmla="*/ 26 w 391"/>
                <a:gd name="T1" fmla="*/ 76 h 387"/>
                <a:gd name="T2" fmla="*/ 33 w 391"/>
                <a:gd name="T3" fmla="*/ 70 h 387"/>
                <a:gd name="T4" fmla="*/ 49 w 391"/>
                <a:gd name="T5" fmla="*/ 58 h 387"/>
                <a:gd name="T6" fmla="*/ 77 w 391"/>
                <a:gd name="T7" fmla="*/ 47 h 387"/>
                <a:gd name="T8" fmla="*/ 90 w 391"/>
                <a:gd name="T9" fmla="*/ 34 h 387"/>
                <a:gd name="T10" fmla="*/ 106 w 391"/>
                <a:gd name="T11" fmla="*/ 34 h 387"/>
                <a:gd name="T12" fmla="*/ 127 w 391"/>
                <a:gd name="T13" fmla="*/ 50 h 387"/>
                <a:gd name="T14" fmla="*/ 137 w 391"/>
                <a:gd name="T15" fmla="*/ 52 h 387"/>
                <a:gd name="T16" fmla="*/ 165 w 391"/>
                <a:gd name="T17" fmla="*/ 60 h 387"/>
                <a:gd name="T18" fmla="*/ 181 w 391"/>
                <a:gd name="T19" fmla="*/ 65 h 387"/>
                <a:gd name="T20" fmla="*/ 191 w 391"/>
                <a:gd name="T21" fmla="*/ 70 h 387"/>
                <a:gd name="T22" fmla="*/ 207 w 391"/>
                <a:gd name="T23" fmla="*/ 58 h 387"/>
                <a:gd name="T24" fmla="*/ 220 w 391"/>
                <a:gd name="T25" fmla="*/ 55 h 387"/>
                <a:gd name="T26" fmla="*/ 243 w 391"/>
                <a:gd name="T27" fmla="*/ 47 h 387"/>
                <a:gd name="T28" fmla="*/ 253 w 391"/>
                <a:gd name="T29" fmla="*/ 32 h 387"/>
                <a:gd name="T30" fmla="*/ 282 w 391"/>
                <a:gd name="T31" fmla="*/ 16 h 387"/>
                <a:gd name="T32" fmla="*/ 282 w 391"/>
                <a:gd name="T33" fmla="*/ 0 h 387"/>
                <a:gd name="T34" fmla="*/ 292 w 391"/>
                <a:gd name="T35" fmla="*/ 24 h 387"/>
                <a:gd name="T36" fmla="*/ 326 w 391"/>
                <a:gd name="T37" fmla="*/ 24 h 387"/>
                <a:gd name="T38" fmla="*/ 334 w 391"/>
                <a:gd name="T39" fmla="*/ 50 h 387"/>
                <a:gd name="T40" fmla="*/ 354 w 391"/>
                <a:gd name="T41" fmla="*/ 50 h 387"/>
                <a:gd name="T42" fmla="*/ 347 w 391"/>
                <a:gd name="T43" fmla="*/ 73 h 387"/>
                <a:gd name="T44" fmla="*/ 321 w 391"/>
                <a:gd name="T45" fmla="*/ 120 h 387"/>
                <a:gd name="T46" fmla="*/ 352 w 391"/>
                <a:gd name="T47" fmla="*/ 153 h 387"/>
                <a:gd name="T48" fmla="*/ 372 w 391"/>
                <a:gd name="T49" fmla="*/ 190 h 387"/>
                <a:gd name="T50" fmla="*/ 370 w 391"/>
                <a:gd name="T51" fmla="*/ 221 h 387"/>
                <a:gd name="T52" fmla="*/ 380 w 391"/>
                <a:gd name="T53" fmla="*/ 249 h 387"/>
                <a:gd name="T54" fmla="*/ 383 w 391"/>
                <a:gd name="T55" fmla="*/ 283 h 387"/>
                <a:gd name="T56" fmla="*/ 372 w 391"/>
                <a:gd name="T57" fmla="*/ 309 h 387"/>
                <a:gd name="T58" fmla="*/ 388 w 391"/>
                <a:gd name="T59" fmla="*/ 343 h 387"/>
                <a:gd name="T60" fmla="*/ 370 w 391"/>
                <a:gd name="T61" fmla="*/ 348 h 387"/>
                <a:gd name="T62" fmla="*/ 344 w 391"/>
                <a:gd name="T63" fmla="*/ 358 h 387"/>
                <a:gd name="T64" fmla="*/ 318 w 391"/>
                <a:gd name="T65" fmla="*/ 353 h 387"/>
                <a:gd name="T66" fmla="*/ 310 w 391"/>
                <a:gd name="T67" fmla="*/ 369 h 387"/>
                <a:gd name="T68" fmla="*/ 305 w 391"/>
                <a:gd name="T69" fmla="*/ 379 h 387"/>
                <a:gd name="T70" fmla="*/ 284 w 391"/>
                <a:gd name="T71" fmla="*/ 384 h 387"/>
                <a:gd name="T72" fmla="*/ 266 w 391"/>
                <a:gd name="T73" fmla="*/ 384 h 387"/>
                <a:gd name="T74" fmla="*/ 243 w 391"/>
                <a:gd name="T75" fmla="*/ 374 h 387"/>
                <a:gd name="T76" fmla="*/ 228 w 391"/>
                <a:gd name="T77" fmla="*/ 371 h 387"/>
                <a:gd name="T78" fmla="*/ 215 w 391"/>
                <a:gd name="T79" fmla="*/ 371 h 387"/>
                <a:gd name="T80" fmla="*/ 217 w 391"/>
                <a:gd name="T81" fmla="*/ 358 h 387"/>
                <a:gd name="T82" fmla="*/ 204 w 391"/>
                <a:gd name="T83" fmla="*/ 343 h 387"/>
                <a:gd name="T84" fmla="*/ 212 w 391"/>
                <a:gd name="T85" fmla="*/ 322 h 387"/>
                <a:gd name="T86" fmla="*/ 207 w 391"/>
                <a:gd name="T87" fmla="*/ 304 h 387"/>
                <a:gd name="T88" fmla="*/ 196 w 391"/>
                <a:gd name="T89" fmla="*/ 296 h 387"/>
                <a:gd name="T90" fmla="*/ 184 w 391"/>
                <a:gd name="T91" fmla="*/ 286 h 387"/>
                <a:gd name="T92" fmla="*/ 158 w 391"/>
                <a:gd name="T93" fmla="*/ 273 h 387"/>
                <a:gd name="T94" fmla="*/ 137 w 391"/>
                <a:gd name="T95" fmla="*/ 273 h 387"/>
                <a:gd name="T96" fmla="*/ 114 w 391"/>
                <a:gd name="T97" fmla="*/ 255 h 387"/>
                <a:gd name="T98" fmla="*/ 108 w 391"/>
                <a:gd name="T99" fmla="*/ 236 h 387"/>
                <a:gd name="T100" fmla="*/ 108 w 391"/>
                <a:gd name="T101" fmla="*/ 223 h 387"/>
                <a:gd name="T102" fmla="*/ 114 w 391"/>
                <a:gd name="T103" fmla="*/ 200 h 387"/>
                <a:gd name="T104" fmla="*/ 119 w 391"/>
                <a:gd name="T105" fmla="*/ 187 h 387"/>
                <a:gd name="T106" fmla="*/ 101 w 391"/>
                <a:gd name="T107" fmla="*/ 185 h 387"/>
                <a:gd name="T108" fmla="*/ 101 w 391"/>
                <a:gd name="T109" fmla="*/ 164 h 387"/>
                <a:gd name="T110" fmla="*/ 106 w 391"/>
                <a:gd name="T111" fmla="*/ 151 h 387"/>
                <a:gd name="T112" fmla="*/ 106 w 391"/>
                <a:gd name="T113" fmla="*/ 135 h 387"/>
                <a:gd name="T114" fmla="*/ 96 w 391"/>
                <a:gd name="T115" fmla="*/ 122 h 387"/>
                <a:gd name="T116" fmla="*/ 75 w 391"/>
                <a:gd name="T117" fmla="*/ 120 h 387"/>
                <a:gd name="T118" fmla="*/ 52 w 391"/>
                <a:gd name="T119" fmla="*/ 102 h 387"/>
                <a:gd name="T120" fmla="*/ 31 w 391"/>
                <a:gd name="T121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87">
                  <a:moveTo>
                    <a:pt x="0" y="81"/>
                  </a:move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5" y="78"/>
                  </a:lnTo>
                  <a:lnTo>
                    <a:pt x="7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5" y="78"/>
                  </a:lnTo>
                  <a:lnTo>
                    <a:pt x="13" y="7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8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72" y="50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5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8" y="34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6" y="37"/>
                  </a:lnTo>
                  <a:lnTo>
                    <a:pt x="106" y="34"/>
                  </a:lnTo>
                  <a:lnTo>
                    <a:pt x="108" y="37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11" y="42"/>
                  </a:lnTo>
                  <a:lnTo>
                    <a:pt x="111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9" y="42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4" y="45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4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5" y="55"/>
                  </a:lnTo>
                  <a:lnTo>
                    <a:pt x="147" y="55"/>
                  </a:lnTo>
                  <a:lnTo>
                    <a:pt x="150" y="58"/>
                  </a:lnTo>
                  <a:lnTo>
                    <a:pt x="150" y="58"/>
                  </a:lnTo>
                  <a:lnTo>
                    <a:pt x="150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3" y="60"/>
                  </a:lnTo>
                  <a:lnTo>
                    <a:pt x="165" y="60"/>
                  </a:lnTo>
                  <a:lnTo>
                    <a:pt x="165" y="60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3" y="63"/>
                  </a:lnTo>
                  <a:lnTo>
                    <a:pt x="165" y="63"/>
                  </a:lnTo>
                  <a:lnTo>
                    <a:pt x="165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8" y="65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5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6" y="68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4" y="70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9" y="63"/>
                  </a:lnTo>
                  <a:lnTo>
                    <a:pt x="199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2" y="58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2" y="55"/>
                  </a:lnTo>
                  <a:lnTo>
                    <a:pt x="222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0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5"/>
                  </a:lnTo>
                  <a:lnTo>
                    <a:pt x="235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40" y="52"/>
                  </a:lnTo>
                  <a:lnTo>
                    <a:pt x="240" y="50"/>
                  </a:lnTo>
                  <a:lnTo>
                    <a:pt x="243" y="50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3" y="47"/>
                  </a:lnTo>
                  <a:lnTo>
                    <a:pt x="246" y="47"/>
                  </a:lnTo>
                  <a:lnTo>
                    <a:pt x="246" y="47"/>
                  </a:lnTo>
                  <a:lnTo>
                    <a:pt x="248" y="47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7"/>
                  </a:lnTo>
                  <a:lnTo>
                    <a:pt x="251" y="37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1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4" y="24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6" y="21"/>
                  </a:lnTo>
                  <a:lnTo>
                    <a:pt x="266" y="19"/>
                  </a:lnTo>
                  <a:lnTo>
                    <a:pt x="269" y="16"/>
                  </a:lnTo>
                  <a:lnTo>
                    <a:pt x="272" y="16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9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4" y="13"/>
                  </a:lnTo>
                  <a:lnTo>
                    <a:pt x="284" y="11"/>
                  </a:lnTo>
                  <a:lnTo>
                    <a:pt x="284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79" y="8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3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4" y="6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2" y="19"/>
                  </a:lnTo>
                  <a:lnTo>
                    <a:pt x="295" y="19"/>
                  </a:lnTo>
                  <a:lnTo>
                    <a:pt x="295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4"/>
                  </a:lnTo>
                  <a:lnTo>
                    <a:pt x="292" y="24"/>
                  </a:lnTo>
                  <a:lnTo>
                    <a:pt x="295" y="24"/>
                  </a:lnTo>
                  <a:lnTo>
                    <a:pt x="297" y="24"/>
                  </a:lnTo>
                  <a:lnTo>
                    <a:pt x="300" y="24"/>
                  </a:lnTo>
                  <a:lnTo>
                    <a:pt x="303" y="24"/>
                  </a:lnTo>
                  <a:lnTo>
                    <a:pt x="303" y="21"/>
                  </a:lnTo>
                  <a:lnTo>
                    <a:pt x="305" y="24"/>
                  </a:lnTo>
                  <a:lnTo>
                    <a:pt x="308" y="24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3" y="26"/>
                  </a:lnTo>
                  <a:lnTo>
                    <a:pt x="316" y="24"/>
                  </a:lnTo>
                  <a:lnTo>
                    <a:pt x="318" y="24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4"/>
                  </a:lnTo>
                  <a:lnTo>
                    <a:pt x="323" y="24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8" y="24"/>
                  </a:lnTo>
                  <a:lnTo>
                    <a:pt x="328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6"/>
                  </a:lnTo>
                  <a:lnTo>
                    <a:pt x="331" y="29"/>
                  </a:lnTo>
                  <a:lnTo>
                    <a:pt x="331" y="32"/>
                  </a:lnTo>
                  <a:lnTo>
                    <a:pt x="328" y="37"/>
                  </a:lnTo>
                  <a:lnTo>
                    <a:pt x="326" y="39"/>
                  </a:lnTo>
                  <a:lnTo>
                    <a:pt x="323" y="42"/>
                  </a:lnTo>
                  <a:lnTo>
                    <a:pt x="321" y="45"/>
                  </a:lnTo>
                  <a:lnTo>
                    <a:pt x="318" y="47"/>
                  </a:lnTo>
                  <a:lnTo>
                    <a:pt x="316" y="50"/>
                  </a:lnTo>
                  <a:lnTo>
                    <a:pt x="313" y="52"/>
                  </a:lnTo>
                  <a:lnTo>
                    <a:pt x="318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31" y="55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9" y="47"/>
                  </a:lnTo>
                  <a:lnTo>
                    <a:pt x="339" y="47"/>
                  </a:lnTo>
                  <a:lnTo>
                    <a:pt x="339" y="45"/>
                  </a:lnTo>
                  <a:lnTo>
                    <a:pt x="341" y="45"/>
                  </a:lnTo>
                  <a:lnTo>
                    <a:pt x="344" y="45"/>
                  </a:lnTo>
                  <a:lnTo>
                    <a:pt x="344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4" y="50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5"/>
                  </a:lnTo>
                  <a:lnTo>
                    <a:pt x="354" y="55"/>
                  </a:lnTo>
                  <a:lnTo>
                    <a:pt x="352" y="55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49" y="58"/>
                  </a:lnTo>
                  <a:lnTo>
                    <a:pt x="349" y="58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7" y="63"/>
                  </a:lnTo>
                  <a:lnTo>
                    <a:pt x="347" y="63"/>
                  </a:lnTo>
                  <a:lnTo>
                    <a:pt x="347" y="65"/>
                  </a:lnTo>
                  <a:lnTo>
                    <a:pt x="347" y="68"/>
                  </a:lnTo>
                  <a:lnTo>
                    <a:pt x="344" y="68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7" y="70"/>
                  </a:lnTo>
                  <a:lnTo>
                    <a:pt x="347" y="73"/>
                  </a:lnTo>
                  <a:lnTo>
                    <a:pt x="347" y="73"/>
                  </a:lnTo>
                  <a:lnTo>
                    <a:pt x="347" y="76"/>
                  </a:lnTo>
                  <a:lnTo>
                    <a:pt x="347" y="76"/>
                  </a:lnTo>
                  <a:lnTo>
                    <a:pt x="347" y="78"/>
                  </a:lnTo>
                  <a:lnTo>
                    <a:pt x="347" y="81"/>
                  </a:lnTo>
                  <a:lnTo>
                    <a:pt x="344" y="83"/>
                  </a:lnTo>
                  <a:lnTo>
                    <a:pt x="344" y="86"/>
                  </a:lnTo>
                  <a:lnTo>
                    <a:pt x="341" y="89"/>
                  </a:lnTo>
                  <a:lnTo>
                    <a:pt x="341" y="91"/>
                  </a:lnTo>
                  <a:lnTo>
                    <a:pt x="339" y="91"/>
                  </a:lnTo>
                  <a:lnTo>
                    <a:pt x="336" y="96"/>
                  </a:lnTo>
                  <a:lnTo>
                    <a:pt x="334" y="99"/>
                  </a:lnTo>
                  <a:lnTo>
                    <a:pt x="328" y="102"/>
                  </a:lnTo>
                  <a:lnTo>
                    <a:pt x="326" y="102"/>
                  </a:lnTo>
                  <a:lnTo>
                    <a:pt x="323" y="102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1" y="109"/>
                  </a:lnTo>
                  <a:lnTo>
                    <a:pt x="321" y="112"/>
                  </a:lnTo>
                  <a:lnTo>
                    <a:pt x="321" y="115"/>
                  </a:lnTo>
                  <a:lnTo>
                    <a:pt x="321" y="117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21" y="122"/>
                  </a:lnTo>
                  <a:lnTo>
                    <a:pt x="321" y="125"/>
                  </a:lnTo>
                  <a:lnTo>
                    <a:pt x="318" y="125"/>
                  </a:lnTo>
                  <a:lnTo>
                    <a:pt x="318" y="128"/>
                  </a:lnTo>
                  <a:lnTo>
                    <a:pt x="318" y="130"/>
                  </a:lnTo>
                  <a:lnTo>
                    <a:pt x="321" y="130"/>
                  </a:lnTo>
                  <a:lnTo>
                    <a:pt x="323" y="130"/>
                  </a:lnTo>
                  <a:lnTo>
                    <a:pt x="326" y="130"/>
                  </a:lnTo>
                  <a:lnTo>
                    <a:pt x="328" y="130"/>
                  </a:lnTo>
                  <a:lnTo>
                    <a:pt x="328" y="133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4" y="138"/>
                  </a:lnTo>
                  <a:lnTo>
                    <a:pt x="339" y="140"/>
                  </a:lnTo>
                  <a:lnTo>
                    <a:pt x="341" y="143"/>
                  </a:lnTo>
                  <a:lnTo>
                    <a:pt x="344" y="146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9" y="148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2" y="151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4" y="153"/>
                  </a:lnTo>
                  <a:lnTo>
                    <a:pt x="354" y="156"/>
                  </a:lnTo>
                  <a:lnTo>
                    <a:pt x="354" y="156"/>
                  </a:lnTo>
                  <a:lnTo>
                    <a:pt x="357" y="156"/>
                  </a:lnTo>
                  <a:lnTo>
                    <a:pt x="357" y="159"/>
                  </a:lnTo>
                  <a:lnTo>
                    <a:pt x="360" y="161"/>
                  </a:lnTo>
                  <a:lnTo>
                    <a:pt x="360" y="161"/>
                  </a:lnTo>
                  <a:lnTo>
                    <a:pt x="362" y="164"/>
                  </a:lnTo>
                  <a:lnTo>
                    <a:pt x="365" y="164"/>
                  </a:lnTo>
                  <a:lnTo>
                    <a:pt x="367" y="166"/>
                  </a:lnTo>
                  <a:lnTo>
                    <a:pt x="370" y="166"/>
                  </a:lnTo>
                  <a:lnTo>
                    <a:pt x="370" y="169"/>
                  </a:lnTo>
                  <a:lnTo>
                    <a:pt x="372" y="172"/>
                  </a:lnTo>
                  <a:lnTo>
                    <a:pt x="375" y="172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2" y="177"/>
                  </a:lnTo>
                  <a:lnTo>
                    <a:pt x="372" y="179"/>
                  </a:lnTo>
                  <a:lnTo>
                    <a:pt x="372" y="182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2" y="190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67" y="198"/>
                  </a:lnTo>
                  <a:lnTo>
                    <a:pt x="367" y="198"/>
                  </a:lnTo>
                  <a:lnTo>
                    <a:pt x="365" y="198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5"/>
                  </a:lnTo>
                  <a:lnTo>
                    <a:pt x="365" y="205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7" y="213"/>
                  </a:lnTo>
                  <a:lnTo>
                    <a:pt x="367" y="213"/>
                  </a:lnTo>
                  <a:lnTo>
                    <a:pt x="367" y="216"/>
                  </a:lnTo>
                  <a:lnTo>
                    <a:pt x="367" y="218"/>
                  </a:lnTo>
                  <a:lnTo>
                    <a:pt x="370" y="221"/>
                  </a:lnTo>
                  <a:lnTo>
                    <a:pt x="367" y="223"/>
                  </a:lnTo>
                  <a:lnTo>
                    <a:pt x="367" y="223"/>
                  </a:lnTo>
                  <a:lnTo>
                    <a:pt x="370" y="223"/>
                  </a:lnTo>
                  <a:lnTo>
                    <a:pt x="370" y="226"/>
                  </a:lnTo>
                  <a:lnTo>
                    <a:pt x="372" y="226"/>
                  </a:lnTo>
                  <a:lnTo>
                    <a:pt x="375" y="229"/>
                  </a:lnTo>
                  <a:lnTo>
                    <a:pt x="378" y="229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3" y="231"/>
                  </a:lnTo>
                  <a:lnTo>
                    <a:pt x="383" y="231"/>
                  </a:lnTo>
                  <a:lnTo>
                    <a:pt x="383" y="234"/>
                  </a:lnTo>
                  <a:lnTo>
                    <a:pt x="383" y="236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80" y="242"/>
                  </a:lnTo>
                  <a:lnTo>
                    <a:pt x="383" y="242"/>
                  </a:lnTo>
                  <a:lnTo>
                    <a:pt x="383" y="242"/>
                  </a:lnTo>
                  <a:lnTo>
                    <a:pt x="383" y="244"/>
                  </a:lnTo>
                  <a:lnTo>
                    <a:pt x="383" y="244"/>
                  </a:lnTo>
                  <a:lnTo>
                    <a:pt x="383" y="247"/>
                  </a:lnTo>
                  <a:lnTo>
                    <a:pt x="380" y="247"/>
                  </a:lnTo>
                  <a:lnTo>
                    <a:pt x="380" y="249"/>
                  </a:lnTo>
                  <a:lnTo>
                    <a:pt x="380" y="249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3" y="257"/>
                  </a:lnTo>
                  <a:lnTo>
                    <a:pt x="385" y="260"/>
                  </a:lnTo>
                  <a:lnTo>
                    <a:pt x="388" y="260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8"/>
                  </a:lnTo>
                  <a:lnTo>
                    <a:pt x="388" y="270"/>
                  </a:lnTo>
                  <a:lnTo>
                    <a:pt x="385" y="273"/>
                  </a:lnTo>
                  <a:lnTo>
                    <a:pt x="383" y="273"/>
                  </a:lnTo>
                  <a:lnTo>
                    <a:pt x="385" y="273"/>
                  </a:lnTo>
                  <a:lnTo>
                    <a:pt x="385" y="275"/>
                  </a:lnTo>
                  <a:lnTo>
                    <a:pt x="383" y="275"/>
                  </a:lnTo>
                  <a:lnTo>
                    <a:pt x="383" y="278"/>
                  </a:lnTo>
                  <a:lnTo>
                    <a:pt x="383" y="278"/>
                  </a:lnTo>
                  <a:lnTo>
                    <a:pt x="383" y="280"/>
                  </a:lnTo>
                  <a:lnTo>
                    <a:pt x="383" y="280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8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78" y="293"/>
                  </a:lnTo>
                  <a:lnTo>
                    <a:pt x="378" y="296"/>
                  </a:lnTo>
                  <a:lnTo>
                    <a:pt x="375" y="296"/>
                  </a:lnTo>
                  <a:lnTo>
                    <a:pt x="375" y="299"/>
                  </a:lnTo>
                  <a:lnTo>
                    <a:pt x="375" y="299"/>
                  </a:lnTo>
                  <a:lnTo>
                    <a:pt x="372" y="299"/>
                  </a:lnTo>
                  <a:lnTo>
                    <a:pt x="372" y="299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0" y="301"/>
                  </a:lnTo>
                  <a:lnTo>
                    <a:pt x="370" y="301"/>
                  </a:lnTo>
                  <a:lnTo>
                    <a:pt x="370" y="304"/>
                  </a:lnTo>
                  <a:lnTo>
                    <a:pt x="370" y="304"/>
                  </a:lnTo>
                  <a:lnTo>
                    <a:pt x="370" y="306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5" y="309"/>
                  </a:lnTo>
                  <a:lnTo>
                    <a:pt x="375" y="309"/>
                  </a:lnTo>
                  <a:lnTo>
                    <a:pt x="375" y="312"/>
                  </a:lnTo>
                  <a:lnTo>
                    <a:pt x="375" y="312"/>
                  </a:lnTo>
                  <a:lnTo>
                    <a:pt x="378" y="314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9"/>
                  </a:lnTo>
                  <a:lnTo>
                    <a:pt x="378" y="322"/>
                  </a:lnTo>
                  <a:lnTo>
                    <a:pt x="380" y="322"/>
                  </a:lnTo>
                  <a:lnTo>
                    <a:pt x="383" y="325"/>
                  </a:lnTo>
                  <a:lnTo>
                    <a:pt x="385" y="327"/>
                  </a:lnTo>
                  <a:lnTo>
                    <a:pt x="388" y="330"/>
                  </a:lnTo>
                  <a:lnTo>
                    <a:pt x="388" y="332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8"/>
                  </a:lnTo>
                  <a:lnTo>
                    <a:pt x="388" y="340"/>
                  </a:lnTo>
                  <a:lnTo>
                    <a:pt x="388" y="340"/>
                  </a:lnTo>
                  <a:lnTo>
                    <a:pt x="391" y="343"/>
                  </a:lnTo>
                  <a:lnTo>
                    <a:pt x="391" y="343"/>
                  </a:lnTo>
                  <a:lnTo>
                    <a:pt x="388" y="343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5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8"/>
                  </a:lnTo>
                  <a:lnTo>
                    <a:pt x="383" y="348"/>
                  </a:lnTo>
                  <a:lnTo>
                    <a:pt x="383" y="350"/>
                  </a:lnTo>
                  <a:lnTo>
                    <a:pt x="380" y="350"/>
                  </a:lnTo>
                  <a:lnTo>
                    <a:pt x="380" y="350"/>
                  </a:lnTo>
                  <a:lnTo>
                    <a:pt x="380" y="353"/>
                  </a:lnTo>
                  <a:lnTo>
                    <a:pt x="378" y="353"/>
                  </a:lnTo>
                  <a:lnTo>
                    <a:pt x="375" y="350"/>
                  </a:lnTo>
                  <a:lnTo>
                    <a:pt x="375" y="350"/>
                  </a:lnTo>
                  <a:lnTo>
                    <a:pt x="372" y="353"/>
                  </a:lnTo>
                  <a:lnTo>
                    <a:pt x="372" y="353"/>
                  </a:lnTo>
                  <a:lnTo>
                    <a:pt x="372" y="350"/>
                  </a:lnTo>
                  <a:lnTo>
                    <a:pt x="372" y="350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5" y="348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2" y="350"/>
                  </a:lnTo>
                  <a:lnTo>
                    <a:pt x="360" y="350"/>
                  </a:lnTo>
                  <a:lnTo>
                    <a:pt x="357" y="350"/>
                  </a:lnTo>
                  <a:lnTo>
                    <a:pt x="354" y="350"/>
                  </a:lnTo>
                  <a:lnTo>
                    <a:pt x="354" y="350"/>
                  </a:lnTo>
                  <a:lnTo>
                    <a:pt x="354" y="353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49" y="353"/>
                  </a:lnTo>
                  <a:lnTo>
                    <a:pt x="349" y="356"/>
                  </a:lnTo>
                  <a:lnTo>
                    <a:pt x="347" y="356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58"/>
                  </a:lnTo>
                  <a:lnTo>
                    <a:pt x="339" y="358"/>
                  </a:lnTo>
                  <a:lnTo>
                    <a:pt x="339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28" y="356"/>
                  </a:lnTo>
                  <a:lnTo>
                    <a:pt x="328" y="356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3" y="353"/>
                  </a:lnTo>
                  <a:lnTo>
                    <a:pt x="321" y="353"/>
                  </a:lnTo>
                  <a:lnTo>
                    <a:pt x="321" y="353"/>
                  </a:lnTo>
                  <a:lnTo>
                    <a:pt x="318" y="353"/>
                  </a:lnTo>
                  <a:lnTo>
                    <a:pt x="318" y="356"/>
                  </a:lnTo>
                  <a:lnTo>
                    <a:pt x="318" y="356"/>
                  </a:lnTo>
                  <a:lnTo>
                    <a:pt x="321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6" y="358"/>
                  </a:lnTo>
                  <a:lnTo>
                    <a:pt x="316" y="361"/>
                  </a:lnTo>
                  <a:lnTo>
                    <a:pt x="316" y="361"/>
                  </a:lnTo>
                  <a:lnTo>
                    <a:pt x="316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6"/>
                  </a:lnTo>
                  <a:lnTo>
                    <a:pt x="313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6"/>
                  </a:lnTo>
                  <a:lnTo>
                    <a:pt x="310" y="376"/>
                  </a:lnTo>
                  <a:lnTo>
                    <a:pt x="308" y="376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5" y="382"/>
                  </a:lnTo>
                  <a:lnTo>
                    <a:pt x="295" y="382"/>
                  </a:lnTo>
                  <a:lnTo>
                    <a:pt x="292" y="382"/>
                  </a:lnTo>
                  <a:lnTo>
                    <a:pt x="290" y="382"/>
                  </a:lnTo>
                  <a:lnTo>
                    <a:pt x="287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4"/>
                  </a:lnTo>
                  <a:lnTo>
                    <a:pt x="284" y="384"/>
                  </a:lnTo>
                  <a:lnTo>
                    <a:pt x="282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69" y="384"/>
                  </a:lnTo>
                  <a:lnTo>
                    <a:pt x="269" y="382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6" y="382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4" y="384"/>
                  </a:lnTo>
                  <a:lnTo>
                    <a:pt x="261" y="384"/>
                  </a:lnTo>
                  <a:lnTo>
                    <a:pt x="261" y="384"/>
                  </a:lnTo>
                  <a:lnTo>
                    <a:pt x="259" y="384"/>
                  </a:lnTo>
                  <a:lnTo>
                    <a:pt x="259" y="382"/>
                  </a:lnTo>
                  <a:lnTo>
                    <a:pt x="259" y="382"/>
                  </a:lnTo>
                  <a:lnTo>
                    <a:pt x="256" y="382"/>
                  </a:lnTo>
                  <a:lnTo>
                    <a:pt x="253" y="382"/>
                  </a:lnTo>
                  <a:lnTo>
                    <a:pt x="253" y="384"/>
                  </a:lnTo>
                  <a:lnTo>
                    <a:pt x="253" y="382"/>
                  </a:lnTo>
                  <a:lnTo>
                    <a:pt x="253" y="382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1" y="379"/>
                  </a:lnTo>
                  <a:lnTo>
                    <a:pt x="251" y="379"/>
                  </a:lnTo>
                  <a:lnTo>
                    <a:pt x="248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5" y="371"/>
                  </a:lnTo>
                  <a:lnTo>
                    <a:pt x="235" y="371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3" y="374"/>
                  </a:lnTo>
                  <a:lnTo>
                    <a:pt x="230" y="371"/>
                  </a:lnTo>
                  <a:lnTo>
                    <a:pt x="228" y="371"/>
                  </a:lnTo>
                  <a:lnTo>
                    <a:pt x="230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5" y="376"/>
                  </a:lnTo>
                  <a:lnTo>
                    <a:pt x="225" y="376"/>
                  </a:lnTo>
                  <a:lnTo>
                    <a:pt x="225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0" y="379"/>
                  </a:lnTo>
                  <a:lnTo>
                    <a:pt x="217" y="379"/>
                  </a:lnTo>
                  <a:lnTo>
                    <a:pt x="217" y="379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1"/>
                  </a:lnTo>
                  <a:lnTo>
                    <a:pt x="215" y="361"/>
                  </a:lnTo>
                  <a:lnTo>
                    <a:pt x="217" y="361"/>
                  </a:lnTo>
                  <a:lnTo>
                    <a:pt x="217" y="358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5" y="353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09" y="350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5"/>
                  </a:lnTo>
                  <a:lnTo>
                    <a:pt x="212" y="345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7" y="343"/>
                  </a:lnTo>
                  <a:lnTo>
                    <a:pt x="207" y="340"/>
                  </a:lnTo>
                  <a:lnTo>
                    <a:pt x="207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2" y="340"/>
                  </a:lnTo>
                  <a:lnTo>
                    <a:pt x="202" y="340"/>
                  </a:lnTo>
                  <a:lnTo>
                    <a:pt x="199" y="340"/>
                  </a:lnTo>
                  <a:lnTo>
                    <a:pt x="199" y="338"/>
                  </a:lnTo>
                  <a:lnTo>
                    <a:pt x="199" y="335"/>
                  </a:lnTo>
                  <a:lnTo>
                    <a:pt x="199" y="335"/>
                  </a:lnTo>
                  <a:lnTo>
                    <a:pt x="202" y="332"/>
                  </a:lnTo>
                  <a:lnTo>
                    <a:pt x="204" y="332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2"/>
                  </a:lnTo>
                  <a:lnTo>
                    <a:pt x="209" y="309"/>
                  </a:lnTo>
                  <a:lnTo>
                    <a:pt x="209" y="306"/>
                  </a:lnTo>
                  <a:lnTo>
                    <a:pt x="207" y="304"/>
                  </a:lnTo>
                  <a:lnTo>
                    <a:pt x="207" y="301"/>
                  </a:lnTo>
                  <a:lnTo>
                    <a:pt x="207" y="299"/>
                  </a:lnTo>
                  <a:lnTo>
                    <a:pt x="207" y="299"/>
                  </a:lnTo>
                  <a:lnTo>
                    <a:pt x="209" y="299"/>
                  </a:lnTo>
                  <a:lnTo>
                    <a:pt x="209" y="299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4" y="291"/>
                  </a:lnTo>
                  <a:lnTo>
                    <a:pt x="194" y="291"/>
                  </a:lnTo>
                  <a:lnTo>
                    <a:pt x="191" y="291"/>
                  </a:lnTo>
                  <a:lnTo>
                    <a:pt x="191" y="291"/>
                  </a:lnTo>
                  <a:lnTo>
                    <a:pt x="189" y="291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6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1" y="286"/>
                  </a:lnTo>
                  <a:lnTo>
                    <a:pt x="181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3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73" y="280"/>
                  </a:lnTo>
                  <a:lnTo>
                    <a:pt x="171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0" y="275"/>
                  </a:lnTo>
                  <a:lnTo>
                    <a:pt x="160" y="273"/>
                  </a:lnTo>
                  <a:lnTo>
                    <a:pt x="160" y="273"/>
                  </a:lnTo>
                  <a:lnTo>
                    <a:pt x="158" y="273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47" y="278"/>
                  </a:lnTo>
                  <a:lnTo>
                    <a:pt x="145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2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4" y="270"/>
                  </a:lnTo>
                  <a:lnTo>
                    <a:pt x="134" y="270"/>
                  </a:lnTo>
                  <a:lnTo>
                    <a:pt x="134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7" y="268"/>
                  </a:lnTo>
                  <a:lnTo>
                    <a:pt x="124" y="268"/>
                  </a:lnTo>
                  <a:lnTo>
                    <a:pt x="124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19" y="265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6" y="260"/>
                  </a:lnTo>
                  <a:lnTo>
                    <a:pt x="116" y="260"/>
                  </a:lnTo>
                  <a:lnTo>
                    <a:pt x="116" y="257"/>
                  </a:lnTo>
                  <a:lnTo>
                    <a:pt x="114" y="257"/>
                  </a:lnTo>
                  <a:lnTo>
                    <a:pt x="114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6" y="247"/>
                  </a:lnTo>
                  <a:lnTo>
                    <a:pt x="106" y="244"/>
                  </a:lnTo>
                  <a:lnTo>
                    <a:pt x="106" y="242"/>
                  </a:lnTo>
                  <a:lnTo>
                    <a:pt x="106" y="242"/>
                  </a:lnTo>
                  <a:lnTo>
                    <a:pt x="108" y="242"/>
                  </a:lnTo>
                  <a:lnTo>
                    <a:pt x="108" y="242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1" y="236"/>
                  </a:lnTo>
                  <a:lnTo>
                    <a:pt x="111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08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6"/>
                  </a:lnTo>
                  <a:lnTo>
                    <a:pt x="108" y="223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4" y="216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6" y="198"/>
                  </a:lnTo>
                  <a:lnTo>
                    <a:pt x="114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9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6" y="187"/>
                  </a:lnTo>
                  <a:lnTo>
                    <a:pt x="114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2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6" y="182"/>
                  </a:lnTo>
                  <a:lnTo>
                    <a:pt x="96" y="179"/>
                  </a:lnTo>
                  <a:lnTo>
                    <a:pt x="98" y="179"/>
                  </a:lnTo>
                  <a:lnTo>
                    <a:pt x="98" y="177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69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1"/>
                  </a:lnTo>
                  <a:lnTo>
                    <a:pt x="106" y="159"/>
                  </a:lnTo>
                  <a:lnTo>
                    <a:pt x="106" y="156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6" y="156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6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3"/>
                  </a:lnTo>
                  <a:lnTo>
                    <a:pt x="103" y="143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0"/>
                  </a:lnTo>
                  <a:lnTo>
                    <a:pt x="108" y="128"/>
                  </a:lnTo>
                  <a:lnTo>
                    <a:pt x="108" y="125"/>
                  </a:lnTo>
                  <a:lnTo>
                    <a:pt x="106" y="125"/>
                  </a:lnTo>
                  <a:lnTo>
                    <a:pt x="106" y="125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1" y="120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2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6"/>
                  </a:lnTo>
                  <a:lnTo>
                    <a:pt x="44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39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28" y="89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3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5" y="86"/>
                  </a:lnTo>
                  <a:lnTo>
                    <a:pt x="13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5" y="86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6" name="Freeform 146"/>
            <p:cNvSpPr>
              <a:spLocks/>
            </p:cNvSpPr>
            <p:nvPr/>
          </p:nvSpPr>
          <p:spPr bwMode="auto">
            <a:xfrm>
              <a:off x="1357" y="2602"/>
              <a:ext cx="391" cy="387"/>
            </a:xfrm>
            <a:custGeom>
              <a:avLst/>
              <a:gdLst>
                <a:gd name="T0" fmla="*/ 26 w 391"/>
                <a:gd name="T1" fmla="*/ 76 h 387"/>
                <a:gd name="T2" fmla="*/ 33 w 391"/>
                <a:gd name="T3" fmla="*/ 70 h 387"/>
                <a:gd name="T4" fmla="*/ 49 w 391"/>
                <a:gd name="T5" fmla="*/ 58 h 387"/>
                <a:gd name="T6" fmla="*/ 77 w 391"/>
                <a:gd name="T7" fmla="*/ 47 h 387"/>
                <a:gd name="T8" fmla="*/ 90 w 391"/>
                <a:gd name="T9" fmla="*/ 34 h 387"/>
                <a:gd name="T10" fmla="*/ 106 w 391"/>
                <a:gd name="T11" fmla="*/ 34 h 387"/>
                <a:gd name="T12" fmla="*/ 127 w 391"/>
                <a:gd name="T13" fmla="*/ 50 h 387"/>
                <a:gd name="T14" fmla="*/ 137 w 391"/>
                <a:gd name="T15" fmla="*/ 52 h 387"/>
                <a:gd name="T16" fmla="*/ 165 w 391"/>
                <a:gd name="T17" fmla="*/ 60 h 387"/>
                <a:gd name="T18" fmla="*/ 181 w 391"/>
                <a:gd name="T19" fmla="*/ 65 h 387"/>
                <a:gd name="T20" fmla="*/ 191 w 391"/>
                <a:gd name="T21" fmla="*/ 70 h 387"/>
                <a:gd name="T22" fmla="*/ 207 w 391"/>
                <a:gd name="T23" fmla="*/ 58 h 387"/>
                <a:gd name="T24" fmla="*/ 220 w 391"/>
                <a:gd name="T25" fmla="*/ 55 h 387"/>
                <a:gd name="T26" fmla="*/ 243 w 391"/>
                <a:gd name="T27" fmla="*/ 47 h 387"/>
                <a:gd name="T28" fmla="*/ 253 w 391"/>
                <a:gd name="T29" fmla="*/ 32 h 387"/>
                <a:gd name="T30" fmla="*/ 282 w 391"/>
                <a:gd name="T31" fmla="*/ 16 h 387"/>
                <a:gd name="T32" fmla="*/ 282 w 391"/>
                <a:gd name="T33" fmla="*/ 0 h 387"/>
                <a:gd name="T34" fmla="*/ 292 w 391"/>
                <a:gd name="T35" fmla="*/ 24 h 387"/>
                <a:gd name="T36" fmla="*/ 326 w 391"/>
                <a:gd name="T37" fmla="*/ 24 h 387"/>
                <a:gd name="T38" fmla="*/ 334 w 391"/>
                <a:gd name="T39" fmla="*/ 50 h 387"/>
                <a:gd name="T40" fmla="*/ 354 w 391"/>
                <a:gd name="T41" fmla="*/ 50 h 387"/>
                <a:gd name="T42" fmla="*/ 347 w 391"/>
                <a:gd name="T43" fmla="*/ 73 h 387"/>
                <a:gd name="T44" fmla="*/ 321 w 391"/>
                <a:gd name="T45" fmla="*/ 120 h 387"/>
                <a:gd name="T46" fmla="*/ 352 w 391"/>
                <a:gd name="T47" fmla="*/ 153 h 387"/>
                <a:gd name="T48" fmla="*/ 372 w 391"/>
                <a:gd name="T49" fmla="*/ 190 h 387"/>
                <a:gd name="T50" fmla="*/ 370 w 391"/>
                <a:gd name="T51" fmla="*/ 221 h 387"/>
                <a:gd name="T52" fmla="*/ 380 w 391"/>
                <a:gd name="T53" fmla="*/ 249 h 387"/>
                <a:gd name="T54" fmla="*/ 383 w 391"/>
                <a:gd name="T55" fmla="*/ 283 h 387"/>
                <a:gd name="T56" fmla="*/ 372 w 391"/>
                <a:gd name="T57" fmla="*/ 309 h 387"/>
                <a:gd name="T58" fmla="*/ 388 w 391"/>
                <a:gd name="T59" fmla="*/ 343 h 387"/>
                <a:gd name="T60" fmla="*/ 370 w 391"/>
                <a:gd name="T61" fmla="*/ 348 h 387"/>
                <a:gd name="T62" fmla="*/ 344 w 391"/>
                <a:gd name="T63" fmla="*/ 358 h 387"/>
                <a:gd name="T64" fmla="*/ 318 w 391"/>
                <a:gd name="T65" fmla="*/ 353 h 387"/>
                <a:gd name="T66" fmla="*/ 310 w 391"/>
                <a:gd name="T67" fmla="*/ 369 h 387"/>
                <a:gd name="T68" fmla="*/ 305 w 391"/>
                <a:gd name="T69" fmla="*/ 379 h 387"/>
                <a:gd name="T70" fmla="*/ 284 w 391"/>
                <a:gd name="T71" fmla="*/ 384 h 387"/>
                <a:gd name="T72" fmla="*/ 266 w 391"/>
                <a:gd name="T73" fmla="*/ 384 h 387"/>
                <a:gd name="T74" fmla="*/ 243 w 391"/>
                <a:gd name="T75" fmla="*/ 374 h 387"/>
                <a:gd name="T76" fmla="*/ 228 w 391"/>
                <a:gd name="T77" fmla="*/ 371 h 387"/>
                <a:gd name="T78" fmla="*/ 215 w 391"/>
                <a:gd name="T79" fmla="*/ 371 h 387"/>
                <a:gd name="T80" fmla="*/ 217 w 391"/>
                <a:gd name="T81" fmla="*/ 358 h 387"/>
                <a:gd name="T82" fmla="*/ 204 w 391"/>
                <a:gd name="T83" fmla="*/ 343 h 387"/>
                <a:gd name="T84" fmla="*/ 212 w 391"/>
                <a:gd name="T85" fmla="*/ 322 h 387"/>
                <a:gd name="T86" fmla="*/ 207 w 391"/>
                <a:gd name="T87" fmla="*/ 304 h 387"/>
                <a:gd name="T88" fmla="*/ 196 w 391"/>
                <a:gd name="T89" fmla="*/ 296 h 387"/>
                <a:gd name="T90" fmla="*/ 184 w 391"/>
                <a:gd name="T91" fmla="*/ 286 h 387"/>
                <a:gd name="T92" fmla="*/ 158 w 391"/>
                <a:gd name="T93" fmla="*/ 273 h 387"/>
                <a:gd name="T94" fmla="*/ 137 w 391"/>
                <a:gd name="T95" fmla="*/ 273 h 387"/>
                <a:gd name="T96" fmla="*/ 114 w 391"/>
                <a:gd name="T97" fmla="*/ 255 h 387"/>
                <a:gd name="T98" fmla="*/ 108 w 391"/>
                <a:gd name="T99" fmla="*/ 236 h 387"/>
                <a:gd name="T100" fmla="*/ 108 w 391"/>
                <a:gd name="T101" fmla="*/ 223 h 387"/>
                <a:gd name="T102" fmla="*/ 114 w 391"/>
                <a:gd name="T103" fmla="*/ 200 h 387"/>
                <a:gd name="T104" fmla="*/ 119 w 391"/>
                <a:gd name="T105" fmla="*/ 187 h 387"/>
                <a:gd name="T106" fmla="*/ 101 w 391"/>
                <a:gd name="T107" fmla="*/ 185 h 387"/>
                <a:gd name="T108" fmla="*/ 101 w 391"/>
                <a:gd name="T109" fmla="*/ 164 h 387"/>
                <a:gd name="T110" fmla="*/ 106 w 391"/>
                <a:gd name="T111" fmla="*/ 151 h 387"/>
                <a:gd name="T112" fmla="*/ 106 w 391"/>
                <a:gd name="T113" fmla="*/ 135 h 387"/>
                <a:gd name="T114" fmla="*/ 96 w 391"/>
                <a:gd name="T115" fmla="*/ 122 h 387"/>
                <a:gd name="T116" fmla="*/ 75 w 391"/>
                <a:gd name="T117" fmla="*/ 120 h 387"/>
                <a:gd name="T118" fmla="*/ 52 w 391"/>
                <a:gd name="T119" fmla="*/ 102 h 387"/>
                <a:gd name="T120" fmla="*/ 31 w 391"/>
                <a:gd name="T121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1" h="387">
                  <a:moveTo>
                    <a:pt x="0" y="81"/>
                  </a:move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78"/>
                  </a:lnTo>
                  <a:lnTo>
                    <a:pt x="5" y="78"/>
                  </a:lnTo>
                  <a:lnTo>
                    <a:pt x="7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5" y="78"/>
                  </a:lnTo>
                  <a:lnTo>
                    <a:pt x="13" y="7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8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72" y="50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5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8" y="34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6" y="37"/>
                  </a:lnTo>
                  <a:lnTo>
                    <a:pt x="106" y="34"/>
                  </a:lnTo>
                  <a:lnTo>
                    <a:pt x="108" y="37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11" y="42"/>
                  </a:lnTo>
                  <a:lnTo>
                    <a:pt x="111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6" y="42"/>
                  </a:lnTo>
                  <a:lnTo>
                    <a:pt x="119" y="42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4" y="45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4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2" y="55"/>
                  </a:lnTo>
                  <a:lnTo>
                    <a:pt x="134" y="55"/>
                  </a:lnTo>
                  <a:lnTo>
                    <a:pt x="134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5" y="55"/>
                  </a:lnTo>
                  <a:lnTo>
                    <a:pt x="147" y="55"/>
                  </a:lnTo>
                  <a:lnTo>
                    <a:pt x="150" y="58"/>
                  </a:lnTo>
                  <a:lnTo>
                    <a:pt x="150" y="58"/>
                  </a:lnTo>
                  <a:lnTo>
                    <a:pt x="150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3" y="60"/>
                  </a:lnTo>
                  <a:lnTo>
                    <a:pt x="165" y="60"/>
                  </a:lnTo>
                  <a:lnTo>
                    <a:pt x="165" y="60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3" y="63"/>
                  </a:lnTo>
                  <a:lnTo>
                    <a:pt x="165" y="63"/>
                  </a:lnTo>
                  <a:lnTo>
                    <a:pt x="165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8" y="65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1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5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6" y="68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4" y="70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4" y="68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6" y="65"/>
                  </a:lnTo>
                  <a:lnTo>
                    <a:pt x="199" y="63"/>
                  </a:lnTo>
                  <a:lnTo>
                    <a:pt x="199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09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0" y="58"/>
                  </a:lnTo>
                  <a:lnTo>
                    <a:pt x="222" y="58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0" y="55"/>
                  </a:lnTo>
                  <a:lnTo>
                    <a:pt x="222" y="55"/>
                  </a:lnTo>
                  <a:lnTo>
                    <a:pt x="222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8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3" y="50"/>
                  </a:lnTo>
                  <a:lnTo>
                    <a:pt x="233" y="50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5"/>
                  </a:lnTo>
                  <a:lnTo>
                    <a:pt x="235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40" y="52"/>
                  </a:lnTo>
                  <a:lnTo>
                    <a:pt x="240" y="50"/>
                  </a:lnTo>
                  <a:lnTo>
                    <a:pt x="243" y="50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3" y="47"/>
                  </a:lnTo>
                  <a:lnTo>
                    <a:pt x="246" y="47"/>
                  </a:lnTo>
                  <a:lnTo>
                    <a:pt x="246" y="47"/>
                  </a:lnTo>
                  <a:lnTo>
                    <a:pt x="248" y="47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42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1" y="37"/>
                  </a:lnTo>
                  <a:lnTo>
                    <a:pt x="251" y="37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4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32"/>
                  </a:lnTo>
                  <a:lnTo>
                    <a:pt x="253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9" y="26"/>
                  </a:lnTo>
                  <a:lnTo>
                    <a:pt x="259" y="26"/>
                  </a:lnTo>
                  <a:lnTo>
                    <a:pt x="261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4" y="24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4" y="21"/>
                  </a:lnTo>
                  <a:lnTo>
                    <a:pt x="266" y="21"/>
                  </a:lnTo>
                  <a:lnTo>
                    <a:pt x="266" y="19"/>
                  </a:lnTo>
                  <a:lnTo>
                    <a:pt x="269" y="16"/>
                  </a:lnTo>
                  <a:lnTo>
                    <a:pt x="272" y="16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9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4" y="13"/>
                  </a:lnTo>
                  <a:lnTo>
                    <a:pt x="284" y="11"/>
                  </a:lnTo>
                  <a:lnTo>
                    <a:pt x="284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82" y="11"/>
                  </a:lnTo>
                  <a:lnTo>
                    <a:pt x="279" y="8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6"/>
                  </a:lnTo>
                  <a:lnTo>
                    <a:pt x="279" y="3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2" y="3"/>
                  </a:lnTo>
                  <a:lnTo>
                    <a:pt x="284" y="6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3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2" y="19"/>
                  </a:lnTo>
                  <a:lnTo>
                    <a:pt x="295" y="19"/>
                  </a:lnTo>
                  <a:lnTo>
                    <a:pt x="295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4"/>
                  </a:lnTo>
                  <a:lnTo>
                    <a:pt x="292" y="24"/>
                  </a:lnTo>
                  <a:lnTo>
                    <a:pt x="295" y="24"/>
                  </a:lnTo>
                  <a:lnTo>
                    <a:pt x="297" y="24"/>
                  </a:lnTo>
                  <a:lnTo>
                    <a:pt x="300" y="24"/>
                  </a:lnTo>
                  <a:lnTo>
                    <a:pt x="303" y="24"/>
                  </a:lnTo>
                  <a:lnTo>
                    <a:pt x="303" y="21"/>
                  </a:lnTo>
                  <a:lnTo>
                    <a:pt x="305" y="24"/>
                  </a:lnTo>
                  <a:lnTo>
                    <a:pt x="308" y="24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6" y="26"/>
                  </a:lnTo>
                  <a:lnTo>
                    <a:pt x="313" y="26"/>
                  </a:lnTo>
                  <a:lnTo>
                    <a:pt x="316" y="24"/>
                  </a:lnTo>
                  <a:lnTo>
                    <a:pt x="318" y="24"/>
                  </a:lnTo>
                  <a:lnTo>
                    <a:pt x="318" y="21"/>
                  </a:lnTo>
                  <a:lnTo>
                    <a:pt x="318" y="21"/>
                  </a:lnTo>
                  <a:lnTo>
                    <a:pt x="321" y="24"/>
                  </a:lnTo>
                  <a:lnTo>
                    <a:pt x="323" y="24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8" y="24"/>
                  </a:lnTo>
                  <a:lnTo>
                    <a:pt x="328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6"/>
                  </a:lnTo>
                  <a:lnTo>
                    <a:pt x="331" y="29"/>
                  </a:lnTo>
                  <a:lnTo>
                    <a:pt x="331" y="32"/>
                  </a:lnTo>
                  <a:lnTo>
                    <a:pt x="328" y="37"/>
                  </a:lnTo>
                  <a:lnTo>
                    <a:pt x="326" y="39"/>
                  </a:lnTo>
                  <a:lnTo>
                    <a:pt x="323" y="42"/>
                  </a:lnTo>
                  <a:lnTo>
                    <a:pt x="321" y="45"/>
                  </a:lnTo>
                  <a:lnTo>
                    <a:pt x="318" y="47"/>
                  </a:lnTo>
                  <a:lnTo>
                    <a:pt x="316" y="50"/>
                  </a:lnTo>
                  <a:lnTo>
                    <a:pt x="313" y="52"/>
                  </a:lnTo>
                  <a:lnTo>
                    <a:pt x="318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31" y="55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9" y="47"/>
                  </a:lnTo>
                  <a:lnTo>
                    <a:pt x="339" y="47"/>
                  </a:lnTo>
                  <a:lnTo>
                    <a:pt x="339" y="45"/>
                  </a:lnTo>
                  <a:lnTo>
                    <a:pt x="341" y="45"/>
                  </a:lnTo>
                  <a:lnTo>
                    <a:pt x="344" y="45"/>
                  </a:lnTo>
                  <a:lnTo>
                    <a:pt x="344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7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2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4" y="50"/>
                  </a:lnTo>
                  <a:lnTo>
                    <a:pt x="354" y="52"/>
                  </a:lnTo>
                  <a:lnTo>
                    <a:pt x="354" y="52"/>
                  </a:lnTo>
                  <a:lnTo>
                    <a:pt x="354" y="55"/>
                  </a:lnTo>
                  <a:lnTo>
                    <a:pt x="354" y="55"/>
                  </a:lnTo>
                  <a:lnTo>
                    <a:pt x="352" y="55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52" y="58"/>
                  </a:lnTo>
                  <a:lnTo>
                    <a:pt x="349" y="58"/>
                  </a:lnTo>
                  <a:lnTo>
                    <a:pt x="349" y="58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0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9" y="63"/>
                  </a:lnTo>
                  <a:lnTo>
                    <a:pt x="347" y="63"/>
                  </a:lnTo>
                  <a:lnTo>
                    <a:pt x="347" y="63"/>
                  </a:lnTo>
                  <a:lnTo>
                    <a:pt x="347" y="65"/>
                  </a:lnTo>
                  <a:lnTo>
                    <a:pt x="347" y="68"/>
                  </a:lnTo>
                  <a:lnTo>
                    <a:pt x="344" y="68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7" y="70"/>
                  </a:lnTo>
                  <a:lnTo>
                    <a:pt x="347" y="73"/>
                  </a:lnTo>
                  <a:lnTo>
                    <a:pt x="347" y="73"/>
                  </a:lnTo>
                  <a:lnTo>
                    <a:pt x="347" y="76"/>
                  </a:lnTo>
                  <a:lnTo>
                    <a:pt x="347" y="76"/>
                  </a:lnTo>
                  <a:lnTo>
                    <a:pt x="347" y="78"/>
                  </a:lnTo>
                  <a:lnTo>
                    <a:pt x="347" y="81"/>
                  </a:lnTo>
                  <a:lnTo>
                    <a:pt x="344" y="83"/>
                  </a:lnTo>
                  <a:lnTo>
                    <a:pt x="344" y="86"/>
                  </a:lnTo>
                  <a:lnTo>
                    <a:pt x="341" y="89"/>
                  </a:lnTo>
                  <a:lnTo>
                    <a:pt x="341" y="91"/>
                  </a:lnTo>
                  <a:lnTo>
                    <a:pt x="339" y="91"/>
                  </a:lnTo>
                  <a:lnTo>
                    <a:pt x="336" y="96"/>
                  </a:lnTo>
                  <a:lnTo>
                    <a:pt x="334" y="99"/>
                  </a:lnTo>
                  <a:lnTo>
                    <a:pt x="328" y="102"/>
                  </a:lnTo>
                  <a:lnTo>
                    <a:pt x="326" y="102"/>
                  </a:lnTo>
                  <a:lnTo>
                    <a:pt x="323" y="102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1" y="109"/>
                  </a:lnTo>
                  <a:lnTo>
                    <a:pt x="321" y="112"/>
                  </a:lnTo>
                  <a:lnTo>
                    <a:pt x="321" y="115"/>
                  </a:lnTo>
                  <a:lnTo>
                    <a:pt x="321" y="117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21" y="122"/>
                  </a:lnTo>
                  <a:lnTo>
                    <a:pt x="321" y="125"/>
                  </a:lnTo>
                  <a:lnTo>
                    <a:pt x="318" y="125"/>
                  </a:lnTo>
                  <a:lnTo>
                    <a:pt x="318" y="128"/>
                  </a:lnTo>
                  <a:lnTo>
                    <a:pt x="318" y="130"/>
                  </a:lnTo>
                  <a:lnTo>
                    <a:pt x="321" y="130"/>
                  </a:lnTo>
                  <a:lnTo>
                    <a:pt x="323" y="130"/>
                  </a:lnTo>
                  <a:lnTo>
                    <a:pt x="326" y="130"/>
                  </a:lnTo>
                  <a:lnTo>
                    <a:pt x="328" y="130"/>
                  </a:lnTo>
                  <a:lnTo>
                    <a:pt x="328" y="133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4" y="138"/>
                  </a:lnTo>
                  <a:lnTo>
                    <a:pt x="339" y="140"/>
                  </a:lnTo>
                  <a:lnTo>
                    <a:pt x="341" y="143"/>
                  </a:lnTo>
                  <a:lnTo>
                    <a:pt x="344" y="146"/>
                  </a:lnTo>
                  <a:lnTo>
                    <a:pt x="347" y="146"/>
                  </a:lnTo>
                  <a:lnTo>
                    <a:pt x="347" y="148"/>
                  </a:lnTo>
                  <a:lnTo>
                    <a:pt x="349" y="148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2" y="151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2" y="153"/>
                  </a:lnTo>
                  <a:lnTo>
                    <a:pt x="354" y="153"/>
                  </a:lnTo>
                  <a:lnTo>
                    <a:pt x="354" y="156"/>
                  </a:lnTo>
                  <a:lnTo>
                    <a:pt x="354" y="156"/>
                  </a:lnTo>
                  <a:lnTo>
                    <a:pt x="357" y="156"/>
                  </a:lnTo>
                  <a:lnTo>
                    <a:pt x="357" y="159"/>
                  </a:lnTo>
                  <a:lnTo>
                    <a:pt x="360" y="161"/>
                  </a:lnTo>
                  <a:lnTo>
                    <a:pt x="360" y="161"/>
                  </a:lnTo>
                  <a:lnTo>
                    <a:pt x="362" y="164"/>
                  </a:lnTo>
                  <a:lnTo>
                    <a:pt x="365" y="164"/>
                  </a:lnTo>
                  <a:lnTo>
                    <a:pt x="367" y="166"/>
                  </a:lnTo>
                  <a:lnTo>
                    <a:pt x="370" y="166"/>
                  </a:lnTo>
                  <a:lnTo>
                    <a:pt x="370" y="169"/>
                  </a:lnTo>
                  <a:lnTo>
                    <a:pt x="372" y="172"/>
                  </a:lnTo>
                  <a:lnTo>
                    <a:pt x="375" y="172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2" y="177"/>
                  </a:lnTo>
                  <a:lnTo>
                    <a:pt x="372" y="179"/>
                  </a:lnTo>
                  <a:lnTo>
                    <a:pt x="372" y="182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5" y="187"/>
                  </a:lnTo>
                  <a:lnTo>
                    <a:pt x="372" y="190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72" y="192"/>
                  </a:lnTo>
                  <a:lnTo>
                    <a:pt x="367" y="198"/>
                  </a:lnTo>
                  <a:lnTo>
                    <a:pt x="367" y="198"/>
                  </a:lnTo>
                  <a:lnTo>
                    <a:pt x="365" y="198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0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3"/>
                  </a:lnTo>
                  <a:lnTo>
                    <a:pt x="365" y="205"/>
                  </a:lnTo>
                  <a:lnTo>
                    <a:pt x="365" y="205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5" y="208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7" y="213"/>
                  </a:lnTo>
                  <a:lnTo>
                    <a:pt x="367" y="213"/>
                  </a:lnTo>
                  <a:lnTo>
                    <a:pt x="367" y="216"/>
                  </a:lnTo>
                  <a:lnTo>
                    <a:pt x="367" y="218"/>
                  </a:lnTo>
                  <a:lnTo>
                    <a:pt x="370" y="221"/>
                  </a:lnTo>
                  <a:lnTo>
                    <a:pt x="367" y="223"/>
                  </a:lnTo>
                  <a:lnTo>
                    <a:pt x="367" y="223"/>
                  </a:lnTo>
                  <a:lnTo>
                    <a:pt x="370" y="223"/>
                  </a:lnTo>
                  <a:lnTo>
                    <a:pt x="370" y="226"/>
                  </a:lnTo>
                  <a:lnTo>
                    <a:pt x="372" y="226"/>
                  </a:lnTo>
                  <a:lnTo>
                    <a:pt x="375" y="229"/>
                  </a:lnTo>
                  <a:lnTo>
                    <a:pt x="378" y="229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3" y="231"/>
                  </a:lnTo>
                  <a:lnTo>
                    <a:pt x="383" y="231"/>
                  </a:lnTo>
                  <a:lnTo>
                    <a:pt x="383" y="234"/>
                  </a:lnTo>
                  <a:lnTo>
                    <a:pt x="383" y="236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80" y="242"/>
                  </a:lnTo>
                  <a:lnTo>
                    <a:pt x="383" y="242"/>
                  </a:lnTo>
                  <a:lnTo>
                    <a:pt x="383" y="242"/>
                  </a:lnTo>
                  <a:lnTo>
                    <a:pt x="383" y="244"/>
                  </a:lnTo>
                  <a:lnTo>
                    <a:pt x="383" y="244"/>
                  </a:lnTo>
                  <a:lnTo>
                    <a:pt x="383" y="247"/>
                  </a:lnTo>
                  <a:lnTo>
                    <a:pt x="380" y="247"/>
                  </a:lnTo>
                  <a:lnTo>
                    <a:pt x="380" y="249"/>
                  </a:lnTo>
                  <a:lnTo>
                    <a:pt x="380" y="249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0" y="255"/>
                  </a:lnTo>
                  <a:lnTo>
                    <a:pt x="383" y="257"/>
                  </a:lnTo>
                  <a:lnTo>
                    <a:pt x="385" y="260"/>
                  </a:lnTo>
                  <a:lnTo>
                    <a:pt x="388" y="260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2"/>
                  </a:lnTo>
                  <a:lnTo>
                    <a:pt x="388" y="268"/>
                  </a:lnTo>
                  <a:lnTo>
                    <a:pt x="388" y="270"/>
                  </a:lnTo>
                  <a:lnTo>
                    <a:pt x="385" y="273"/>
                  </a:lnTo>
                  <a:lnTo>
                    <a:pt x="383" y="273"/>
                  </a:lnTo>
                  <a:lnTo>
                    <a:pt x="385" y="273"/>
                  </a:lnTo>
                  <a:lnTo>
                    <a:pt x="385" y="275"/>
                  </a:lnTo>
                  <a:lnTo>
                    <a:pt x="383" y="275"/>
                  </a:lnTo>
                  <a:lnTo>
                    <a:pt x="383" y="278"/>
                  </a:lnTo>
                  <a:lnTo>
                    <a:pt x="383" y="278"/>
                  </a:lnTo>
                  <a:lnTo>
                    <a:pt x="383" y="280"/>
                  </a:lnTo>
                  <a:lnTo>
                    <a:pt x="383" y="280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3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6"/>
                  </a:lnTo>
                  <a:lnTo>
                    <a:pt x="383" y="288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80" y="291"/>
                  </a:lnTo>
                  <a:lnTo>
                    <a:pt x="378" y="293"/>
                  </a:lnTo>
                  <a:lnTo>
                    <a:pt x="378" y="296"/>
                  </a:lnTo>
                  <a:lnTo>
                    <a:pt x="375" y="296"/>
                  </a:lnTo>
                  <a:lnTo>
                    <a:pt x="375" y="299"/>
                  </a:lnTo>
                  <a:lnTo>
                    <a:pt x="375" y="299"/>
                  </a:lnTo>
                  <a:lnTo>
                    <a:pt x="372" y="299"/>
                  </a:lnTo>
                  <a:lnTo>
                    <a:pt x="372" y="299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2" y="301"/>
                  </a:lnTo>
                  <a:lnTo>
                    <a:pt x="370" y="301"/>
                  </a:lnTo>
                  <a:lnTo>
                    <a:pt x="370" y="301"/>
                  </a:lnTo>
                  <a:lnTo>
                    <a:pt x="370" y="304"/>
                  </a:lnTo>
                  <a:lnTo>
                    <a:pt x="370" y="304"/>
                  </a:lnTo>
                  <a:lnTo>
                    <a:pt x="370" y="306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5" y="309"/>
                  </a:lnTo>
                  <a:lnTo>
                    <a:pt x="375" y="309"/>
                  </a:lnTo>
                  <a:lnTo>
                    <a:pt x="375" y="312"/>
                  </a:lnTo>
                  <a:lnTo>
                    <a:pt x="375" y="312"/>
                  </a:lnTo>
                  <a:lnTo>
                    <a:pt x="378" y="314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7"/>
                  </a:lnTo>
                  <a:lnTo>
                    <a:pt x="378" y="319"/>
                  </a:lnTo>
                  <a:lnTo>
                    <a:pt x="378" y="322"/>
                  </a:lnTo>
                  <a:lnTo>
                    <a:pt x="380" y="322"/>
                  </a:lnTo>
                  <a:lnTo>
                    <a:pt x="383" y="325"/>
                  </a:lnTo>
                  <a:lnTo>
                    <a:pt x="385" y="327"/>
                  </a:lnTo>
                  <a:lnTo>
                    <a:pt x="388" y="330"/>
                  </a:lnTo>
                  <a:lnTo>
                    <a:pt x="388" y="332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5"/>
                  </a:lnTo>
                  <a:lnTo>
                    <a:pt x="388" y="338"/>
                  </a:lnTo>
                  <a:lnTo>
                    <a:pt x="388" y="340"/>
                  </a:lnTo>
                  <a:lnTo>
                    <a:pt x="388" y="340"/>
                  </a:lnTo>
                  <a:lnTo>
                    <a:pt x="391" y="343"/>
                  </a:lnTo>
                  <a:lnTo>
                    <a:pt x="391" y="343"/>
                  </a:lnTo>
                  <a:lnTo>
                    <a:pt x="388" y="343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5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83" y="348"/>
                  </a:lnTo>
                  <a:lnTo>
                    <a:pt x="383" y="348"/>
                  </a:lnTo>
                  <a:lnTo>
                    <a:pt x="383" y="350"/>
                  </a:lnTo>
                  <a:lnTo>
                    <a:pt x="380" y="350"/>
                  </a:lnTo>
                  <a:lnTo>
                    <a:pt x="380" y="350"/>
                  </a:lnTo>
                  <a:lnTo>
                    <a:pt x="380" y="353"/>
                  </a:lnTo>
                  <a:lnTo>
                    <a:pt x="378" y="353"/>
                  </a:lnTo>
                  <a:lnTo>
                    <a:pt x="375" y="350"/>
                  </a:lnTo>
                  <a:lnTo>
                    <a:pt x="375" y="350"/>
                  </a:lnTo>
                  <a:lnTo>
                    <a:pt x="372" y="353"/>
                  </a:lnTo>
                  <a:lnTo>
                    <a:pt x="372" y="353"/>
                  </a:lnTo>
                  <a:lnTo>
                    <a:pt x="372" y="350"/>
                  </a:lnTo>
                  <a:lnTo>
                    <a:pt x="372" y="350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70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5" y="348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5" y="350"/>
                  </a:lnTo>
                  <a:lnTo>
                    <a:pt x="362" y="350"/>
                  </a:lnTo>
                  <a:lnTo>
                    <a:pt x="360" y="350"/>
                  </a:lnTo>
                  <a:lnTo>
                    <a:pt x="357" y="350"/>
                  </a:lnTo>
                  <a:lnTo>
                    <a:pt x="354" y="350"/>
                  </a:lnTo>
                  <a:lnTo>
                    <a:pt x="354" y="350"/>
                  </a:lnTo>
                  <a:lnTo>
                    <a:pt x="354" y="353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49" y="353"/>
                  </a:lnTo>
                  <a:lnTo>
                    <a:pt x="349" y="356"/>
                  </a:lnTo>
                  <a:lnTo>
                    <a:pt x="347" y="356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4" y="358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61"/>
                  </a:lnTo>
                  <a:lnTo>
                    <a:pt x="341" y="358"/>
                  </a:lnTo>
                  <a:lnTo>
                    <a:pt x="339" y="358"/>
                  </a:lnTo>
                  <a:lnTo>
                    <a:pt x="339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4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28" y="356"/>
                  </a:lnTo>
                  <a:lnTo>
                    <a:pt x="328" y="356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3" y="353"/>
                  </a:lnTo>
                  <a:lnTo>
                    <a:pt x="321" y="353"/>
                  </a:lnTo>
                  <a:lnTo>
                    <a:pt x="321" y="353"/>
                  </a:lnTo>
                  <a:lnTo>
                    <a:pt x="318" y="353"/>
                  </a:lnTo>
                  <a:lnTo>
                    <a:pt x="318" y="356"/>
                  </a:lnTo>
                  <a:lnTo>
                    <a:pt x="318" y="356"/>
                  </a:lnTo>
                  <a:lnTo>
                    <a:pt x="321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6" y="358"/>
                  </a:lnTo>
                  <a:lnTo>
                    <a:pt x="316" y="361"/>
                  </a:lnTo>
                  <a:lnTo>
                    <a:pt x="316" y="361"/>
                  </a:lnTo>
                  <a:lnTo>
                    <a:pt x="316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3"/>
                  </a:lnTo>
                  <a:lnTo>
                    <a:pt x="313" y="366"/>
                  </a:lnTo>
                  <a:lnTo>
                    <a:pt x="313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08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08" y="374"/>
                  </a:lnTo>
                  <a:lnTo>
                    <a:pt x="310" y="374"/>
                  </a:lnTo>
                  <a:lnTo>
                    <a:pt x="310" y="374"/>
                  </a:lnTo>
                  <a:lnTo>
                    <a:pt x="310" y="376"/>
                  </a:lnTo>
                  <a:lnTo>
                    <a:pt x="310" y="376"/>
                  </a:lnTo>
                  <a:lnTo>
                    <a:pt x="308" y="376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8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79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5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3" y="382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5" y="382"/>
                  </a:lnTo>
                  <a:lnTo>
                    <a:pt x="295" y="382"/>
                  </a:lnTo>
                  <a:lnTo>
                    <a:pt x="292" y="382"/>
                  </a:lnTo>
                  <a:lnTo>
                    <a:pt x="290" y="382"/>
                  </a:lnTo>
                  <a:lnTo>
                    <a:pt x="287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2"/>
                  </a:lnTo>
                  <a:lnTo>
                    <a:pt x="284" y="384"/>
                  </a:lnTo>
                  <a:lnTo>
                    <a:pt x="284" y="384"/>
                  </a:lnTo>
                  <a:lnTo>
                    <a:pt x="282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9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4" y="387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4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72" y="384"/>
                  </a:lnTo>
                  <a:lnTo>
                    <a:pt x="269" y="384"/>
                  </a:lnTo>
                  <a:lnTo>
                    <a:pt x="269" y="382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9" y="384"/>
                  </a:lnTo>
                  <a:lnTo>
                    <a:pt x="266" y="382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4" y="384"/>
                  </a:lnTo>
                  <a:lnTo>
                    <a:pt x="261" y="384"/>
                  </a:lnTo>
                  <a:lnTo>
                    <a:pt x="261" y="384"/>
                  </a:lnTo>
                  <a:lnTo>
                    <a:pt x="259" y="384"/>
                  </a:lnTo>
                  <a:lnTo>
                    <a:pt x="259" y="382"/>
                  </a:lnTo>
                  <a:lnTo>
                    <a:pt x="259" y="382"/>
                  </a:lnTo>
                  <a:lnTo>
                    <a:pt x="256" y="382"/>
                  </a:lnTo>
                  <a:lnTo>
                    <a:pt x="253" y="382"/>
                  </a:lnTo>
                  <a:lnTo>
                    <a:pt x="253" y="384"/>
                  </a:lnTo>
                  <a:lnTo>
                    <a:pt x="253" y="382"/>
                  </a:lnTo>
                  <a:lnTo>
                    <a:pt x="253" y="382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1" y="379"/>
                  </a:lnTo>
                  <a:lnTo>
                    <a:pt x="251" y="379"/>
                  </a:lnTo>
                  <a:lnTo>
                    <a:pt x="248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6"/>
                  </a:lnTo>
                  <a:lnTo>
                    <a:pt x="246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35" y="371"/>
                  </a:lnTo>
                  <a:lnTo>
                    <a:pt x="235" y="371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5" y="374"/>
                  </a:lnTo>
                  <a:lnTo>
                    <a:pt x="233" y="374"/>
                  </a:lnTo>
                  <a:lnTo>
                    <a:pt x="230" y="371"/>
                  </a:lnTo>
                  <a:lnTo>
                    <a:pt x="228" y="371"/>
                  </a:lnTo>
                  <a:lnTo>
                    <a:pt x="230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8" y="374"/>
                  </a:lnTo>
                  <a:lnTo>
                    <a:pt x="225" y="376"/>
                  </a:lnTo>
                  <a:lnTo>
                    <a:pt x="225" y="376"/>
                  </a:lnTo>
                  <a:lnTo>
                    <a:pt x="225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22" y="379"/>
                  </a:lnTo>
                  <a:lnTo>
                    <a:pt x="222" y="379"/>
                  </a:lnTo>
                  <a:lnTo>
                    <a:pt x="220" y="379"/>
                  </a:lnTo>
                  <a:lnTo>
                    <a:pt x="217" y="379"/>
                  </a:lnTo>
                  <a:lnTo>
                    <a:pt x="217" y="379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6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74"/>
                  </a:lnTo>
                  <a:lnTo>
                    <a:pt x="215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2" y="374"/>
                  </a:lnTo>
                  <a:lnTo>
                    <a:pt x="215" y="371"/>
                  </a:lnTo>
                  <a:lnTo>
                    <a:pt x="215" y="371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9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6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3"/>
                  </a:lnTo>
                  <a:lnTo>
                    <a:pt x="215" y="361"/>
                  </a:lnTo>
                  <a:lnTo>
                    <a:pt x="215" y="361"/>
                  </a:lnTo>
                  <a:lnTo>
                    <a:pt x="217" y="361"/>
                  </a:lnTo>
                  <a:lnTo>
                    <a:pt x="217" y="358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5" y="353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09" y="350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8"/>
                  </a:lnTo>
                  <a:lnTo>
                    <a:pt x="209" y="345"/>
                  </a:lnTo>
                  <a:lnTo>
                    <a:pt x="212" y="345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7" y="343"/>
                  </a:lnTo>
                  <a:lnTo>
                    <a:pt x="207" y="340"/>
                  </a:lnTo>
                  <a:lnTo>
                    <a:pt x="207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0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4" y="343"/>
                  </a:lnTo>
                  <a:lnTo>
                    <a:pt x="202" y="340"/>
                  </a:lnTo>
                  <a:lnTo>
                    <a:pt x="202" y="340"/>
                  </a:lnTo>
                  <a:lnTo>
                    <a:pt x="199" y="340"/>
                  </a:lnTo>
                  <a:lnTo>
                    <a:pt x="199" y="338"/>
                  </a:lnTo>
                  <a:lnTo>
                    <a:pt x="199" y="335"/>
                  </a:lnTo>
                  <a:lnTo>
                    <a:pt x="199" y="335"/>
                  </a:lnTo>
                  <a:lnTo>
                    <a:pt x="202" y="332"/>
                  </a:lnTo>
                  <a:lnTo>
                    <a:pt x="204" y="332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5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7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4"/>
                  </a:lnTo>
                  <a:lnTo>
                    <a:pt x="209" y="312"/>
                  </a:lnTo>
                  <a:lnTo>
                    <a:pt x="209" y="309"/>
                  </a:lnTo>
                  <a:lnTo>
                    <a:pt x="209" y="306"/>
                  </a:lnTo>
                  <a:lnTo>
                    <a:pt x="207" y="304"/>
                  </a:lnTo>
                  <a:lnTo>
                    <a:pt x="207" y="301"/>
                  </a:lnTo>
                  <a:lnTo>
                    <a:pt x="207" y="299"/>
                  </a:lnTo>
                  <a:lnTo>
                    <a:pt x="207" y="299"/>
                  </a:lnTo>
                  <a:lnTo>
                    <a:pt x="209" y="299"/>
                  </a:lnTo>
                  <a:lnTo>
                    <a:pt x="209" y="299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7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3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6" y="291"/>
                  </a:lnTo>
                  <a:lnTo>
                    <a:pt x="194" y="291"/>
                  </a:lnTo>
                  <a:lnTo>
                    <a:pt x="194" y="291"/>
                  </a:lnTo>
                  <a:lnTo>
                    <a:pt x="191" y="291"/>
                  </a:lnTo>
                  <a:lnTo>
                    <a:pt x="191" y="291"/>
                  </a:lnTo>
                  <a:lnTo>
                    <a:pt x="189" y="291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9" y="286"/>
                  </a:lnTo>
                  <a:lnTo>
                    <a:pt x="186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1" y="286"/>
                  </a:lnTo>
                  <a:lnTo>
                    <a:pt x="181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3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73" y="280"/>
                  </a:lnTo>
                  <a:lnTo>
                    <a:pt x="171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0" y="275"/>
                  </a:lnTo>
                  <a:lnTo>
                    <a:pt x="160" y="273"/>
                  </a:lnTo>
                  <a:lnTo>
                    <a:pt x="160" y="273"/>
                  </a:lnTo>
                  <a:lnTo>
                    <a:pt x="158" y="273"/>
                  </a:lnTo>
                  <a:lnTo>
                    <a:pt x="158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5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3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2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50" y="275"/>
                  </a:lnTo>
                  <a:lnTo>
                    <a:pt x="147" y="278"/>
                  </a:lnTo>
                  <a:lnTo>
                    <a:pt x="145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2" y="275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40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4" y="270"/>
                  </a:lnTo>
                  <a:lnTo>
                    <a:pt x="134" y="270"/>
                  </a:lnTo>
                  <a:lnTo>
                    <a:pt x="134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68"/>
                  </a:lnTo>
                  <a:lnTo>
                    <a:pt x="132" y="270"/>
                  </a:lnTo>
                  <a:lnTo>
                    <a:pt x="132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7" y="268"/>
                  </a:lnTo>
                  <a:lnTo>
                    <a:pt x="124" y="268"/>
                  </a:lnTo>
                  <a:lnTo>
                    <a:pt x="124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19" y="265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16" y="260"/>
                  </a:lnTo>
                  <a:lnTo>
                    <a:pt x="116" y="260"/>
                  </a:lnTo>
                  <a:lnTo>
                    <a:pt x="116" y="257"/>
                  </a:lnTo>
                  <a:lnTo>
                    <a:pt x="114" y="257"/>
                  </a:lnTo>
                  <a:lnTo>
                    <a:pt x="114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8" y="249"/>
                  </a:lnTo>
                  <a:lnTo>
                    <a:pt x="106" y="247"/>
                  </a:lnTo>
                  <a:lnTo>
                    <a:pt x="106" y="244"/>
                  </a:lnTo>
                  <a:lnTo>
                    <a:pt x="106" y="242"/>
                  </a:lnTo>
                  <a:lnTo>
                    <a:pt x="106" y="242"/>
                  </a:lnTo>
                  <a:lnTo>
                    <a:pt x="108" y="242"/>
                  </a:lnTo>
                  <a:lnTo>
                    <a:pt x="108" y="242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1" y="236"/>
                  </a:lnTo>
                  <a:lnTo>
                    <a:pt x="111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1" y="234"/>
                  </a:lnTo>
                  <a:lnTo>
                    <a:pt x="108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6"/>
                  </a:lnTo>
                  <a:lnTo>
                    <a:pt x="108" y="223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4" y="216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6" y="198"/>
                  </a:lnTo>
                  <a:lnTo>
                    <a:pt x="114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9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9" y="187"/>
                  </a:lnTo>
                  <a:lnTo>
                    <a:pt x="116" y="187"/>
                  </a:lnTo>
                  <a:lnTo>
                    <a:pt x="114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8" y="182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82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6" y="182"/>
                  </a:lnTo>
                  <a:lnTo>
                    <a:pt x="96" y="179"/>
                  </a:lnTo>
                  <a:lnTo>
                    <a:pt x="98" y="179"/>
                  </a:lnTo>
                  <a:lnTo>
                    <a:pt x="98" y="177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69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1"/>
                  </a:lnTo>
                  <a:lnTo>
                    <a:pt x="106" y="159"/>
                  </a:lnTo>
                  <a:lnTo>
                    <a:pt x="106" y="156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6" y="156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6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3"/>
                  </a:lnTo>
                  <a:lnTo>
                    <a:pt x="103" y="143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0"/>
                  </a:lnTo>
                  <a:lnTo>
                    <a:pt x="108" y="128"/>
                  </a:lnTo>
                  <a:lnTo>
                    <a:pt x="108" y="125"/>
                  </a:lnTo>
                  <a:lnTo>
                    <a:pt x="106" y="125"/>
                  </a:lnTo>
                  <a:lnTo>
                    <a:pt x="106" y="125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1" y="120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3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77" y="120"/>
                  </a:lnTo>
                  <a:lnTo>
                    <a:pt x="77" y="120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2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6"/>
                  </a:lnTo>
                  <a:lnTo>
                    <a:pt x="44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39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28" y="89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3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5" y="86"/>
                  </a:lnTo>
                  <a:lnTo>
                    <a:pt x="13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5" y="86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7" name="Freeform 147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0 w 73"/>
                <a:gd name="T1" fmla="*/ 47 h 60"/>
                <a:gd name="T2" fmla="*/ 0 w 73"/>
                <a:gd name="T3" fmla="*/ 44 h 60"/>
                <a:gd name="T4" fmla="*/ 3 w 73"/>
                <a:gd name="T5" fmla="*/ 47 h 60"/>
                <a:gd name="T6" fmla="*/ 5 w 73"/>
                <a:gd name="T7" fmla="*/ 47 h 60"/>
                <a:gd name="T8" fmla="*/ 3 w 73"/>
                <a:gd name="T9" fmla="*/ 49 h 60"/>
                <a:gd name="T10" fmla="*/ 8 w 73"/>
                <a:gd name="T11" fmla="*/ 49 h 60"/>
                <a:gd name="T12" fmla="*/ 8 w 73"/>
                <a:gd name="T13" fmla="*/ 47 h 60"/>
                <a:gd name="T14" fmla="*/ 16 w 73"/>
                <a:gd name="T15" fmla="*/ 47 h 60"/>
                <a:gd name="T16" fmla="*/ 24 w 73"/>
                <a:gd name="T17" fmla="*/ 47 h 60"/>
                <a:gd name="T18" fmla="*/ 26 w 73"/>
                <a:gd name="T19" fmla="*/ 44 h 60"/>
                <a:gd name="T20" fmla="*/ 31 w 73"/>
                <a:gd name="T21" fmla="*/ 49 h 60"/>
                <a:gd name="T22" fmla="*/ 36 w 73"/>
                <a:gd name="T23" fmla="*/ 52 h 60"/>
                <a:gd name="T24" fmla="*/ 36 w 73"/>
                <a:gd name="T25" fmla="*/ 47 h 60"/>
                <a:gd name="T26" fmla="*/ 39 w 73"/>
                <a:gd name="T27" fmla="*/ 44 h 60"/>
                <a:gd name="T28" fmla="*/ 44 w 73"/>
                <a:gd name="T29" fmla="*/ 47 h 60"/>
                <a:gd name="T30" fmla="*/ 49 w 73"/>
                <a:gd name="T31" fmla="*/ 49 h 60"/>
                <a:gd name="T32" fmla="*/ 55 w 73"/>
                <a:gd name="T33" fmla="*/ 49 h 60"/>
                <a:gd name="T34" fmla="*/ 60 w 73"/>
                <a:gd name="T35" fmla="*/ 52 h 60"/>
                <a:gd name="T36" fmla="*/ 60 w 73"/>
                <a:gd name="T37" fmla="*/ 54 h 60"/>
                <a:gd name="T38" fmla="*/ 62 w 73"/>
                <a:gd name="T39" fmla="*/ 57 h 60"/>
                <a:gd name="T40" fmla="*/ 65 w 73"/>
                <a:gd name="T41" fmla="*/ 52 h 60"/>
                <a:gd name="T42" fmla="*/ 65 w 73"/>
                <a:gd name="T43" fmla="*/ 49 h 60"/>
                <a:gd name="T44" fmla="*/ 70 w 73"/>
                <a:gd name="T45" fmla="*/ 47 h 60"/>
                <a:gd name="T46" fmla="*/ 70 w 73"/>
                <a:gd name="T47" fmla="*/ 42 h 60"/>
                <a:gd name="T48" fmla="*/ 73 w 73"/>
                <a:gd name="T49" fmla="*/ 42 h 60"/>
                <a:gd name="T50" fmla="*/ 73 w 73"/>
                <a:gd name="T51" fmla="*/ 42 h 60"/>
                <a:gd name="T52" fmla="*/ 70 w 73"/>
                <a:gd name="T53" fmla="*/ 39 h 60"/>
                <a:gd name="T54" fmla="*/ 68 w 73"/>
                <a:gd name="T55" fmla="*/ 36 h 60"/>
                <a:gd name="T56" fmla="*/ 62 w 73"/>
                <a:gd name="T57" fmla="*/ 34 h 60"/>
                <a:gd name="T58" fmla="*/ 57 w 73"/>
                <a:gd name="T59" fmla="*/ 36 h 60"/>
                <a:gd name="T60" fmla="*/ 57 w 73"/>
                <a:gd name="T61" fmla="*/ 34 h 60"/>
                <a:gd name="T62" fmla="*/ 60 w 73"/>
                <a:gd name="T63" fmla="*/ 29 h 60"/>
                <a:gd name="T64" fmla="*/ 60 w 73"/>
                <a:gd name="T65" fmla="*/ 26 h 60"/>
                <a:gd name="T66" fmla="*/ 57 w 73"/>
                <a:gd name="T67" fmla="*/ 23 h 60"/>
                <a:gd name="T68" fmla="*/ 52 w 73"/>
                <a:gd name="T69" fmla="*/ 16 h 60"/>
                <a:gd name="T70" fmla="*/ 44 w 73"/>
                <a:gd name="T71" fmla="*/ 10 h 60"/>
                <a:gd name="T72" fmla="*/ 47 w 73"/>
                <a:gd name="T73" fmla="*/ 5 h 60"/>
                <a:gd name="T74" fmla="*/ 42 w 73"/>
                <a:gd name="T75" fmla="*/ 0 h 60"/>
                <a:gd name="T76" fmla="*/ 42 w 73"/>
                <a:gd name="T77" fmla="*/ 0 h 60"/>
                <a:gd name="T78" fmla="*/ 42 w 73"/>
                <a:gd name="T79" fmla="*/ 3 h 60"/>
                <a:gd name="T80" fmla="*/ 39 w 73"/>
                <a:gd name="T81" fmla="*/ 5 h 60"/>
                <a:gd name="T82" fmla="*/ 34 w 73"/>
                <a:gd name="T83" fmla="*/ 5 h 60"/>
                <a:gd name="T84" fmla="*/ 29 w 73"/>
                <a:gd name="T85" fmla="*/ 8 h 60"/>
                <a:gd name="T86" fmla="*/ 24 w 73"/>
                <a:gd name="T87" fmla="*/ 8 h 60"/>
                <a:gd name="T88" fmla="*/ 24 w 73"/>
                <a:gd name="T89" fmla="*/ 3 h 60"/>
                <a:gd name="T90" fmla="*/ 21 w 73"/>
                <a:gd name="T91" fmla="*/ 5 h 60"/>
                <a:gd name="T92" fmla="*/ 18 w 73"/>
                <a:gd name="T93" fmla="*/ 8 h 60"/>
                <a:gd name="T94" fmla="*/ 13 w 73"/>
                <a:gd name="T95" fmla="*/ 10 h 60"/>
                <a:gd name="T96" fmla="*/ 13 w 73"/>
                <a:gd name="T97" fmla="*/ 16 h 60"/>
                <a:gd name="T98" fmla="*/ 5 w 73"/>
                <a:gd name="T99" fmla="*/ 16 h 60"/>
                <a:gd name="T100" fmla="*/ 5 w 73"/>
                <a:gd name="T101" fmla="*/ 16 h 60"/>
                <a:gd name="T102" fmla="*/ 3 w 73"/>
                <a:gd name="T103" fmla="*/ 21 h 60"/>
                <a:gd name="T104" fmla="*/ 5 w 73"/>
                <a:gd name="T105" fmla="*/ 26 h 60"/>
                <a:gd name="T106" fmla="*/ 3 w 73"/>
                <a:gd name="T107" fmla="*/ 34 h 60"/>
                <a:gd name="T108" fmla="*/ 3 w 73"/>
                <a:gd name="T10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1" y="44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47"/>
                  </a:lnTo>
                  <a:lnTo>
                    <a:pt x="26" y="44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2"/>
                  </a:lnTo>
                  <a:lnTo>
                    <a:pt x="68" y="52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29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2" y="16"/>
                  </a:lnTo>
                  <a:lnTo>
                    <a:pt x="49" y="16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4" y="5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5" y="31"/>
                  </a:lnTo>
                  <a:lnTo>
                    <a:pt x="3" y="34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8" name="Freeform 148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0 w 73"/>
                <a:gd name="T1" fmla="*/ 47 h 60"/>
                <a:gd name="T2" fmla="*/ 0 w 73"/>
                <a:gd name="T3" fmla="*/ 44 h 60"/>
                <a:gd name="T4" fmla="*/ 3 w 73"/>
                <a:gd name="T5" fmla="*/ 47 h 60"/>
                <a:gd name="T6" fmla="*/ 5 w 73"/>
                <a:gd name="T7" fmla="*/ 47 h 60"/>
                <a:gd name="T8" fmla="*/ 3 w 73"/>
                <a:gd name="T9" fmla="*/ 49 h 60"/>
                <a:gd name="T10" fmla="*/ 8 w 73"/>
                <a:gd name="T11" fmla="*/ 49 h 60"/>
                <a:gd name="T12" fmla="*/ 8 w 73"/>
                <a:gd name="T13" fmla="*/ 47 h 60"/>
                <a:gd name="T14" fmla="*/ 16 w 73"/>
                <a:gd name="T15" fmla="*/ 47 h 60"/>
                <a:gd name="T16" fmla="*/ 24 w 73"/>
                <a:gd name="T17" fmla="*/ 47 h 60"/>
                <a:gd name="T18" fmla="*/ 26 w 73"/>
                <a:gd name="T19" fmla="*/ 44 h 60"/>
                <a:gd name="T20" fmla="*/ 31 w 73"/>
                <a:gd name="T21" fmla="*/ 49 h 60"/>
                <a:gd name="T22" fmla="*/ 36 w 73"/>
                <a:gd name="T23" fmla="*/ 52 h 60"/>
                <a:gd name="T24" fmla="*/ 36 w 73"/>
                <a:gd name="T25" fmla="*/ 47 h 60"/>
                <a:gd name="T26" fmla="*/ 39 w 73"/>
                <a:gd name="T27" fmla="*/ 44 h 60"/>
                <a:gd name="T28" fmla="*/ 44 w 73"/>
                <a:gd name="T29" fmla="*/ 47 h 60"/>
                <a:gd name="T30" fmla="*/ 49 w 73"/>
                <a:gd name="T31" fmla="*/ 49 h 60"/>
                <a:gd name="T32" fmla="*/ 55 w 73"/>
                <a:gd name="T33" fmla="*/ 49 h 60"/>
                <a:gd name="T34" fmla="*/ 60 w 73"/>
                <a:gd name="T35" fmla="*/ 52 h 60"/>
                <a:gd name="T36" fmla="*/ 60 w 73"/>
                <a:gd name="T37" fmla="*/ 54 h 60"/>
                <a:gd name="T38" fmla="*/ 62 w 73"/>
                <a:gd name="T39" fmla="*/ 57 h 60"/>
                <a:gd name="T40" fmla="*/ 65 w 73"/>
                <a:gd name="T41" fmla="*/ 52 h 60"/>
                <a:gd name="T42" fmla="*/ 65 w 73"/>
                <a:gd name="T43" fmla="*/ 49 h 60"/>
                <a:gd name="T44" fmla="*/ 70 w 73"/>
                <a:gd name="T45" fmla="*/ 47 h 60"/>
                <a:gd name="T46" fmla="*/ 70 w 73"/>
                <a:gd name="T47" fmla="*/ 42 h 60"/>
                <a:gd name="T48" fmla="*/ 73 w 73"/>
                <a:gd name="T49" fmla="*/ 42 h 60"/>
                <a:gd name="T50" fmla="*/ 73 w 73"/>
                <a:gd name="T51" fmla="*/ 42 h 60"/>
                <a:gd name="T52" fmla="*/ 70 w 73"/>
                <a:gd name="T53" fmla="*/ 39 h 60"/>
                <a:gd name="T54" fmla="*/ 68 w 73"/>
                <a:gd name="T55" fmla="*/ 36 h 60"/>
                <a:gd name="T56" fmla="*/ 62 w 73"/>
                <a:gd name="T57" fmla="*/ 34 h 60"/>
                <a:gd name="T58" fmla="*/ 57 w 73"/>
                <a:gd name="T59" fmla="*/ 36 h 60"/>
                <a:gd name="T60" fmla="*/ 57 w 73"/>
                <a:gd name="T61" fmla="*/ 34 h 60"/>
                <a:gd name="T62" fmla="*/ 60 w 73"/>
                <a:gd name="T63" fmla="*/ 29 h 60"/>
                <a:gd name="T64" fmla="*/ 60 w 73"/>
                <a:gd name="T65" fmla="*/ 26 h 60"/>
                <a:gd name="T66" fmla="*/ 57 w 73"/>
                <a:gd name="T67" fmla="*/ 23 h 60"/>
                <a:gd name="T68" fmla="*/ 52 w 73"/>
                <a:gd name="T69" fmla="*/ 16 h 60"/>
                <a:gd name="T70" fmla="*/ 44 w 73"/>
                <a:gd name="T71" fmla="*/ 10 h 60"/>
                <a:gd name="T72" fmla="*/ 47 w 73"/>
                <a:gd name="T73" fmla="*/ 5 h 60"/>
                <a:gd name="T74" fmla="*/ 42 w 73"/>
                <a:gd name="T75" fmla="*/ 0 h 60"/>
                <a:gd name="T76" fmla="*/ 42 w 73"/>
                <a:gd name="T77" fmla="*/ 0 h 60"/>
                <a:gd name="T78" fmla="*/ 42 w 73"/>
                <a:gd name="T79" fmla="*/ 3 h 60"/>
                <a:gd name="T80" fmla="*/ 39 w 73"/>
                <a:gd name="T81" fmla="*/ 5 h 60"/>
                <a:gd name="T82" fmla="*/ 34 w 73"/>
                <a:gd name="T83" fmla="*/ 5 h 60"/>
                <a:gd name="T84" fmla="*/ 29 w 73"/>
                <a:gd name="T85" fmla="*/ 8 h 60"/>
                <a:gd name="T86" fmla="*/ 24 w 73"/>
                <a:gd name="T87" fmla="*/ 8 h 60"/>
                <a:gd name="T88" fmla="*/ 24 w 73"/>
                <a:gd name="T89" fmla="*/ 3 h 60"/>
                <a:gd name="T90" fmla="*/ 21 w 73"/>
                <a:gd name="T91" fmla="*/ 5 h 60"/>
                <a:gd name="T92" fmla="*/ 18 w 73"/>
                <a:gd name="T93" fmla="*/ 8 h 60"/>
                <a:gd name="T94" fmla="*/ 13 w 73"/>
                <a:gd name="T95" fmla="*/ 10 h 60"/>
                <a:gd name="T96" fmla="*/ 13 w 73"/>
                <a:gd name="T97" fmla="*/ 16 h 60"/>
                <a:gd name="T98" fmla="*/ 5 w 73"/>
                <a:gd name="T99" fmla="*/ 16 h 60"/>
                <a:gd name="T100" fmla="*/ 5 w 73"/>
                <a:gd name="T101" fmla="*/ 16 h 60"/>
                <a:gd name="T102" fmla="*/ 3 w 73"/>
                <a:gd name="T103" fmla="*/ 21 h 60"/>
                <a:gd name="T104" fmla="*/ 5 w 73"/>
                <a:gd name="T105" fmla="*/ 26 h 60"/>
                <a:gd name="T106" fmla="*/ 3 w 73"/>
                <a:gd name="T107" fmla="*/ 34 h 60"/>
                <a:gd name="T108" fmla="*/ 3 w 73"/>
                <a:gd name="T10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1" y="44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47"/>
                  </a:lnTo>
                  <a:lnTo>
                    <a:pt x="26" y="44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2"/>
                  </a:lnTo>
                  <a:lnTo>
                    <a:pt x="68" y="52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29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2" y="16"/>
                  </a:lnTo>
                  <a:lnTo>
                    <a:pt x="49" y="16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4" y="5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5" y="31"/>
                  </a:lnTo>
                  <a:lnTo>
                    <a:pt x="3" y="34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09" name="Freeform 149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0 w 73"/>
                <a:gd name="T1" fmla="*/ 47 h 60"/>
                <a:gd name="T2" fmla="*/ 0 w 73"/>
                <a:gd name="T3" fmla="*/ 44 h 60"/>
                <a:gd name="T4" fmla="*/ 3 w 73"/>
                <a:gd name="T5" fmla="*/ 47 h 60"/>
                <a:gd name="T6" fmla="*/ 5 w 73"/>
                <a:gd name="T7" fmla="*/ 47 h 60"/>
                <a:gd name="T8" fmla="*/ 3 w 73"/>
                <a:gd name="T9" fmla="*/ 49 h 60"/>
                <a:gd name="T10" fmla="*/ 8 w 73"/>
                <a:gd name="T11" fmla="*/ 49 h 60"/>
                <a:gd name="T12" fmla="*/ 8 w 73"/>
                <a:gd name="T13" fmla="*/ 47 h 60"/>
                <a:gd name="T14" fmla="*/ 16 w 73"/>
                <a:gd name="T15" fmla="*/ 47 h 60"/>
                <a:gd name="T16" fmla="*/ 24 w 73"/>
                <a:gd name="T17" fmla="*/ 47 h 60"/>
                <a:gd name="T18" fmla="*/ 26 w 73"/>
                <a:gd name="T19" fmla="*/ 44 h 60"/>
                <a:gd name="T20" fmla="*/ 31 w 73"/>
                <a:gd name="T21" fmla="*/ 49 h 60"/>
                <a:gd name="T22" fmla="*/ 36 w 73"/>
                <a:gd name="T23" fmla="*/ 52 h 60"/>
                <a:gd name="T24" fmla="*/ 36 w 73"/>
                <a:gd name="T25" fmla="*/ 47 h 60"/>
                <a:gd name="T26" fmla="*/ 39 w 73"/>
                <a:gd name="T27" fmla="*/ 44 h 60"/>
                <a:gd name="T28" fmla="*/ 44 w 73"/>
                <a:gd name="T29" fmla="*/ 47 h 60"/>
                <a:gd name="T30" fmla="*/ 49 w 73"/>
                <a:gd name="T31" fmla="*/ 49 h 60"/>
                <a:gd name="T32" fmla="*/ 55 w 73"/>
                <a:gd name="T33" fmla="*/ 49 h 60"/>
                <a:gd name="T34" fmla="*/ 60 w 73"/>
                <a:gd name="T35" fmla="*/ 52 h 60"/>
                <a:gd name="T36" fmla="*/ 60 w 73"/>
                <a:gd name="T37" fmla="*/ 54 h 60"/>
                <a:gd name="T38" fmla="*/ 62 w 73"/>
                <a:gd name="T39" fmla="*/ 57 h 60"/>
                <a:gd name="T40" fmla="*/ 65 w 73"/>
                <a:gd name="T41" fmla="*/ 52 h 60"/>
                <a:gd name="T42" fmla="*/ 65 w 73"/>
                <a:gd name="T43" fmla="*/ 49 h 60"/>
                <a:gd name="T44" fmla="*/ 70 w 73"/>
                <a:gd name="T45" fmla="*/ 47 h 60"/>
                <a:gd name="T46" fmla="*/ 70 w 73"/>
                <a:gd name="T47" fmla="*/ 42 h 60"/>
                <a:gd name="T48" fmla="*/ 73 w 73"/>
                <a:gd name="T49" fmla="*/ 42 h 60"/>
                <a:gd name="T50" fmla="*/ 73 w 73"/>
                <a:gd name="T51" fmla="*/ 42 h 60"/>
                <a:gd name="T52" fmla="*/ 70 w 73"/>
                <a:gd name="T53" fmla="*/ 39 h 60"/>
                <a:gd name="T54" fmla="*/ 68 w 73"/>
                <a:gd name="T55" fmla="*/ 36 h 60"/>
                <a:gd name="T56" fmla="*/ 62 w 73"/>
                <a:gd name="T57" fmla="*/ 34 h 60"/>
                <a:gd name="T58" fmla="*/ 57 w 73"/>
                <a:gd name="T59" fmla="*/ 36 h 60"/>
                <a:gd name="T60" fmla="*/ 57 w 73"/>
                <a:gd name="T61" fmla="*/ 34 h 60"/>
                <a:gd name="T62" fmla="*/ 60 w 73"/>
                <a:gd name="T63" fmla="*/ 29 h 60"/>
                <a:gd name="T64" fmla="*/ 60 w 73"/>
                <a:gd name="T65" fmla="*/ 26 h 60"/>
                <a:gd name="T66" fmla="*/ 57 w 73"/>
                <a:gd name="T67" fmla="*/ 23 h 60"/>
                <a:gd name="T68" fmla="*/ 52 w 73"/>
                <a:gd name="T69" fmla="*/ 16 h 60"/>
                <a:gd name="T70" fmla="*/ 44 w 73"/>
                <a:gd name="T71" fmla="*/ 10 h 60"/>
                <a:gd name="T72" fmla="*/ 47 w 73"/>
                <a:gd name="T73" fmla="*/ 5 h 60"/>
                <a:gd name="T74" fmla="*/ 42 w 73"/>
                <a:gd name="T75" fmla="*/ 0 h 60"/>
                <a:gd name="T76" fmla="*/ 42 w 73"/>
                <a:gd name="T77" fmla="*/ 0 h 60"/>
                <a:gd name="T78" fmla="*/ 42 w 73"/>
                <a:gd name="T79" fmla="*/ 3 h 60"/>
                <a:gd name="T80" fmla="*/ 39 w 73"/>
                <a:gd name="T81" fmla="*/ 5 h 60"/>
                <a:gd name="T82" fmla="*/ 34 w 73"/>
                <a:gd name="T83" fmla="*/ 5 h 60"/>
                <a:gd name="T84" fmla="*/ 29 w 73"/>
                <a:gd name="T85" fmla="*/ 8 h 60"/>
                <a:gd name="T86" fmla="*/ 24 w 73"/>
                <a:gd name="T87" fmla="*/ 8 h 60"/>
                <a:gd name="T88" fmla="*/ 24 w 73"/>
                <a:gd name="T89" fmla="*/ 3 h 60"/>
                <a:gd name="T90" fmla="*/ 21 w 73"/>
                <a:gd name="T91" fmla="*/ 5 h 60"/>
                <a:gd name="T92" fmla="*/ 18 w 73"/>
                <a:gd name="T93" fmla="*/ 8 h 60"/>
                <a:gd name="T94" fmla="*/ 13 w 73"/>
                <a:gd name="T95" fmla="*/ 10 h 60"/>
                <a:gd name="T96" fmla="*/ 13 w 73"/>
                <a:gd name="T97" fmla="*/ 16 h 60"/>
                <a:gd name="T98" fmla="*/ 5 w 73"/>
                <a:gd name="T99" fmla="*/ 16 h 60"/>
                <a:gd name="T100" fmla="*/ 5 w 73"/>
                <a:gd name="T101" fmla="*/ 16 h 60"/>
                <a:gd name="T102" fmla="*/ 3 w 73"/>
                <a:gd name="T103" fmla="*/ 21 h 60"/>
                <a:gd name="T104" fmla="*/ 5 w 73"/>
                <a:gd name="T105" fmla="*/ 26 h 60"/>
                <a:gd name="T106" fmla="*/ 3 w 73"/>
                <a:gd name="T107" fmla="*/ 34 h 60"/>
                <a:gd name="T108" fmla="*/ 3 w 73"/>
                <a:gd name="T10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1" y="44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47"/>
                  </a:lnTo>
                  <a:lnTo>
                    <a:pt x="26" y="44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2"/>
                  </a:lnTo>
                  <a:lnTo>
                    <a:pt x="68" y="52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29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2" y="16"/>
                  </a:lnTo>
                  <a:lnTo>
                    <a:pt x="49" y="16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4" y="5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5" y="31"/>
                  </a:lnTo>
                  <a:lnTo>
                    <a:pt x="3" y="34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0" name="Freeform 150"/>
            <p:cNvSpPr>
              <a:spLocks/>
            </p:cNvSpPr>
            <p:nvPr/>
          </p:nvSpPr>
          <p:spPr bwMode="auto">
            <a:xfrm>
              <a:off x="1561" y="2758"/>
              <a:ext cx="73" cy="60"/>
            </a:xfrm>
            <a:custGeom>
              <a:avLst/>
              <a:gdLst>
                <a:gd name="T0" fmla="*/ 0 w 73"/>
                <a:gd name="T1" fmla="*/ 47 h 60"/>
                <a:gd name="T2" fmla="*/ 0 w 73"/>
                <a:gd name="T3" fmla="*/ 44 h 60"/>
                <a:gd name="T4" fmla="*/ 3 w 73"/>
                <a:gd name="T5" fmla="*/ 47 h 60"/>
                <a:gd name="T6" fmla="*/ 5 w 73"/>
                <a:gd name="T7" fmla="*/ 47 h 60"/>
                <a:gd name="T8" fmla="*/ 3 w 73"/>
                <a:gd name="T9" fmla="*/ 49 h 60"/>
                <a:gd name="T10" fmla="*/ 8 w 73"/>
                <a:gd name="T11" fmla="*/ 49 h 60"/>
                <a:gd name="T12" fmla="*/ 8 w 73"/>
                <a:gd name="T13" fmla="*/ 47 h 60"/>
                <a:gd name="T14" fmla="*/ 16 w 73"/>
                <a:gd name="T15" fmla="*/ 47 h 60"/>
                <a:gd name="T16" fmla="*/ 24 w 73"/>
                <a:gd name="T17" fmla="*/ 47 h 60"/>
                <a:gd name="T18" fmla="*/ 26 w 73"/>
                <a:gd name="T19" fmla="*/ 44 h 60"/>
                <a:gd name="T20" fmla="*/ 31 w 73"/>
                <a:gd name="T21" fmla="*/ 49 h 60"/>
                <a:gd name="T22" fmla="*/ 36 w 73"/>
                <a:gd name="T23" fmla="*/ 52 h 60"/>
                <a:gd name="T24" fmla="*/ 36 w 73"/>
                <a:gd name="T25" fmla="*/ 47 h 60"/>
                <a:gd name="T26" fmla="*/ 39 w 73"/>
                <a:gd name="T27" fmla="*/ 44 h 60"/>
                <a:gd name="T28" fmla="*/ 44 w 73"/>
                <a:gd name="T29" fmla="*/ 47 h 60"/>
                <a:gd name="T30" fmla="*/ 49 w 73"/>
                <a:gd name="T31" fmla="*/ 49 h 60"/>
                <a:gd name="T32" fmla="*/ 55 w 73"/>
                <a:gd name="T33" fmla="*/ 49 h 60"/>
                <a:gd name="T34" fmla="*/ 60 w 73"/>
                <a:gd name="T35" fmla="*/ 52 h 60"/>
                <a:gd name="T36" fmla="*/ 60 w 73"/>
                <a:gd name="T37" fmla="*/ 54 h 60"/>
                <a:gd name="T38" fmla="*/ 62 w 73"/>
                <a:gd name="T39" fmla="*/ 57 h 60"/>
                <a:gd name="T40" fmla="*/ 65 w 73"/>
                <a:gd name="T41" fmla="*/ 52 h 60"/>
                <a:gd name="T42" fmla="*/ 65 w 73"/>
                <a:gd name="T43" fmla="*/ 49 h 60"/>
                <a:gd name="T44" fmla="*/ 70 w 73"/>
                <a:gd name="T45" fmla="*/ 47 h 60"/>
                <a:gd name="T46" fmla="*/ 70 w 73"/>
                <a:gd name="T47" fmla="*/ 42 h 60"/>
                <a:gd name="T48" fmla="*/ 73 w 73"/>
                <a:gd name="T49" fmla="*/ 42 h 60"/>
                <a:gd name="T50" fmla="*/ 73 w 73"/>
                <a:gd name="T51" fmla="*/ 42 h 60"/>
                <a:gd name="T52" fmla="*/ 70 w 73"/>
                <a:gd name="T53" fmla="*/ 39 h 60"/>
                <a:gd name="T54" fmla="*/ 68 w 73"/>
                <a:gd name="T55" fmla="*/ 36 h 60"/>
                <a:gd name="T56" fmla="*/ 62 w 73"/>
                <a:gd name="T57" fmla="*/ 34 h 60"/>
                <a:gd name="T58" fmla="*/ 57 w 73"/>
                <a:gd name="T59" fmla="*/ 36 h 60"/>
                <a:gd name="T60" fmla="*/ 57 w 73"/>
                <a:gd name="T61" fmla="*/ 34 h 60"/>
                <a:gd name="T62" fmla="*/ 60 w 73"/>
                <a:gd name="T63" fmla="*/ 29 h 60"/>
                <a:gd name="T64" fmla="*/ 60 w 73"/>
                <a:gd name="T65" fmla="*/ 26 h 60"/>
                <a:gd name="T66" fmla="*/ 57 w 73"/>
                <a:gd name="T67" fmla="*/ 23 h 60"/>
                <a:gd name="T68" fmla="*/ 52 w 73"/>
                <a:gd name="T69" fmla="*/ 16 h 60"/>
                <a:gd name="T70" fmla="*/ 44 w 73"/>
                <a:gd name="T71" fmla="*/ 10 h 60"/>
                <a:gd name="T72" fmla="*/ 47 w 73"/>
                <a:gd name="T73" fmla="*/ 5 h 60"/>
                <a:gd name="T74" fmla="*/ 42 w 73"/>
                <a:gd name="T75" fmla="*/ 0 h 60"/>
                <a:gd name="T76" fmla="*/ 42 w 73"/>
                <a:gd name="T77" fmla="*/ 0 h 60"/>
                <a:gd name="T78" fmla="*/ 42 w 73"/>
                <a:gd name="T79" fmla="*/ 3 h 60"/>
                <a:gd name="T80" fmla="*/ 39 w 73"/>
                <a:gd name="T81" fmla="*/ 5 h 60"/>
                <a:gd name="T82" fmla="*/ 34 w 73"/>
                <a:gd name="T83" fmla="*/ 5 h 60"/>
                <a:gd name="T84" fmla="*/ 29 w 73"/>
                <a:gd name="T85" fmla="*/ 8 h 60"/>
                <a:gd name="T86" fmla="*/ 24 w 73"/>
                <a:gd name="T87" fmla="*/ 8 h 60"/>
                <a:gd name="T88" fmla="*/ 24 w 73"/>
                <a:gd name="T89" fmla="*/ 3 h 60"/>
                <a:gd name="T90" fmla="*/ 21 w 73"/>
                <a:gd name="T91" fmla="*/ 5 h 60"/>
                <a:gd name="T92" fmla="*/ 18 w 73"/>
                <a:gd name="T93" fmla="*/ 8 h 60"/>
                <a:gd name="T94" fmla="*/ 13 w 73"/>
                <a:gd name="T95" fmla="*/ 10 h 60"/>
                <a:gd name="T96" fmla="*/ 13 w 73"/>
                <a:gd name="T97" fmla="*/ 16 h 60"/>
                <a:gd name="T98" fmla="*/ 5 w 73"/>
                <a:gd name="T99" fmla="*/ 16 h 60"/>
                <a:gd name="T100" fmla="*/ 5 w 73"/>
                <a:gd name="T101" fmla="*/ 16 h 60"/>
                <a:gd name="T102" fmla="*/ 3 w 73"/>
                <a:gd name="T103" fmla="*/ 21 h 60"/>
                <a:gd name="T104" fmla="*/ 5 w 73"/>
                <a:gd name="T105" fmla="*/ 26 h 60"/>
                <a:gd name="T106" fmla="*/ 3 w 73"/>
                <a:gd name="T107" fmla="*/ 34 h 60"/>
                <a:gd name="T108" fmla="*/ 3 w 73"/>
                <a:gd name="T109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60"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8" y="49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1" y="44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47"/>
                  </a:lnTo>
                  <a:lnTo>
                    <a:pt x="26" y="44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2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2"/>
                  </a:lnTo>
                  <a:lnTo>
                    <a:pt x="68" y="52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8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8" y="36"/>
                  </a:lnTo>
                  <a:lnTo>
                    <a:pt x="65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60" y="29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2" y="16"/>
                  </a:lnTo>
                  <a:lnTo>
                    <a:pt x="49" y="16"/>
                  </a:lnTo>
                  <a:lnTo>
                    <a:pt x="47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4" y="5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5" y="31"/>
                  </a:lnTo>
                  <a:lnTo>
                    <a:pt x="3" y="34"/>
                  </a:lnTo>
                  <a:lnTo>
                    <a:pt x="3" y="36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1" name="Freeform 151"/>
            <p:cNvSpPr>
              <a:spLocks noEditPoints="1"/>
            </p:cNvSpPr>
            <p:nvPr/>
          </p:nvSpPr>
          <p:spPr bwMode="auto">
            <a:xfrm>
              <a:off x="1282" y="2405"/>
              <a:ext cx="424" cy="278"/>
            </a:xfrm>
            <a:custGeom>
              <a:avLst/>
              <a:gdLst>
                <a:gd name="T0" fmla="*/ 411 w 424"/>
                <a:gd name="T1" fmla="*/ 174 h 278"/>
                <a:gd name="T2" fmla="*/ 365 w 424"/>
                <a:gd name="T3" fmla="*/ 151 h 278"/>
                <a:gd name="T4" fmla="*/ 365 w 424"/>
                <a:gd name="T5" fmla="*/ 127 h 278"/>
                <a:gd name="T6" fmla="*/ 354 w 424"/>
                <a:gd name="T7" fmla="*/ 99 h 278"/>
                <a:gd name="T8" fmla="*/ 315 w 424"/>
                <a:gd name="T9" fmla="*/ 96 h 278"/>
                <a:gd name="T10" fmla="*/ 305 w 424"/>
                <a:gd name="T11" fmla="*/ 89 h 278"/>
                <a:gd name="T12" fmla="*/ 282 w 424"/>
                <a:gd name="T13" fmla="*/ 73 h 278"/>
                <a:gd name="T14" fmla="*/ 269 w 424"/>
                <a:gd name="T15" fmla="*/ 44 h 278"/>
                <a:gd name="T16" fmla="*/ 235 w 424"/>
                <a:gd name="T17" fmla="*/ 52 h 278"/>
                <a:gd name="T18" fmla="*/ 215 w 424"/>
                <a:gd name="T19" fmla="*/ 63 h 278"/>
                <a:gd name="T20" fmla="*/ 202 w 424"/>
                <a:gd name="T21" fmla="*/ 63 h 278"/>
                <a:gd name="T22" fmla="*/ 227 w 424"/>
                <a:gd name="T23" fmla="*/ 47 h 278"/>
                <a:gd name="T24" fmla="*/ 259 w 424"/>
                <a:gd name="T25" fmla="*/ 44 h 278"/>
                <a:gd name="T26" fmla="*/ 202 w 424"/>
                <a:gd name="T27" fmla="*/ 55 h 278"/>
                <a:gd name="T28" fmla="*/ 168 w 424"/>
                <a:gd name="T29" fmla="*/ 94 h 278"/>
                <a:gd name="T30" fmla="*/ 165 w 424"/>
                <a:gd name="T31" fmla="*/ 89 h 278"/>
                <a:gd name="T32" fmla="*/ 111 w 424"/>
                <a:gd name="T33" fmla="*/ 109 h 278"/>
                <a:gd name="T34" fmla="*/ 90 w 424"/>
                <a:gd name="T35" fmla="*/ 120 h 278"/>
                <a:gd name="T36" fmla="*/ 95 w 424"/>
                <a:gd name="T37" fmla="*/ 138 h 278"/>
                <a:gd name="T38" fmla="*/ 72 w 424"/>
                <a:gd name="T39" fmla="*/ 125 h 278"/>
                <a:gd name="T40" fmla="*/ 33 w 424"/>
                <a:gd name="T41" fmla="*/ 135 h 278"/>
                <a:gd name="T42" fmla="*/ 23 w 424"/>
                <a:gd name="T43" fmla="*/ 169 h 278"/>
                <a:gd name="T44" fmla="*/ 28 w 424"/>
                <a:gd name="T45" fmla="*/ 195 h 278"/>
                <a:gd name="T46" fmla="*/ 2 w 424"/>
                <a:gd name="T47" fmla="*/ 223 h 278"/>
                <a:gd name="T48" fmla="*/ 33 w 424"/>
                <a:gd name="T49" fmla="*/ 239 h 278"/>
                <a:gd name="T50" fmla="*/ 62 w 424"/>
                <a:gd name="T51" fmla="*/ 262 h 278"/>
                <a:gd name="T52" fmla="*/ 101 w 424"/>
                <a:gd name="T53" fmla="*/ 273 h 278"/>
                <a:gd name="T54" fmla="*/ 119 w 424"/>
                <a:gd name="T55" fmla="*/ 252 h 278"/>
                <a:gd name="T56" fmla="*/ 160 w 424"/>
                <a:gd name="T57" fmla="*/ 242 h 278"/>
                <a:gd name="T58" fmla="*/ 183 w 424"/>
                <a:gd name="T59" fmla="*/ 236 h 278"/>
                <a:gd name="T60" fmla="*/ 209 w 424"/>
                <a:gd name="T61" fmla="*/ 252 h 278"/>
                <a:gd name="T62" fmla="*/ 246 w 424"/>
                <a:gd name="T63" fmla="*/ 262 h 278"/>
                <a:gd name="T64" fmla="*/ 269 w 424"/>
                <a:gd name="T65" fmla="*/ 265 h 278"/>
                <a:gd name="T66" fmla="*/ 295 w 424"/>
                <a:gd name="T67" fmla="*/ 252 h 278"/>
                <a:gd name="T68" fmla="*/ 326 w 424"/>
                <a:gd name="T69" fmla="*/ 236 h 278"/>
                <a:gd name="T70" fmla="*/ 359 w 424"/>
                <a:gd name="T71" fmla="*/ 208 h 278"/>
                <a:gd name="T72" fmla="*/ 370 w 424"/>
                <a:gd name="T73" fmla="*/ 218 h 278"/>
                <a:gd name="T74" fmla="*/ 406 w 424"/>
                <a:gd name="T75" fmla="*/ 226 h 278"/>
                <a:gd name="T76" fmla="*/ 233 w 424"/>
                <a:gd name="T77" fmla="*/ 55 h 278"/>
                <a:gd name="T78" fmla="*/ 303 w 424"/>
                <a:gd name="T79" fmla="*/ 21 h 278"/>
                <a:gd name="T80" fmla="*/ 323 w 424"/>
                <a:gd name="T81" fmla="*/ 37 h 278"/>
                <a:gd name="T82" fmla="*/ 326 w 424"/>
                <a:gd name="T83" fmla="*/ 44 h 278"/>
                <a:gd name="T84" fmla="*/ 308 w 424"/>
                <a:gd name="T85" fmla="*/ 24 h 278"/>
                <a:gd name="T86" fmla="*/ 295 w 424"/>
                <a:gd name="T87" fmla="*/ 24 h 278"/>
                <a:gd name="T88" fmla="*/ 290 w 424"/>
                <a:gd name="T89" fmla="*/ 42 h 278"/>
                <a:gd name="T90" fmla="*/ 290 w 424"/>
                <a:gd name="T91" fmla="*/ 55 h 278"/>
                <a:gd name="T92" fmla="*/ 290 w 424"/>
                <a:gd name="T93" fmla="*/ 73 h 278"/>
                <a:gd name="T94" fmla="*/ 310 w 424"/>
                <a:gd name="T95" fmla="*/ 81 h 278"/>
                <a:gd name="T96" fmla="*/ 313 w 424"/>
                <a:gd name="T97" fmla="*/ 70 h 278"/>
                <a:gd name="T98" fmla="*/ 341 w 424"/>
                <a:gd name="T99" fmla="*/ 60 h 278"/>
                <a:gd name="T100" fmla="*/ 349 w 424"/>
                <a:gd name="T101" fmla="*/ 73 h 278"/>
                <a:gd name="T102" fmla="*/ 341 w 424"/>
                <a:gd name="T103" fmla="*/ 19 h 278"/>
                <a:gd name="T104" fmla="*/ 292 w 424"/>
                <a:gd name="T105" fmla="*/ 16 h 278"/>
                <a:gd name="T106" fmla="*/ 357 w 424"/>
                <a:gd name="T107" fmla="*/ 117 h 278"/>
                <a:gd name="T108" fmla="*/ 380 w 424"/>
                <a:gd name="T109" fmla="*/ 114 h 278"/>
                <a:gd name="T110" fmla="*/ 375 w 424"/>
                <a:gd name="T111" fmla="*/ 130 h 278"/>
                <a:gd name="T112" fmla="*/ 370 w 424"/>
                <a:gd name="T113" fmla="*/ 148 h 278"/>
                <a:gd name="T114" fmla="*/ 403 w 424"/>
                <a:gd name="T115" fmla="*/ 135 h 278"/>
                <a:gd name="T116" fmla="*/ 292 w 424"/>
                <a:gd name="T117" fmla="*/ 39 h 278"/>
                <a:gd name="T118" fmla="*/ 279 w 424"/>
                <a:gd name="T119" fmla="*/ 21 h 278"/>
                <a:gd name="T120" fmla="*/ 277 w 424"/>
                <a:gd name="T121" fmla="*/ 37 h 278"/>
                <a:gd name="T122" fmla="*/ 326 w 424"/>
                <a:gd name="T123" fmla="*/ 65 h 278"/>
                <a:gd name="T124" fmla="*/ 409 w 424"/>
                <a:gd name="T125" fmla="*/ 17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4" h="278">
                  <a:moveTo>
                    <a:pt x="93" y="127"/>
                  </a:moveTo>
                  <a:lnTo>
                    <a:pt x="93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3" y="127"/>
                  </a:lnTo>
                  <a:close/>
                  <a:moveTo>
                    <a:pt x="424" y="234"/>
                  </a:moveTo>
                  <a:lnTo>
                    <a:pt x="424" y="231"/>
                  </a:lnTo>
                  <a:lnTo>
                    <a:pt x="424" y="231"/>
                  </a:lnTo>
                  <a:lnTo>
                    <a:pt x="424" y="229"/>
                  </a:lnTo>
                  <a:lnTo>
                    <a:pt x="422" y="223"/>
                  </a:lnTo>
                  <a:lnTo>
                    <a:pt x="422" y="221"/>
                  </a:lnTo>
                  <a:lnTo>
                    <a:pt x="422" y="218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19" y="216"/>
                  </a:lnTo>
                  <a:lnTo>
                    <a:pt x="419" y="216"/>
                  </a:lnTo>
                  <a:lnTo>
                    <a:pt x="419" y="213"/>
                  </a:lnTo>
                  <a:lnTo>
                    <a:pt x="419" y="210"/>
                  </a:lnTo>
                  <a:lnTo>
                    <a:pt x="419" y="208"/>
                  </a:lnTo>
                  <a:lnTo>
                    <a:pt x="416" y="208"/>
                  </a:lnTo>
                  <a:lnTo>
                    <a:pt x="416" y="205"/>
                  </a:lnTo>
                  <a:lnTo>
                    <a:pt x="416" y="203"/>
                  </a:lnTo>
                  <a:lnTo>
                    <a:pt x="414" y="200"/>
                  </a:lnTo>
                  <a:lnTo>
                    <a:pt x="414" y="200"/>
                  </a:lnTo>
                  <a:lnTo>
                    <a:pt x="414" y="197"/>
                  </a:lnTo>
                  <a:lnTo>
                    <a:pt x="414" y="195"/>
                  </a:lnTo>
                  <a:lnTo>
                    <a:pt x="416" y="190"/>
                  </a:lnTo>
                  <a:lnTo>
                    <a:pt x="414" y="187"/>
                  </a:lnTo>
                  <a:lnTo>
                    <a:pt x="414" y="187"/>
                  </a:lnTo>
                  <a:lnTo>
                    <a:pt x="414" y="187"/>
                  </a:lnTo>
                  <a:lnTo>
                    <a:pt x="411" y="185"/>
                  </a:lnTo>
                  <a:lnTo>
                    <a:pt x="411" y="185"/>
                  </a:lnTo>
                  <a:lnTo>
                    <a:pt x="411" y="182"/>
                  </a:lnTo>
                  <a:lnTo>
                    <a:pt x="411" y="182"/>
                  </a:lnTo>
                  <a:lnTo>
                    <a:pt x="411" y="179"/>
                  </a:lnTo>
                  <a:lnTo>
                    <a:pt x="411" y="179"/>
                  </a:lnTo>
                  <a:lnTo>
                    <a:pt x="411" y="177"/>
                  </a:lnTo>
                  <a:lnTo>
                    <a:pt x="411" y="177"/>
                  </a:lnTo>
                  <a:lnTo>
                    <a:pt x="411" y="177"/>
                  </a:lnTo>
                  <a:lnTo>
                    <a:pt x="411" y="174"/>
                  </a:lnTo>
                  <a:lnTo>
                    <a:pt x="411" y="174"/>
                  </a:lnTo>
                  <a:lnTo>
                    <a:pt x="411" y="174"/>
                  </a:lnTo>
                  <a:lnTo>
                    <a:pt x="409" y="174"/>
                  </a:lnTo>
                  <a:lnTo>
                    <a:pt x="409" y="174"/>
                  </a:lnTo>
                  <a:lnTo>
                    <a:pt x="409" y="174"/>
                  </a:lnTo>
                  <a:lnTo>
                    <a:pt x="409" y="174"/>
                  </a:lnTo>
                  <a:lnTo>
                    <a:pt x="406" y="174"/>
                  </a:lnTo>
                  <a:lnTo>
                    <a:pt x="406" y="174"/>
                  </a:lnTo>
                  <a:lnTo>
                    <a:pt x="406" y="174"/>
                  </a:lnTo>
                  <a:lnTo>
                    <a:pt x="403" y="174"/>
                  </a:lnTo>
                  <a:lnTo>
                    <a:pt x="403" y="172"/>
                  </a:lnTo>
                  <a:lnTo>
                    <a:pt x="406" y="172"/>
                  </a:lnTo>
                  <a:lnTo>
                    <a:pt x="409" y="169"/>
                  </a:lnTo>
                  <a:lnTo>
                    <a:pt x="409" y="166"/>
                  </a:lnTo>
                  <a:lnTo>
                    <a:pt x="409" y="166"/>
                  </a:lnTo>
                  <a:lnTo>
                    <a:pt x="409" y="164"/>
                  </a:lnTo>
                  <a:lnTo>
                    <a:pt x="409" y="164"/>
                  </a:lnTo>
                  <a:lnTo>
                    <a:pt x="406" y="164"/>
                  </a:lnTo>
                  <a:lnTo>
                    <a:pt x="406" y="164"/>
                  </a:lnTo>
                  <a:lnTo>
                    <a:pt x="403" y="164"/>
                  </a:lnTo>
                  <a:lnTo>
                    <a:pt x="403" y="164"/>
                  </a:lnTo>
                  <a:lnTo>
                    <a:pt x="401" y="166"/>
                  </a:lnTo>
                  <a:lnTo>
                    <a:pt x="401" y="166"/>
                  </a:lnTo>
                  <a:lnTo>
                    <a:pt x="401" y="166"/>
                  </a:lnTo>
                  <a:lnTo>
                    <a:pt x="398" y="166"/>
                  </a:lnTo>
                  <a:lnTo>
                    <a:pt x="396" y="166"/>
                  </a:lnTo>
                  <a:lnTo>
                    <a:pt x="393" y="166"/>
                  </a:lnTo>
                  <a:lnTo>
                    <a:pt x="391" y="166"/>
                  </a:lnTo>
                  <a:lnTo>
                    <a:pt x="391" y="166"/>
                  </a:lnTo>
                  <a:lnTo>
                    <a:pt x="388" y="166"/>
                  </a:lnTo>
                  <a:lnTo>
                    <a:pt x="385" y="164"/>
                  </a:lnTo>
                  <a:lnTo>
                    <a:pt x="385" y="164"/>
                  </a:lnTo>
                  <a:lnTo>
                    <a:pt x="380" y="164"/>
                  </a:lnTo>
                  <a:lnTo>
                    <a:pt x="378" y="161"/>
                  </a:lnTo>
                  <a:lnTo>
                    <a:pt x="372" y="156"/>
                  </a:lnTo>
                  <a:lnTo>
                    <a:pt x="372" y="156"/>
                  </a:lnTo>
                  <a:lnTo>
                    <a:pt x="370" y="156"/>
                  </a:lnTo>
                  <a:lnTo>
                    <a:pt x="370" y="156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5" y="148"/>
                  </a:lnTo>
                  <a:lnTo>
                    <a:pt x="365" y="148"/>
                  </a:lnTo>
                  <a:lnTo>
                    <a:pt x="362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7" y="146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62" y="143"/>
                  </a:lnTo>
                  <a:lnTo>
                    <a:pt x="362" y="143"/>
                  </a:lnTo>
                  <a:lnTo>
                    <a:pt x="362" y="143"/>
                  </a:lnTo>
                  <a:lnTo>
                    <a:pt x="362" y="143"/>
                  </a:lnTo>
                  <a:lnTo>
                    <a:pt x="362" y="143"/>
                  </a:lnTo>
                  <a:lnTo>
                    <a:pt x="362" y="140"/>
                  </a:lnTo>
                  <a:lnTo>
                    <a:pt x="365" y="140"/>
                  </a:lnTo>
                  <a:lnTo>
                    <a:pt x="365" y="138"/>
                  </a:lnTo>
                  <a:lnTo>
                    <a:pt x="365" y="138"/>
                  </a:lnTo>
                  <a:lnTo>
                    <a:pt x="367" y="138"/>
                  </a:lnTo>
                  <a:lnTo>
                    <a:pt x="370" y="135"/>
                  </a:lnTo>
                  <a:lnTo>
                    <a:pt x="370" y="135"/>
                  </a:lnTo>
                  <a:lnTo>
                    <a:pt x="370" y="135"/>
                  </a:lnTo>
                  <a:lnTo>
                    <a:pt x="370" y="133"/>
                  </a:lnTo>
                  <a:lnTo>
                    <a:pt x="367" y="130"/>
                  </a:lnTo>
                  <a:lnTo>
                    <a:pt x="365" y="127"/>
                  </a:lnTo>
                  <a:lnTo>
                    <a:pt x="365" y="127"/>
                  </a:lnTo>
                  <a:lnTo>
                    <a:pt x="365" y="130"/>
                  </a:lnTo>
                  <a:lnTo>
                    <a:pt x="365" y="127"/>
                  </a:lnTo>
                  <a:lnTo>
                    <a:pt x="365" y="127"/>
                  </a:lnTo>
                  <a:lnTo>
                    <a:pt x="362" y="125"/>
                  </a:lnTo>
                  <a:lnTo>
                    <a:pt x="362" y="125"/>
                  </a:lnTo>
                  <a:lnTo>
                    <a:pt x="359" y="122"/>
                  </a:lnTo>
                  <a:lnTo>
                    <a:pt x="359" y="122"/>
                  </a:lnTo>
                  <a:lnTo>
                    <a:pt x="359" y="122"/>
                  </a:lnTo>
                  <a:lnTo>
                    <a:pt x="357" y="122"/>
                  </a:lnTo>
                  <a:lnTo>
                    <a:pt x="357" y="122"/>
                  </a:lnTo>
                  <a:lnTo>
                    <a:pt x="354" y="120"/>
                  </a:lnTo>
                  <a:lnTo>
                    <a:pt x="354" y="120"/>
                  </a:lnTo>
                  <a:lnTo>
                    <a:pt x="354" y="120"/>
                  </a:lnTo>
                  <a:lnTo>
                    <a:pt x="354" y="120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4" y="114"/>
                  </a:lnTo>
                  <a:lnTo>
                    <a:pt x="354" y="112"/>
                  </a:lnTo>
                  <a:lnTo>
                    <a:pt x="354" y="112"/>
                  </a:lnTo>
                  <a:lnTo>
                    <a:pt x="354" y="112"/>
                  </a:lnTo>
                  <a:lnTo>
                    <a:pt x="354" y="112"/>
                  </a:lnTo>
                  <a:lnTo>
                    <a:pt x="354" y="109"/>
                  </a:lnTo>
                  <a:lnTo>
                    <a:pt x="354" y="109"/>
                  </a:lnTo>
                  <a:lnTo>
                    <a:pt x="354" y="109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7" y="104"/>
                  </a:lnTo>
                  <a:lnTo>
                    <a:pt x="357" y="104"/>
                  </a:lnTo>
                  <a:lnTo>
                    <a:pt x="357" y="104"/>
                  </a:lnTo>
                  <a:lnTo>
                    <a:pt x="357" y="102"/>
                  </a:lnTo>
                  <a:lnTo>
                    <a:pt x="354" y="102"/>
                  </a:lnTo>
                  <a:lnTo>
                    <a:pt x="357" y="102"/>
                  </a:lnTo>
                  <a:lnTo>
                    <a:pt x="357" y="102"/>
                  </a:lnTo>
                  <a:lnTo>
                    <a:pt x="354" y="102"/>
                  </a:lnTo>
                  <a:lnTo>
                    <a:pt x="354" y="99"/>
                  </a:lnTo>
                  <a:lnTo>
                    <a:pt x="354" y="99"/>
                  </a:lnTo>
                  <a:lnTo>
                    <a:pt x="352" y="99"/>
                  </a:lnTo>
                  <a:lnTo>
                    <a:pt x="354" y="99"/>
                  </a:lnTo>
                  <a:lnTo>
                    <a:pt x="354" y="99"/>
                  </a:lnTo>
                  <a:lnTo>
                    <a:pt x="354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49" y="96"/>
                  </a:lnTo>
                  <a:lnTo>
                    <a:pt x="347" y="96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9" y="94"/>
                  </a:lnTo>
                  <a:lnTo>
                    <a:pt x="347" y="91"/>
                  </a:lnTo>
                  <a:lnTo>
                    <a:pt x="347" y="91"/>
                  </a:lnTo>
                  <a:lnTo>
                    <a:pt x="347" y="91"/>
                  </a:lnTo>
                  <a:lnTo>
                    <a:pt x="344" y="91"/>
                  </a:lnTo>
                  <a:lnTo>
                    <a:pt x="341" y="91"/>
                  </a:lnTo>
                  <a:lnTo>
                    <a:pt x="341" y="94"/>
                  </a:lnTo>
                  <a:lnTo>
                    <a:pt x="339" y="94"/>
                  </a:lnTo>
                  <a:lnTo>
                    <a:pt x="339" y="96"/>
                  </a:lnTo>
                  <a:lnTo>
                    <a:pt x="336" y="96"/>
                  </a:lnTo>
                  <a:lnTo>
                    <a:pt x="334" y="96"/>
                  </a:lnTo>
                  <a:lnTo>
                    <a:pt x="331" y="99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3" y="99"/>
                  </a:lnTo>
                  <a:lnTo>
                    <a:pt x="323" y="99"/>
                  </a:lnTo>
                  <a:lnTo>
                    <a:pt x="321" y="102"/>
                  </a:lnTo>
                  <a:lnTo>
                    <a:pt x="323" y="104"/>
                  </a:lnTo>
                  <a:lnTo>
                    <a:pt x="323" y="107"/>
                  </a:lnTo>
                  <a:lnTo>
                    <a:pt x="323" y="107"/>
                  </a:lnTo>
                  <a:lnTo>
                    <a:pt x="323" y="107"/>
                  </a:lnTo>
                  <a:lnTo>
                    <a:pt x="321" y="107"/>
                  </a:lnTo>
                  <a:lnTo>
                    <a:pt x="321" y="104"/>
                  </a:lnTo>
                  <a:lnTo>
                    <a:pt x="318" y="104"/>
                  </a:lnTo>
                  <a:lnTo>
                    <a:pt x="318" y="102"/>
                  </a:lnTo>
                  <a:lnTo>
                    <a:pt x="318" y="99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3" y="96"/>
                  </a:lnTo>
                  <a:lnTo>
                    <a:pt x="313" y="94"/>
                  </a:lnTo>
                  <a:lnTo>
                    <a:pt x="313" y="94"/>
                  </a:lnTo>
                  <a:lnTo>
                    <a:pt x="313" y="94"/>
                  </a:lnTo>
                  <a:lnTo>
                    <a:pt x="313" y="94"/>
                  </a:lnTo>
                  <a:lnTo>
                    <a:pt x="313" y="96"/>
                  </a:lnTo>
                  <a:lnTo>
                    <a:pt x="310" y="96"/>
                  </a:lnTo>
                  <a:lnTo>
                    <a:pt x="310" y="96"/>
                  </a:lnTo>
                  <a:lnTo>
                    <a:pt x="310" y="94"/>
                  </a:lnTo>
                  <a:lnTo>
                    <a:pt x="310" y="94"/>
                  </a:lnTo>
                  <a:lnTo>
                    <a:pt x="313" y="94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3" y="94"/>
                  </a:lnTo>
                  <a:lnTo>
                    <a:pt x="313" y="94"/>
                  </a:lnTo>
                  <a:lnTo>
                    <a:pt x="315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3" y="91"/>
                  </a:lnTo>
                  <a:lnTo>
                    <a:pt x="310" y="91"/>
                  </a:lnTo>
                  <a:lnTo>
                    <a:pt x="310" y="91"/>
                  </a:lnTo>
                  <a:lnTo>
                    <a:pt x="308" y="91"/>
                  </a:lnTo>
                  <a:lnTo>
                    <a:pt x="308" y="91"/>
                  </a:lnTo>
                  <a:lnTo>
                    <a:pt x="305" y="91"/>
                  </a:lnTo>
                  <a:lnTo>
                    <a:pt x="305" y="94"/>
                  </a:lnTo>
                  <a:lnTo>
                    <a:pt x="303" y="94"/>
                  </a:lnTo>
                  <a:lnTo>
                    <a:pt x="305" y="91"/>
                  </a:lnTo>
                  <a:lnTo>
                    <a:pt x="308" y="91"/>
                  </a:lnTo>
                  <a:lnTo>
                    <a:pt x="308" y="89"/>
                  </a:lnTo>
                  <a:lnTo>
                    <a:pt x="310" y="91"/>
                  </a:lnTo>
                  <a:lnTo>
                    <a:pt x="310" y="89"/>
                  </a:lnTo>
                  <a:lnTo>
                    <a:pt x="308" y="89"/>
                  </a:lnTo>
                  <a:lnTo>
                    <a:pt x="308" y="89"/>
                  </a:lnTo>
                  <a:lnTo>
                    <a:pt x="305" y="89"/>
                  </a:lnTo>
                  <a:lnTo>
                    <a:pt x="305" y="89"/>
                  </a:lnTo>
                  <a:lnTo>
                    <a:pt x="305" y="89"/>
                  </a:lnTo>
                  <a:lnTo>
                    <a:pt x="303" y="86"/>
                  </a:lnTo>
                  <a:lnTo>
                    <a:pt x="303" y="86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1"/>
                  </a:lnTo>
                  <a:lnTo>
                    <a:pt x="300" y="81"/>
                  </a:lnTo>
                  <a:lnTo>
                    <a:pt x="300" y="81"/>
                  </a:lnTo>
                  <a:lnTo>
                    <a:pt x="300" y="78"/>
                  </a:lnTo>
                  <a:lnTo>
                    <a:pt x="297" y="78"/>
                  </a:lnTo>
                  <a:lnTo>
                    <a:pt x="297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90" y="76"/>
                  </a:lnTo>
                  <a:lnTo>
                    <a:pt x="287" y="76"/>
                  </a:lnTo>
                  <a:lnTo>
                    <a:pt x="287" y="76"/>
                  </a:lnTo>
                  <a:lnTo>
                    <a:pt x="287" y="76"/>
                  </a:lnTo>
                  <a:lnTo>
                    <a:pt x="287" y="76"/>
                  </a:lnTo>
                  <a:lnTo>
                    <a:pt x="284" y="76"/>
                  </a:lnTo>
                  <a:lnTo>
                    <a:pt x="284" y="76"/>
                  </a:lnTo>
                  <a:lnTo>
                    <a:pt x="284" y="76"/>
                  </a:lnTo>
                  <a:lnTo>
                    <a:pt x="284" y="76"/>
                  </a:lnTo>
                  <a:lnTo>
                    <a:pt x="284" y="73"/>
                  </a:lnTo>
                  <a:lnTo>
                    <a:pt x="287" y="73"/>
                  </a:lnTo>
                  <a:lnTo>
                    <a:pt x="287" y="76"/>
                  </a:lnTo>
                  <a:lnTo>
                    <a:pt x="287" y="73"/>
                  </a:lnTo>
                  <a:lnTo>
                    <a:pt x="287" y="73"/>
                  </a:lnTo>
                  <a:lnTo>
                    <a:pt x="284" y="73"/>
                  </a:lnTo>
                  <a:lnTo>
                    <a:pt x="282" y="73"/>
                  </a:lnTo>
                  <a:lnTo>
                    <a:pt x="282" y="73"/>
                  </a:lnTo>
                  <a:lnTo>
                    <a:pt x="282" y="73"/>
                  </a:lnTo>
                  <a:lnTo>
                    <a:pt x="279" y="73"/>
                  </a:lnTo>
                  <a:lnTo>
                    <a:pt x="279" y="70"/>
                  </a:lnTo>
                  <a:lnTo>
                    <a:pt x="279" y="70"/>
                  </a:lnTo>
                  <a:lnTo>
                    <a:pt x="279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8"/>
                  </a:lnTo>
                  <a:lnTo>
                    <a:pt x="282" y="65"/>
                  </a:lnTo>
                  <a:lnTo>
                    <a:pt x="282" y="65"/>
                  </a:lnTo>
                  <a:lnTo>
                    <a:pt x="282" y="65"/>
                  </a:lnTo>
                  <a:lnTo>
                    <a:pt x="279" y="65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3"/>
                  </a:lnTo>
                  <a:lnTo>
                    <a:pt x="277" y="63"/>
                  </a:lnTo>
                  <a:lnTo>
                    <a:pt x="277" y="63"/>
                  </a:lnTo>
                  <a:lnTo>
                    <a:pt x="277" y="60"/>
                  </a:lnTo>
                  <a:lnTo>
                    <a:pt x="277" y="60"/>
                  </a:lnTo>
                  <a:lnTo>
                    <a:pt x="277" y="60"/>
                  </a:lnTo>
                  <a:lnTo>
                    <a:pt x="277" y="57"/>
                  </a:lnTo>
                  <a:lnTo>
                    <a:pt x="279" y="57"/>
                  </a:lnTo>
                  <a:lnTo>
                    <a:pt x="277" y="55"/>
                  </a:lnTo>
                  <a:lnTo>
                    <a:pt x="277" y="55"/>
                  </a:lnTo>
                  <a:lnTo>
                    <a:pt x="277" y="55"/>
                  </a:lnTo>
                  <a:lnTo>
                    <a:pt x="274" y="55"/>
                  </a:lnTo>
                  <a:lnTo>
                    <a:pt x="274" y="55"/>
                  </a:lnTo>
                  <a:lnTo>
                    <a:pt x="274" y="55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1" y="50"/>
                  </a:lnTo>
                  <a:lnTo>
                    <a:pt x="271" y="47"/>
                  </a:lnTo>
                  <a:lnTo>
                    <a:pt x="271" y="47"/>
                  </a:lnTo>
                  <a:lnTo>
                    <a:pt x="271" y="47"/>
                  </a:lnTo>
                  <a:lnTo>
                    <a:pt x="271" y="44"/>
                  </a:lnTo>
                  <a:lnTo>
                    <a:pt x="271" y="44"/>
                  </a:lnTo>
                  <a:lnTo>
                    <a:pt x="269" y="44"/>
                  </a:lnTo>
                  <a:lnTo>
                    <a:pt x="269" y="44"/>
                  </a:lnTo>
                  <a:lnTo>
                    <a:pt x="266" y="44"/>
                  </a:lnTo>
                  <a:lnTo>
                    <a:pt x="266" y="47"/>
                  </a:lnTo>
                  <a:lnTo>
                    <a:pt x="264" y="47"/>
                  </a:lnTo>
                  <a:lnTo>
                    <a:pt x="261" y="47"/>
                  </a:lnTo>
                  <a:lnTo>
                    <a:pt x="261" y="50"/>
                  </a:lnTo>
                  <a:lnTo>
                    <a:pt x="259" y="50"/>
                  </a:lnTo>
                  <a:lnTo>
                    <a:pt x="256" y="50"/>
                  </a:lnTo>
                  <a:lnTo>
                    <a:pt x="256" y="52"/>
                  </a:lnTo>
                  <a:lnTo>
                    <a:pt x="256" y="52"/>
                  </a:lnTo>
                  <a:lnTo>
                    <a:pt x="256" y="55"/>
                  </a:lnTo>
                  <a:lnTo>
                    <a:pt x="256" y="55"/>
                  </a:lnTo>
                  <a:lnTo>
                    <a:pt x="253" y="57"/>
                  </a:lnTo>
                  <a:lnTo>
                    <a:pt x="253" y="57"/>
                  </a:lnTo>
                  <a:lnTo>
                    <a:pt x="253" y="57"/>
                  </a:lnTo>
                  <a:lnTo>
                    <a:pt x="251" y="60"/>
                  </a:lnTo>
                  <a:lnTo>
                    <a:pt x="248" y="60"/>
                  </a:lnTo>
                  <a:lnTo>
                    <a:pt x="248" y="60"/>
                  </a:lnTo>
                  <a:lnTo>
                    <a:pt x="246" y="60"/>
                  </a:lnTo>
                  <a:lnTo>
                    <a:pt x="246" y="57"/>
                  </a:lnTo>
                  <a:lnTo>
                    <a:pt x="246" y="55"/>
                  </a:lnTo>
                  <a:lnTo>
                    <a:pt x="246" y="55"/>
                  </a:lnTo>
                  <a:lnTo>
                    <a:pt x="243" y="55"/>
                  </a:lnTo>
                  <a:lnTo>
                    <a:pt x="243" y="55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3" y="55"/>
                  </a:lnTo>
                  <a:lnTo>
                    <a:pt x="240" y="55"/>
                  </a:lnTo>
                  <a:lnTo>
                    <a:pt x="240" y="57"/>
                  </a:lnTo>
                  <a:lnTo>
                    <a:pt x="240" y="55"/>
                  </a:lnTo>
                  <a:lnTo>
                    <a:pt x="240" y="55"/>
                  </a:lnTo>
                  <a:lnTo>
                    <a:pt x="238" y="55"/>
                  </a:lnTo>
                  <a:lnTo>
                    <a:pt x="238" y="57"/>
                  </a:lnTo>
                  <a:lnTo>
                    <a:pt x="238" y="57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5" y="55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5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0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3" y="50"/>
                  </a:lnTo>
                  <a:lnTo>
                    <a:pt x="230" y="50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30" y="55"/>
                  </a:lnTo>
                  <a:lnTo>
                    <a:pt x="227" y="55"/>
                  </a:lnTo>
                  <a:lnTo>
                    <a:pt x="227" y="55"/>
                  </a:lnTo>
                  <a:lnTo>
                    <a:pt x="225" y="55"/>
                  </a:lnTo>
                  <a:lnTo>
                    <a:pt x="222" y="55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0" y="57"/>
                  </a:lnTo>
                  <a:lnTo>
                    <a:pt x="220" y="57"/>
                  </a:lnTo>
                  <a:lnTo>
                    <a:pt x="222" y="55"/>
                  </a:lnTo>
                  <a:lnTo>
                    <a:pt x="220" y="55"/>
                  </a:lnTo>
                  <a:lnTo>
                    <a:pt x="217" y="55"/>
                  </a:lnTo>
                  <a:lnTo>
                    <a:pt x="217" y="55"/>
                  </a:lnTo>
                  <a:lnTo>
                    <a:pt x="217" y="57"/>
                  </a:lnTo>
                  <a:lnTo>
                    <a:pt x="217" y="57"/>
                  </a:lnTo>
                  <a:lnTo>
                    <a:pt x="215" y="57"/>
                  </a:lnTo>
                  <a:lnTo>
                    <a:pt x="217" y="57"/>
                  </a:lnTo>
                  <a:lnTo>
                    <a:pt x="217" y="57"/>
                  </a:lnTo>
                  <a:lnTo>
                    <a:pt x="217" y="60"/>
                  </a:lnTo>
                  <a:lnTo>
                    <a:pt x="217" y="60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2" y="63"/>
                  </a:lnTo>
                  <a:lnTo>
                    <a:pt x="212" y="63"/>
                  </a:lnTo>
                  <a:lnTo>
                    <a:pt x="212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8"/>
                  </a:lnTo>
                  <a:lnTo>
                    <a:pt x="207" y="68"/>
                  </a:lnTo>
                  <a:lnTo>
                    <a:pt x="207" y="70"/>
                  </a:lnTo>
                  <a:lnTo>
                    <a:pt x="204" y="70"/>
                  </a:lnTo>
                  <a:lnTo>
                    <a:pt x="202" y="70"/>
                  </a:lnTo>
                  <a:lnTo>
                    <a:pt x="202" y="73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4" y="76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8"/>
                  </a:lnTo>
                  <a:lnTo>
                    <a:pt x="204" y="78"/>
                  </a:lnTo>
                  <a:lnTo>
                    <a:pt x="202" y="78"/>
                  </a:lnTo>
                  <a:lnTo>
                    <a:pt x="199" y="76"/>
                  </a:lnTo>
                  <a:lnTo>
                    <a:pt x="196" y="76"/>
                  </a:lnTo>
                  <a:lnTo>
                    <a:pt x="199" y="73"/>
                  </a:lnTo>
                  <a:lnTo>
                    <a:pt x="199" y="73"/>
                  </a:lnTo>
                  <a:lnTo>
                    <a:pt x="199" y="73"/>
                  </a:lnTo>
                  <a:lnTo>
                    <a:pt x="196" y="70"/>
                  </a:lnTo>
                  <a:lnTo>
                    <a:pt x="196" y="70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9" y="68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199" y="63"/>
                  </a:lnTo>
                  <a:lnTo>
                    <a:pt x="199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2" y="57"/>
                  </a:lnTo>
                  <a:lnTo>
                    <a:pt x="202" y="57"/>
                  </a:lnTo>
                  <a:lnTo>
                    <a:pt x="204" y="55"/>
                  </a:lnTo>
                  <a:lnTo>
                    <a:pt x="204" y="55"/>
                  </a:lnTo>
                  <a:lnTo>
                    <a:pt x="204" y="55"/>
                  </a:lnTo>
                  <a:lnTo>
                    <a:pt x="204" y="55"/>
                  </a:lnTo>
                  <a:lnTo>
                    <a:pt x="207" y="55"/>
                  </a:lnTo>
                  <a:lnTo>
                    <a:pt x="209" y="55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5"/>
                  </a:lnTo>
                  <a:lnTo>
                    <a:pt x="215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2" y="52"/>
                  </a:lnTo>
                  <a:lnTo>
                    <a:pt x="222" y="55"/>
                  </a:lnTo>
                  <a:lnTo>
                    <a:pt x="222" y="52"/>
                  </a:lnTo>
                  <a:lnTo>
                    <a:pt x="222" y="52"/>
                  </a:lnTo>
                  <a:lnTo>
                    <a:pt x="222" y="52"/>
                  </a:lnTo>
                  <a:lnTo>
                    <a:pt x="220" y="52"/>
                  </a:lnTo>
                  <a:lnTo>
                    <a:pt x="220" y="50"/>
                  </a:lnTo>
                  <a:lnTo>
                    <a:pt x="220" y="50"/>
                  </a:lnTo>
                  <a:lnTo>
                    <a:pt x="222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50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30" y="47"/>
                  </a:lnTo>
                  <a:lnTo>
                    <a:pt x="233" y="47"/>
                  </a:lnTo>
                  <a:lnTo>
                    <a:pt x="235" y="44"/>
                  </a:lnTo>
                  <a:lnTo>
                    <a:pt x="238" y="47"/>
                  </a:lnTo>
                  <a:lnTo>
                    <a:pt x="238" y="47"/>
                  </a:lnTo>
                  <a:lnTo>
                    <a:pt x="238" y="47"/>
                  </a:lnTo>
                  <a:lnTo>
                    <a:pt x="240" y="50"/>
                  </a:lnTo>
                  <a:lnTo>
                    <a:pt x="240" y="50"/>
                  </a:lnTo>
                  <a:lnTo>
                    <a:pt x="240" y="47"/>
                  </a:lnTo>
                  <a:lnTo>
                    <a:pt x="243" y="47"/>
                  </a:lnTo>
                  <a:lnTo>
                    <a:pt x="243" y="47"/>
                  </a:lnTo>
                  <a:lnTo>
                    <a:pt x="246" y="50"/>
                  </a:lnTo>
                  <a:lnTo>
                    <a:pt x="246" y="50"/>
                  </a:lnTo>
                  <a:lnTo>
                    <a:pt x="246" y="50"/>
                  </a:lnTo>
                  <a:lnTo>
                    <a:pt x="248" y="47"/>
                  </a:lnTo>
                  <a:lnTo>
                    <a:pt x="248" y="47"/>
                  </a:lnTo>
                  <a:lnTo>
                    <a:pt x="251" y="47"/>
                  </a:lnTo>
                  <a:lnTo>
                    <a:pt x="251" y="47"/>
                  </a:lnTo>
                  <a:lnTo>
                    <a:pt x="253" y="47"/>
                  </a:lnTo>
                  <a:lnTo>
                    <a:pt x="253" y="47"/>
                  </a:lnTo>
                  <a:lnTo>
                    <a:pt x="253" y="47"/>
                  </a:lnTo>
                  <a:lnTo>
                    <a:pt x="256" y="47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9" y="47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59" y="44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4" y="44"/>
                  </a:lnTo>
                  <a:lnTo>
                    <a:pt x="264" y="44"/>
                  </a:lnTo>
                  <a:lnTo>
                    <a:pt x="264" y="44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59" y="42"/>
                  </a:lnTo>
                  <a:lnTo>
                    <a:pt x="256" y="42"/>
                  </a:lnTo>
                  <a:lnTo>
                    <a:pt x="253" y="42"/>
                  </a:lnTo>
                  <a:lnTo>
                    <a:pt x="248" y="44"/>
                  </a:lnTo>
                  <a:lnTo>
                    <a:pt x="235" y="44"/>
                  </a:lnTo>
                  <a:lnTo>
                    <a:pt x="233" y="42"/>
                  </a:lnTo>
                  <a:lnTo>
                    <a:pt x="230" y="42"/>
                  </a:lnTo>
                  <a:lnTo>
                    <a:pt x="227" y="42"/>
                  </a:lnTo>
                  <a:lnTo>
                    <a:pt x="222" y="42"/>
                  </a:lnTo>
                  <a:lnTo>
                    <a:pt x="220" y="42"/>
                  </a:lnTo>
                  <a:lnTo>
                    <a:pt x="217" y="42"/>
                  </a:lnTo>
                  <a:lnTo>
                    <a:pt x="215" y="39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5" y="37"/>
                  </a:lnTo>
                  <a:lnTo>
                    <a:pt x="212" y="37"/>
                  </a:lnTo>
                  <a:lnTo>
                    <a:pt x="212" y="39"/>
                  </a:lnTo>
                  <a:lnTo>
                    <a:pt x="209" y="42"/>
                  </a:lnTo>
                  <a:lnTo>
                    <a:pt x="209" y="44"/>
                  </a:lnTo>
                  <a:lnTo>
                    <a:pt x="207" y="50"/>
                  </a:lnTo>
                  <a:lnTo>
                    <a:pt x="207" y="52"/>
                  </a:lnTo>
                  <a:lnTo>
                    <a:pt x="204" y="52"/>
                  </a:lnTo>
                  <a:lnTo>
                    <a:pt x="202" y="55"/>
                  </a:lnTo>
                  <a:lnTo>
                    <a:pt x="202" y="57"/>
                  </a:lnTo>
                  <a:lnTo>
                    <a:pt x="199" y="63"/>
                  </a:lnTo>
                  <a:lnTo>
                    <a:pt x="194" y="68"/>
                  </a:lnTo>
                  <a:lnTo>
                    <a:pt x="194" y="70"/>
                  </a:lnTo>
                  <a:lnTo>
                    <a:pt x="191" y="70"/>
                  </a:lnTo>
                  <a:lnTo>
                    <a:pt x="189" y="73"/>
                  </a:lnTo>
                  <a:lnTo>
                    <a:pt x="183" y="76"/>
                  </a:lnTo>
                  <a:lnTo>
                    <a:pt x="178" y="78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3" y="83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71" y="91"/>
                  </a:lnTo>
                  <a:lnTo>
                    <a:pt x="168" y="91"/>
                  </a:lnTo>
                  <a:lnTo>
                    <a:pt x="168" y="91"/>
                  </a:lnTo>
                  <a:lnTo>
                    <a:pt x="168" y="91"/>
                  </a:lnTo>
                  <a:lnTo>
                    <a:pt x="168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8" y="99"/>
                  </a:lnTo>
                  <a:lnTo>
                    <a:pt x="168" y="102"/>
                  </a:lnTo>
                  <a:lnTo>
                    <a:pt x="168" y="104"/>
                  </a:lnTo>
                  <a:lnTo>
                    <a:pt x="171" y="104"/>
                  </a:lnTo>
                  <a:lnTo>
                    <a:pt x="171" y="104"/>
                  </a:lnTo>
                  <a:lnTo>
                    <a:pt x="173" y="104"/>
                  </a:lnTo>
                  <a:lnTo>
                    <a:pt x="173" y="107"/>
                  </a:lnTo>
                  <a:lnTo>
                    <a:pt x="173" y="104"/>
                  </a:lnTo>
                  <a:lnTo>
                    <a:pt x="171" y="104"/>
                  </a:lnTo>
                  <a:lnTo>
                    <a:pt x="171" y="104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5" y="102"/>
                  </a:lnTo>
                  <a:lnTo>
                    <a:pt x="165" y="99"/>
                  </a:lnTo>
                  <a:lnTo>
                    <a:pt x="165" y="99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8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5" y="89"/>
                  </a:lnTo>
                  <a:lnTo>
                    <a:pt x="165" y="89"/>
                  </a:lnTo>
                  <a:lnTo>
                    <a:pt x="163" y="91"/>
                  </a:lnTo>
                  <a:lnTo>
                    <a:pt x="160" y="91"/>
                  </a:lnTo>
                  <a:lnTo>
                    <a:pt x="158" y="91"/>
                  </a:lnTo>
                  <a:lnTo>
                    <a:pt x="155" y="91"/>
                  </a:lnTo>
                  <a:lnTo>
                    <a:pt x="150" y="94"/>
                  </a:lnTo>
                  <a:lnTo>
                    <a:pt x="145" y="94"/>
                  </a:lnTo>
                  <a:lnTo>
                    <a:pt x="142" y="96"/>
                  </a:lnTo>
                  <a:lnTo>
                    <a:pt x="137" y="96"/>
                  </a:lnTo>
                  <a:lnTo>
                    <a:pt x="132" y="96"/>
                  </a:lnTo>
                  <a:lnTo>
                    <a:pt x="129" y="94"/>
                  </a:lnTo>
                  <a:lnTo>
                    <a:pt x="124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6" y="99"/>
                  </a:lnTo>
                  <a:lnTo>
                    <a:pt x="114" y="102"/>
                  </a:lnTo>
                  <a:lnTo>
                    <a:pt x="111" y="104"/>
                  </a:lnTo>
                  <a:lnTo>
                    <a:pt x="108" y="104"/>
                  </a:lnTo>
                  <a:lnTo>
                    <a:pt x="106" y="104"/>
                  </a:lnTo>
                  <a:lnTo>
                    <a:pt x="106" y="107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8" y="107"/>
                  </a:lnTo>
                  <a:lnTo>
                    <a:pt x="108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4" y="107"/>
                  </a:lnTo>
                  <a:lnTo>
                    <a:pt x="114" y="109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1" y="112"/>
                  </a:lnTo>
                  <a:lnTo>
                    <a:pt x="111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20"/>
                  </a:lnTo>
                  <a:lnTo>
                    <a:pt x="101" y="120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101" y="122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5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2"/>
                  </a:lnTo>
                  <a:lnTo>
                    <a:pt x="101" y="120"/>
                  </a:lnTo>
                  <a:lnTo>
                    <a:pt x="101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3" y="117"/>
                  </a:lnTo>
                  <a:lnTo>
                    <a:pt x="93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5" y="122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7"/>
                  </a:lnTo>
                  <a:lnTo>
                    <a:pt x="88" y="125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3" y="125"/>
                  </a:lnTo>
                  <a:lnTo>
                    <a:pt x="93" y="122"/>
                  </a:lnTo>
                  <a:lnTo>
                    <a:pt x="95" y="122"/>
                  </a:lnTo>
                  <a:lnTo>
                    <a:pt x="95" y="122"/>
                  </a:lnTo>
                  <a:lnTo>
                    <a:pt x="95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27"/>
                  </a:lnTo>
                  <a:lnTo>
                    <a:pt x="98" y="130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98" y="135"/>
                  </a:lnTo>
                  <a:lnTo>
                    <a:pt x="95" y="135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5"/>
                  </a:lnTo>
                  <a:lnTo>
                    <a:pt x="93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2" y="130"/>
                  </a:lnTo>
                  <a:lnTo>
                    <a:pt x="82" y="127"/>
                  </a:lnTo>
                  <a:lnTo>
                    <a:pt x="82" y="127"/>
                  </a:lnTo>
                  <a:lnTo>
                    <a:pt x="80" y="127"/>
                  </a:lnTo>
                  <a:lnTo>
                    <a:pt x="80" y="130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2" y="133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2" y="127"/>
                  </a:lnTo>
                  <a:lnTo>
                    <a:pt x="72" y="127"/>
                  </a:lnTo>
                  <a:lnTo>
                    <a:pt x="72" y="125"/>
                  </a:lnTo>
                  <a:lnTo>
                    <a:pt x="75" y="125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0" y="122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7" y="120"/>
                  </a:lnTo>
                  <a:lnTo>
                    <a:pt x="64" y="120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2" y="120"/>
                  </a:lnTo>
                  <a:lnTo>
                    <a:pt x="54" y="120"/>
                  </a:lnTo>
                  <a:lnTo>
                    <a:pt x="49" y="120"/>
                  </a:lnTo>
                  <a:lnTo>
                    <a:pt x="44" y="122"/>
                  </a:lnTo>
                  <a:lnTo>
                    <a:pt x="38" y="125"/>
                  </a:lnTo>
                  <a:lnTo>
                    <a:pt x="33" y="127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3" y="135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41" y="135"/>
                  </a:lnTo>
                  <a:lnTo>
                    <a:pt x="41" y="138"/>
                  </a:lnTo>
                  <a:lnTo>
                    <a:pt x="41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6" y="138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3" y="135"/>
                  </a:lnTo>
                  <a:lnTo>
                    <a:pt x="33" y="135"/>
                  </a:lnTo>
                  <a:lnTo>
                    <a:pt x="31" y="135"/>
                  </a:lnTo>
                  <a:lnTo>
                    <a:pt x="31" y="135"/>
                  </a:lnTo>
                  <a:lnTo>
                    <a:pt x="31" y="135"/>
                  </a:lnTo>
                  <a:lnTo>
                    <a:pt x="31" y="135"/>
                  </a:lnTo>
                  <a:lnTo>
                    <a:pt x="31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3" y="140"/>
                  </a:lnTo>
                  <a:lnTo>
                    <a:pt x="23" y="140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20" y="143"/>
                  </a:lnTo>
                  <a:lnTo>
                    <a:pt x="18" y="143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51"/>
                  </a:lnTo>
                  <a:lnTo>
                    <a:pt x="18" y="156"/>
                  </a:lnTo>
                  <a:lnTo>
                    <a:pt x="20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61"/>
                  </a:lnTo>
                  <a:lnTo>
                    <a:pt x="18" y="161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20" y="166"/>
                  </a:lnTo>
                  <a:lnTo>
                    <a:pt x="20" y="166"/>
                  </a:lnTo>
                  <a:lnTo>
                    <a:pt x="23" y="166"/>
                  </a:lnTo>
                  <a:lnTo>
                    <a:pt x="23" y="166"/>
                  </a:lnTo>
                  <a:lnTo>
                    <a:pt x="23" y="169"/>
                  </a:lnTo>
                  <a:lnTo>
                    <a:pt x="23" y="169"/>
                  </a:lnTo>
                  <a:lnTo>
                    <a:pt x="26" y="172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31" y="174"/>
                  </a:lnTo>
                  <a:lnTo>
                    <a:pt x="33" y="172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7"/>
                  </a:lnTo>
                  <a:lnTo>
                    <a:pt x="38" y="177"/>
                  </a:lnTo>
                  <a:lnTo>
                    <a:pt x="38" y="177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5"/>
                  </a:lnTo>
                  <a:lnTo>
                    <a:pt x="36" y="187"/>
                  </a:lnTo>
                  <a:lnTo>
                    <a:pt x="36" y="190"/>
                  </a:lnTo>
                  <a:lnTo>
                    <a:pt x="36" y="190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3" y="197"/>
                  </a:lnTo>
                  <a:lnTo>
                    <a:pt x="33" y="197"/>
                  </a:lnTo>
                  <a:lnTo>
                    <a:pt x="31" y="197"/>
                  </a:lnTo>
                  <a:lnTo>
                    <a:pt x="31" y="197"/>
                  </a:lnTo>
                  <a:lnTo>
                    <a:pt x="28" y="197"/>
                  </a:lnTo>
                  <a:lnTo>
                    <a:pt x="28" y="195"/>
                  </a:lnTo>
                  <a:lnTo>
                    <a:pt x="26" y="195"/>
                  </a:lnTo>
                  <a:lnTo>
                    <a:pt x="26" y="195"/>
                  </a:lnTo>
                  <a:lnTo>
                    <a:pt x="26" y="195"/>
                  </a:lnTo>
                  <a:lnTo>
                    <a:pt x="26" y="197"/>
                  </a:lnTo>
                  <a:lnTo>
                    <a:pt x="26" y="197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203"/>
                  </a:lnTo>
                  <a:lnTo>
                    <a:pt x="26" y="203"/>
                  </a:lnTo>
                  <a:lnTo>
                    <a:pt x="26" y="203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3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3" y="205"/>
                  </a:lnTo>
                  <a:lnTo>
                    <a:pt x="23" y="208"/>
                  </a:lnTo>
                  <a:lnTo>
                    <a:pt x="20" y="208"/>
                  </a:lnTo>
                  <a:lnTo>
                    <a:pt x="18" y="210"/>
                  </a:lnTo>
                  <a:lnTo>
                    <a:pt x="15" y="213"/>
                  </a:lnTo>
                  <a:lnTo>
                    <a:pt x="13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5" y="216"/>
                  </a:lnTo>
                  <a:lnTo>
                    <a:pt x="5" y="216"/>
                  </a:lnTo>
                  <a:lnTo>
                    <a:pt x="2" y="218"/>
                  </a:lnTo>
                  <a:lnTo>
                    <a:pt x="2" y="221"/>
                  </a:lnTo>
                  <a:lnTo>
                    <a:pt x="2" y="221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6"/>
                  </a:lnTo>
                  <a:lnTo>
                    <a:pt x="2" y="226"/>
                  </a:lnTo>
                  <a:lnTo>
                    <a:pt x="2" y="226"/>
                  </a:lnTo>
                  <a:lnTo>
                    <a:pt x="2" y="229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0" y="231"/>
                  </a:lnTo>
                  <a:lnTo>
                    <a:pt x="2" y="231"/>
                  </a:lnTo>
                  <a:lnTo>
                    <a:pt x="2" y="231"/>
                  </a:lnTo>
                  <a:lnTo>
                    <a:pt x="5" y="231"/>
                  </a:lnTo>
                  <a:lnTo>
                    <a:pt x="5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5" y="234"/>
                  </a:lnTo>
                  <a:lnTo>
                    <a:pt x="15" y="234"/>
                  </a:lnTo>
                  <a:lnTo>
                    <a:pt x="15" y="234"/>
                  </a:lnTo>
                  <a:lnTo>
                    <a:pt x="15" y="234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20" y="239"/>
                  </a:lnTo>
                  <a:lnTo>
                    <a:pt x="23" y="239"/>
                  </a:lnTo>
                  <a:lnTo>
                    <a:pt x="26" y="242"/>
                  </a:lnTo>
                  <a:lnTo>
                    <a:pt x="26" y="242"/>
                  </a:lnTo>
                  <a:lnTo>
                    <a:pt x="26" y="242"/>
                  </a:lnTo>
                  <a:lnTo>
                    <a:pt x="26" y="242"/>
                  </a:lnTo>
                  <a:lnTo>
                    <a:pt x="28" y="242"/>
                  </a:lnTo>
                  <a:lnTo>
                    <a:pt x="28" y="242"/>
                  </a:lnTo>
                  <a:lnTo>
                    <a:pt x="31" y="242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6" y="236"/>
                  </a:lnTo>
                  <a:lnTo>
                    <a:pt x="36" y="234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4" y="236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42"/>
                  </a:lnTo>
                  <a:lnTo>
                    <a:pt x="46" y="242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49" y="249"/>
                  </a:lnTo>
                  <a:lnTo>
                    <a:pt x="51" y="252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4" y="257"/>
                  </a:lnTo>
                  <a:lnTo>
                    <a:pt x="57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62" y="260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59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4" y="262"/>
                  </a:lnTo>
                  <a:lnTo>
                    <a:pt x="67" y="262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7" y="273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2" y="270"/>
                  </a:lnTo>
                  <a:lnTo>
                    <a:pt x="75" y="273"/>
                  </a:lnTo>
                  <a:lnTo>
                    <a:pt x="75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80" y="275"/>
                  </a:lnTo>
                  <a:lnTo>
                    <a:pt x="82" y="275"/>
                  </a:lnTo>
                  <a:lnTo>
                    <a:pt x="85" y="275"/>
                  </a:lnTo>
                  <a:lnTo>
                    <a:pt x="88" y="278"/>
                  </a:lnTo>
                  <a:lnTo>
                    <a:pt x="90" y="275"/>
                  </a:lnTo>
                  <a:lnTo>
                    <a:pt x="88" y="275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90" y="273"/>
                  </a:lnTo>
                  <a:lnTo>
                    <a:pt x="93" y="273"/>
                  </a:lnTo>
                  <a:lnTo>
                    <a:pt x="93" y="273"/>
                  </a:lnTo>
                  <a:lnTo>
                    <a:pt x="95" y="273"/>
                  </a:lnTo>
                  <a:lnTo>
                    <a:pt x="98" y="273"/>
                  </a:lnTo>
                  <a:lnTo>
                    <a:pt x="98" y="273"/>
                  </a:lnTo>
                  <a:lnTo>
                    <a:pt x="98" y="273"/>
                  </a:lnTo>
                  <a:lnTo>
                    <a:pt x="101" y="273"/>
                  </a:lnTo>
                  <a:lnTo>
                    <a:pt x="101" y="273"/>
                  </a:lnTo>
                  <a:lnTo>
                    <a:pt x="101" y="275"/>
                  </a:lnTo>
                  <a:lnTo>
                    <a:pt x="101" y="273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3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2"/>
                  </a:lnTo>
                  <a:lnTo>
                    <a:pt x="106" y="262"/>
                  </a:lnTo>
                  <a:lnTo>
                    <a:pt x="106" y="260"/>
                  </a:lnTo>
                  <a:lnTo>
                    <a:pt x="106" y="260"/>
                  </a:lnTo>
                  <a:lnTo>
                    <a:pt x="108" y="260"/>
                  </a:lnTo>
                  <a:lnTo>
                    <a:pt x="111" y="260"/>
                  </a:lnTo>
                  <a:lnTo>
                    <a:pt x="111" y="257"/>
                  </a:lnTo>
                  <a:lnTo>
                    <a:pt x="111" y="257"/>
                  </a:lnTo>
                  <a:lnTo>
                    <a:pt x="114" y="257"/>
                  </a:lnTo>
                  <a:lnTo>
                    <a:pt x="114" y="255"/>
                  </a:lnTo>
                  <a:lnTo>
                    <a:pt x="114" y="255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9" y="255"/>
                  </a:lnTo>
                  <a:lnTo>
                    <a:pt x="119" y="255"/>
                  </a:lnTo>
                  <a:lnTo>
                    <a:pt x="119" y="252"/>
                  </a:lnTo>
                  <a:lnTo>
                    <a:pt x="121" y="252"/>
                  </a:lnTo>
                  <a:lnTo>
                    <a:pt x="121" y="252"/>
                  </a:lnTo>
                  <a:lnTo>
                    <a:pt x="124" y="255"/>
                  </a:lnTo>
                  <a:lnTo>
                    <a:pt x="124" y="255"/>
                  </a:lnTo>
                  <a:lnTo>
                    <a:pt x="124" y="255"/>
                  </a:lnTo>
                  <a:lnTo>
                    <a:pt x="124" y="255"/>
                  </a:lnTo>
                  <a:lnTo>
                    <a:pt x="127" y="255"/>
                  </a:lnTo>
                  <a:lnTo>
                    <a:pt x="127" y="257"/>
                  </a:lnTo>
                  <a:lnTo>
                    <a:pt x="127" y="257"/>
                  </a:lnTo>
                  <a:lnTo>
                    <a:pt x="127" y="257"/>
                  </a:lnTo>
                  <a:lnTo>
                    <a:pt x="129" y="257"/>
                  </a:lnTo>
                  <a:lnTo>
                    <a:pt x="132" y="257"/>
                  </a:lnTo>
                  <a:lnTo>
                    <a:pt x="134" y="257"/>
                  </a:lnTo>
                  <a:lnTo>
                    <a:pt x="134" y="257"/>
                  </a:lnTo>
                  <a:lnTo>
                    <a:pt x="137" y="257"/>
                  </a:lnTo>
                  <a:lnTo>
                    <a:pt x="137" y="255"/>
                  </a:lnTo>
                  <a:lnTo>
                    <a:pt x="137" y="255"/>
                  </a:lnTo>
                  <a:lnTo>
                    <a:pt x="137" y="255"/>
                  </a:lnTo>
                  <a:lnTo>
                    <a:pt x="134" y="252"/>
                  </a:lnTo>
                  <a:lnTo>
                    <a:pt x="134" y="252"/>
                  </a:lnTo>
                  <a:lnTo>
                    <a:pt x="134" y="252"/>
                  </a:lnTo>
                  <a:lnTo>
                    <a:pt x="137" y="252"/>
                  </a:lnTo>
                  <a:lnTo>
                    <a:pt x="139" y="252"/>
                  </a:lnTo>
                  <a:lnTo>
                    <a:pt x="142" y="252"/>
                  </a:lnTo>
                  <a:lnTo>
                    <a:pt x="142" y="252"/>
                  </a:lnTo>
                  <a:lnTo>
                    <a:pt x="145" y="249"/>
                  </a:lnTo>
                  <a:lnTo>
                    <a:pt x="145" y="247"/>
                  </a:lnTo>
                  <a:lnTo>
                    <a:pt x="147" y="247"/>
                  </a:lnTo>
                  <a:lnTo>
                    <a:pt x="150" y="247"/>
                  </a:lnTo>
                  <a:lnTo>
                    <a:pt x="150" y="247"/>
                  </a:lnTo>
                  <a:lnTo>
                    <a:pt x="152" y="247"/>
                  </a:lnTo>
                  <a:lnTo>
                    <a:pt x="152" y="244"/>
                  </a:lnTo>
                  <a:lnTo>
                    <a:pt x="155" y="244"/>
                  </a:lnTo>
                  <a:lnTo>
                    <a:pt x="155" y="244"/>
                  </a:lnTo>
                  <a:lnTo>
                    <a:pt x="155" y="244"/>
                  </a:lnTo>
                  <a:lnTo>
                    <a:pt x="155" y="244"/>
                  </a:lnTo>
                  <a:lnTo>
                    <a:pt x="158" y="244"/>
                  </a:lnTo>
                  <a:lnTo>
                    <a:pt x="158" y="244"/>
                  </a:lnTo>
                  <a:lnTo>
                    <a:pt x="158" y="244"/>
                  </a:lnTo>
                  <a:lnTo>
                    <a:pt x="158" y="242"/>
                  </a:lnTo>
                  <a:lnTo>
                    <a:pt x="160" y="242"/>
                  </a:lnTo>
                  <a:lnTo>
                    <a:pt x="158" y="239"/>
                  </a:lnTo>
                  <a:lnTo>
                    <a:pt x="158" y="239"/>
                  </a:lnTo>
                  <a:lnTo>
                    <a:pt x="160" y="236"/>
                  </a:lnTo>
                  <a:lnTo>
                    <a:pt x="160" y="236"/>
                  </a:lnTo>
                  <a:lnTo>
                    <a:pt x="160" y="236"/>
                  </a:lnTo>
                  <a:lnTo>
                    <a:pt x="160" y="234"/>
                  </a:lnTo>
                  <a:lnTo>
                    <a:pt x="163" y="234"/>
                  </a:lnTo>
                  <a:lnTo>
                    <a:pt x="163" y="234"/>
                  </a:lnTo>
                  <a:lnTo>
                    <a:pt x="163" y="234"/>
                  </a:lnTo>
                  <a:lnTo>
                    <a:pt x="163" y="231"/>
                  </a:lnTo>
                  <a:lnTo>
                    <a:pt x="163" y="231"/>
                  </a:lnTo>
                  <a:lnTo>
                    <a:pt x="163" y="231"/>
                  </a:lnTo>
                  <a:lnTo>
                    <a:pt x="165" y="231"/>
                  </a:lnTo>
                  <a:lnTo>
                    <a:pt x="165" y="231"/>
                  </a:lnTo>
                  <a:lnTo>
                    <a:pt x="165" y="234"/>
                  </a:lnTo>
                  <a:lnTo>
                    <a:pt x="165" y="234"/>
                  </a:lnTo>
                  <a:lnTo>
                    <a:pt x="165" y="234"/>
                  </a:lnTo>
                  <a:lnTo>
                    <a:pt x="168" y="234"/>
                  </a:lnTo>
                  <a:lnTo>
                    <a:pt x="168" y="236"/>
                  </a:lnTo>
                  <a:lnTo>
                    <a:pt x="168" y="236"/>
                  </a:lnTo>
                  <a:lnTo>
                    <a:pt x="171" y="236"/>
                  </a:lnTo>
                  <a:lnTo>
                    <a:pt x="171" y="234"/>
                  </a:lnTo>
                  <a:lnTo>
                    <a:pt x="171" y="234"/>
                  </a:lnTo>
                  <a:lnTo>
                    <a:pt x="171" y="234"/>
                  </a:lnTo>
                  <a:lnTo>
                    <a:pt x="173" y="231"/>
                  </a:lnTo>
                  <a:lnTo>
                    <a:pt x="173" y="234"/>
                  </a:lnTo>
                  <a:lnTo>
                    <a:pt x="173" y="234"/>
                  </a:lnTo>
                  <a:lnTo>
                    <a:pt x="173" y="234"/>
                  </a:lnTo>
                  <a:lnTo>
                    <a:pt x="176" y="236"/>
                  </a:lnTo>
                  <a:lnTo>
                    <a:pt x="176" y="236"/>
                  </a:lnTo>
                  <a:lnTo>
                    <a:pt x="176" y="236"/>
                  </a:lnTo>
                  <a:lnTo>
                    <a:pt x="178" y="236"/>
                  </a:lnTo>
                  <a:lnTo>
                    <a:pt x="178" y="234"/>
                  </a:lnTo>
                  <a:lnTo>
                    <a:pt x="178" y="234"/>
                  </a:lnTo>
                  <a:lnTo>
                    <a:pt x="178" y="234"/>
                  </a:lnTo>
                  <a:lnTo>
                    <a:pt x="181" y="234"/>
                  </a:lnTo>
                  <a:lnTo>
                    <a:pt x="181" y="234"/>
                  </a:lnTo>
                  <a:lnTo>
                    <a:pt x="183" y="234"/>
                  </a:lnTo>
                  <a:lnTo>
                    <a:pt x="183" y="234"/>
                  </a:lnTo>
                  <a:lnTo>
                    <a:pt x="183" y="236"/>
                  </a:lnTo>
                  <a:lnTo>
                    <a:pt x="183" y="236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9" y="239"/>
                  </a:lnTo>
                  <a:lnTo>
                    <a:pt x="189" y="239"/>
                  </a:lnTo>
                  <a:lnTo>
                    <a:pt x="191" y="239"/>
                  </a:lnTo>
                  <a:lnTo>
                    <a:pt x="191" y="239"/>
                  </a:lnTo>
                  <a:lnTo>
                    <a:pt x="191" y="239"/>
                  </a:lnTo>
                  <a:lnTo>
                    <a:pt x="194" y="239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99" y="242"/>
                  </a:lnTo>
                  <a:lnTo>
                    <a:pt x="199" y="242"/>
                  </a:lnTo>
                  <a:lnTo>
                    <a:pt x="199" y="244"/>
                  </a:lnTo>
                  <a:lnTo>
                    <a:pt x="202" y="244"/>
                  </a:lnTo>
                  <a:lnTo>
                    <a:pt x="202" y="244"/>
                  </a:lnTo>
                  <a:lnTo>
                    <a:pt x="202" y="244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4" y="247"/>
                  </a:lnTo>
                  <a:lnTo>
                    <a:pt x="204" y="247"/>
                  </a:lnTo>
                  <a:lnTo>
                    <a:pt x="204" y="247"/>
                  </a:lnTo>
                  <a:lnTo>
                    <a:pt x="204" y="247"/>
                  </a:lnTo>
                  <a:lnTo>
                    <a:pt x="204" y="249"/>
                  </a:lnTo>
                  <a:lnTo>
                    <a:pt x="204" y="249"/>
                  </a:lnTo>
                  <a:lnTo>
                    <a:pt x="204" y="249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9" y="252"/>
                  </a:lnTo>
                  <a:lnTo>
                    <a:pt x="209" y="252"/>
                  </a:lnTo>
                  <a:lnTo>
                    <a:pt x="209" y="249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2" y="249"/>
                  </a:lnTo>
                  <a:lnTo>
                    <a:pt x="215" y="249"/>
                  </a:lnTo>
                  <a:lnTo>
                    <a:pt x="217" y="249"/>
                  </a:lnTo>
                  <a:lnTo>
                    <a:pt x="220" y="252"/>
                  </a:lnTo>
                  <a:lnTo>
                    <a:pt x="222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30" y="252"/>
                  </a:lnTo>
                  <a:lnTo>
                    <a:pt x="230" y="252"/>
                  </a:lnTo>
                  <a:lnTo>
                    <a:pt x="233" y="252"/>
                  </a:lnTo>
                  <a:lnTo>
                    <a:pt x="233" y="252"/>
                  </a:lnTo>
                  <a:lnTo>
                    <a:pt x="233" y="252"/>
                  </a:lnTo>
                  <a:lnTo>
                    <a:pt x="230" y="252"/>
                  </a:lnTo>
                  <a:lnTo>
                    <a:pt x="230" y="255"/>
                  </a:lnTo>
                  <a:lnTo>
                    <a:pt x="230" y="255"/>
                  </a:lnTo>
                  <a:lnTo>
                    <a:pt x="230" y="255"/>
                  </a:lnTo>
                  <a:lnTo>
                    <a:pt x="233" y="257"/>
                  </a:lnTo>
                  <a:lnTo>
                    <a:pt x="233" y="257"/>
                  </a:lnTo>
                  <a:lnTo>
                    <a:pt x="235" y="257"/>
                  </a:lnTo>
                  <a:lnTo>
                    <a:pt x="238" y="257"/>
                  </a:lnTo>
                  <a:lnTo>
                    <a:pt x="240" y="257"/>
                  </a:lnTo>
                  <a:lnTo>
                    <a:pt x="240" y="257"/>
                  </a:lnTo>
                  <a:lnTo>
                    <a:pt x="240" y="260"/>
                  </a:lnTo>
                  <a:lnTo>
                    <a:pt x="240" y="260"/>
                  </a:lnTo>
                  <a:lnTo>
                    <a:pt x="240" y="260"/>
                  </a:lnTo>
                  <a:lnTo>
                    <a:pt x="240" y="260"/>
                  </a:lnTo>
                  <a:lnTo>
                    <a:pt x="240" y="262"/>
                  </a:lnTo>
                  <a:lnTo>
                    <a:pt x="243" y="262"/>
                  </a:lnTo>
                  <a:lnTo>
                    <a:pt x="243" y="262"/>
                  </a:lnTo>
                  <a:lnTo>
                    <a:pt x="246" y="262"/>
                  </a:lnTo>
                  <a:lnTo>
                    <a:pt x="246" y="262"/>
                  </a:lnTo>
                  <a:lnTo>
                    <a:pt x="246" y="262"/>
                  </a:lnTo>
                  <a:lnTo>
                    <a:pt x="248" y="262"/>
                  </a:lnTo>
                  <a:lnTo>
                    <a:pt x="248" y="262"/>
                  </a:lnTo>
                  <a:lnTo>
                    <a:pt x="248" y="262"/>
                  </a:lnTo>
                  <a:lnTo>
                    <a:pt x="251" y="262"/>
                  </a:lnTo>
                  <a:lnTo>
                    <a:pt x="251" y="260"/>
                  </a:lnTo>
                  <a:lnTo>
                    <a:pt x="251" y="262"/>
                  </a:lnTo>
                  <a:lnTo>
                    <a:pt x="253" y="262"/>
                  </a:lnTo>
                  <a:lnTo>
                    <a:pt x="253" y="262"/>
                  </a:lnTo>
                  <a:lnTo>
                    <a:pt x="253" y="262"/>
                  </a:lnTo>
                  <a:lnTo>
                    <a:pt x="256" y="262"/>
                  </a:lnTo>
                  <a:lnTo>
                    <a:pt x="256" y="262"/>
                  </a:lnTo>
                  <a:lnTo>
                    <a:pt x="256" y="262"/>
                  </a:lnTo>
                  <a:lnTo>
                    <a:pt x="256" y="262"/>
                  </a:lnTo>
                  <a:lnTo>
                    <a:pt x="259" y="262"/>
                  </a:lnTo>
                  <a:lnTo>
                    <a:pt x="259" y="262"/>
                  </a:lnTo>
                  <a:lnTo>
                    <a:pt x="259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59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61" y="262"/>
                  </a:lnTo>
                  <a:lnTo>
                    <a:pt x="264" y="260"/>
                  </a:lnTo>
                  <a:lnTo>
                    <a:pt x="264" y="260"/>
                  </a:lnTo>
                  <a:lnTo>
                    <a:pt x="264" y="260"/>
                  </a:lnTo>
                  <a:lnTo>
                    <a:pt x="266" y="262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61" y="265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64" y="267"/>
                  </a:lnTo>
                  <a:lnTo>
                    <a:pt x="266" y="267"/>
                  </a:lnTo>
                  <a:lnTo>
                    <a:pt x="266" y="267"/>
                  </a:lnTo>
                  <a:lnTo>
                    <a:pt x="266" y="267"/>
                  </a:lnTo>
                  <a:lnTo>
                    <a:pt x="269" y="267"/>
                  </a:lnTo>
                  <a:lnTo>
                    <a:pt x="269" y="265"/>
                  </a:lnTo>
                  <a:lnTo>
                    <a:pt x="271" y="265"/>
                  </a:lnTo>
                  <a:lnTo>
                    <a:pt x="271" y="262"/>
                  </a:lnTo>
                  <a:lnTo>
                    <a:pt x="274" y="262"/>
                  </a:lnTo>
                  <a:lnTo>
                    <a:pt x="277" y="260"/>
                  </a:lnTo>
                  <a:lnTo>
                    <a:pt x="277" y="260"/>
                  </a:lnTo>
                  <a:lnTo>
                    <a:pt x="279" y="260"/>
                  </a:lnTo>
                  <a:lnTo>
                    <a:pt x="279" y="257"/>
                  </a:lnTo>
                  <a:lnTo>
                    <a:pt x="279" y="257"/>
                  </a:lnTo>
                  <a:lnTo>
                    <a:pt x="279" y="257"/>
                  </a:lnTo>
                  <a:lnTo>
                    <a:pt x="279" y="255"/>
                  </a:lnTo>
                  <a:lnTo>
                    <a:pt x="279" y="255"/>
                  </a:lnTo>
                  <a:lnTo>
                    <a:pt x="279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2" y="255"/>
                  </a:lnTo>
                  <a:lnTo>
                    <a:pt x="284" y="255"/>
                  </a:lnTo>
                  <a:lnTo>
                    <a:pt x="284" y="255"/>
                  </a:lnTo>
                  <a:lnTo>
                    <a:pt x="284" y="255"/>
                  </a:lnTo>
                  <a:lnTo>
                    <a:pt x="284" y="255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7" y="252"/>
                  </a:lnTo>
                  <a:lnTo>
                    <a:pt x="287" y="252"/>
                  </a:lnTo>
                  <a:lnTo>
                    <a:pt x="290" y="252"/>
                  </a:lnTo>
                  <a:lnTo>
                    <a:pt x="290" y="252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2" y="257"/>
                  </a:lnTo>
                  <a:lnTo>
                    <a:pt x="292" y="257"/>
                  </a:lnTo>
                  <a:lnTo>
                    <a:pt x="295" y="257"/>
                  </a:lnTo>
                  <a:lnTo>
                    <a:pt x="295" y="255"/>
                  </a:lnTo>
                  <a:lnTo>
                    <a:pt x="295" y="255"/>
                  </a:lnTo>
                  <a:lnTo>
                    <a:pt x="295" y="255"/>
                  </a:lnTo>
                  <a:lnTo>
                    <a:pt x="295" y="255"/>
                  </a:lnTo>
                  <a:lnTo>
                    <a:pt x="295" y="252"/>
                  </a:lnTo>
                  <a:lnTo>
                    <a:pt x="295" y="252"/>
                  </a:lnTo>
                  <a:lnTo>
                    <a:pt x="295" y="252"/>
                  </a:lnTo>
                  <a:lnTo>
                    <a:pt x="295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300" y="249"/>
                  </a:lnTo>
                  <a:lnTo>
                    <a:pt x="300" y="249"/>
                  </a:lnTo>
                  <a:lnTo>
                    <a:pt x="300" y="247"/>
                  </a:lnTo>
                  <a:lnTo>
                    <a:pt x="300" y="247"/>
                  </a:lnTo>
                  <a:lnTo>
                    <a:pt x="303" y="247"/>
                  </a:lnTo>
                  <a:lnTo>
                    <a:pt x="303" y="247"/>
                  </a:lnTo>
                  <a:lnTo>
                    <a:pt x="305" y="247"/>
                  </a:lnTo>
                  <a:lnTo>
                    <a:pt x="305" y="247"/>
                  </a:lnTo>
                  <a:lnTo>
                    <a:pt x="308" y="247"/>
                  </a:lnTo>
                  <a:lnTo>
                    <a:pt x="310" y="247"/>
                  </a:lnTo>
                  <a:lnTo>
                    <a:pt x="310" y="249"/>
                  </a:lnTo>
                  <a:lnTo>
                    <a:pt x="310" y="252"/>
                  </a:lnTo>
                  <a:lnTo>
                    <a:pt x="313" y="252"/>
                  </a:lnTo>
                  <a:lnTo>
                    <a:pt x="313" y="252"/>
                  </a:lnTo>
                  <a:lnTo>
                    <a:pt x="313" y="252"/>
                  </a:lnTo>
                  <a:lnTo>
                    <a:pt x="313" y="252"/>
                  </a:lnTo>
                  <a:lnTo>
                    <a:pt x="315" y="247"/>
                  </a:lnTo>
                  <a:lnTo>
                    <a:pt x="315" y="247"/>
                  </a:lnTo>
                  <a:lnTo>
                    <a:pt x="318" y="247"/>
                  </a:lnTo>
                  <a:lnTo>
                    <a:pt x="318" y="244"/>
                  </a:lnTo>
                  <a:lnTo>
                    <a:pt x="318" y="244"/>
                  </a:lnTo>
                  <a:lnTo>
                    <a:pt x="318" y="244"/>
                  </a:lnTo>
                  <a:lnTo>
                    <a:pt x="321" y="244"/>
                  </a:lnTo>
                  <a:lnTo>
                    <a:pt x="321" y="244"/>
                  </a:lnTo>
                  <a:lnTo>
                    <a:pt x="323" y="244"/>
                  </a:lnTo>
                  <a:lnTo>
                    <a:pt x="323" y="242"/>
                  </a:lnTo>
                  <a:lnTo>
                    <a:pt x="323" y="239"/>
                  </a:lnTo>
                  <a:lnTo>
                    <a:pt x="323" y="239"/>
                  </a:lnTo>
                  <a:lnTo>
                    <a:pt x="326" y="239"/>
                  </a:lnTo>
                  <a:lnTo>
                    <a:pt x="326" y="239"/>
                  </a:lnTo>
                  <a:lnTo>
                    <a:pt x="326" y="239"/>
                  </a:lnTo>
                  <a:lnTo>
                    <a:pt x="326" y="239"/>
                  </a:lnTo>
                  <a:lnTo>
                    <a:pt x="326" y="236"/>
                  </a:lnTo>
                  <a:lnTo>
                    <a:pt x="326" y="236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6" y="231"/>
                  </a:lnTo>
                  <a:lnTo>
                    <a:pt x="328" y="231"/>
                  </a:lnTo>
                  <a:lnTo>
                    <a:pt x="328" y="231"/>
                  </a:lnTo>
                  <a:lnTo>
                    <a:pt x="328" y="231"/>
                  </a:lnTo>
                  <a:lnTo>
                    <a:pt x="328" y="231"/>
                  </a:lnTo>
                  <a:lnTo>
                    <a:pt x="328" y="231"/>
                  </a:lnTo>
                  <a:lnTo>
                    <a:pt x="331" y="229"/>
                  </a:lnTo>
                  <a:lnTo>
                    <a:pt x="331" y="229"/>
                  </a:lnTo>
                  <a:lnTo>
                    <a:pt x="331" y="229"/>
                  </a:lnTo>
                  <a:lnTo>
                    <a:pt x="331" y="229"/>
                  </a:lnTo>
                  <a:lnTo>
                    <a:pt x="328" y="226"/>
                  </a:lnTo>
                  <a:lnTo>
                    <a:pt x="328" y="226"/>
                  </a:lnTo>
                  <a:lnTo>
                    <a:pt x="331" y="226"/>
                  </a:lnTo>
                  <a:lnTo>
                    <a:pt x="331" y="223"/>
                  </a:lnTo>
                  <a:lnTo>
                    <a:pt x="334" y="223"/>
                  </a:lnTo>
                  <a:lnTo>
                    <a:pt x="336" y="223"/>
                  </a:lnTo>
                  <a:lnTo>
                    <a:pt x="336" y="223"/>
                  </a:lnTo>
                  <a:lnTo>
                    <a:pt x="339" y="223"/>
                  </a:lnTo>
                  <a:lnTo>
                    <a:pt x="339" y="223"/>
                  </a:lnTo>
                  <a:lnTo>
                    <a:pt x="339" y="223"/>
                  </a:lnTo>
                  <a:lnTo>
                    <a:pt x="339" y="221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41" y="218"/>
                  </a:lnTo>
                  <a:lnTo>
                    <a:pt x="341" y="216"/>
                  </a:lnTo>
                  <a:lnTo>
                    <a:pt x="344" y="213"/>
                  </a:lnTo>
                  <a:lnTo>
                    <a:pt x="347" y="213"/>
                  </a:lnTo>
                  <a:lnTo>
                    <a:pt x="349" y="210"/>
                  </a:lnTo>
                  <a:lnTo>
                    <a:pt x="349" y="210"/>
                  </a:lnTo>
                  <a:lnTo>
                    <a:pt x="352" y="210"/>
                  </a:lnTo>
                  <a:lnTo>
                    <a:pt x="354" y="213"/>
                  </a:lnTo>
                  <a:lnTo>
                    <a:pt x="357" y="213"/>
                  </a:lnTo>
                  <a:lnTo>
                    <a:pt x="357" y="210"/>
                  </a:lnTo>
                  <a:lnTo>
                    <a:pt x="359" y="210"/>
                  </a:lnTo>
                  <a:lnTo>
                    <a:pt x="359" y="208"/>
                  </a:lnTo>
                  <a:lnTo>
                    <a:pt x="359" y="208"/>
                  </a:lnTo>
                  <a:lnTo>
                    <a:pt x="357" y="208"/>
                  </a:lnTo>
                  <a:lnTo>
                    <a:pt x="357" y="208"/>
                  </a:lnTo>
                  <a:lnTo>
                    <a:pt x="357" y="205"/>
                  </a:lnTo>
                  <a:lnTo>
                    <a:pt x="357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5"/>
                  </a:lnTo>
                  <a:lnTo>
                    <a:pt x="354" y="203"/>
                  </a:lnTo>
                  <a:lnTo>
                    <a:pt x="354" y="203"/>
                  </a:lnTo>
                  <a:lnTo>
                    <a:pt x="354" y="200"/>
                  </a:lnTo>
                  <a:lnTo>
                    <a:pt x="354" y="200"/>
                  </a:lnTo>
                  <a:lnTo>
                    <a:pt x="357" y="197"/>
                  </a:lnTo>
                  <a:lnTo>
                    <a:pt x="357" y="197"/>
                  </a:lnTo>
                  <a:lnTo>
                    <a:pt x="357" y="197"/>
                  </a:lnTo>
                  <a:lnTo>
                    <a:pt x="357" y="200"/>
                  </a:lnTo>
                  <a:lnTo>
                    <a:pt x="357" y="200"/>
                  </a:lnTo>
                  <a:lnTo>
                    <a:pt x="357" y="200"/>
                  </a:lnTo>
                  <a:lnTo>
                    <a:pt x="359" y="203"/>
                  </a:lnTo>
                  <a:lnTo>
                    <a:pt x="359" y="203"/>
                  </a:lnTo>
                  <a:lnTo>
                    <a:pt x="359" y="205"/>
                  </a:lnTo>
                  <a:lnTo>
                    <a:pt x="362" y="205"/>
                  </a:lnTo>
                  <a:lnTo>
                    <a:pt x="362" y="205"/>
                  </a:lnTo>
                  <a:lnTo>
                    <a:pt x="365" y="205"/>
                  </a:lnTo>
                  <a:lnTo>
                    <a:pt x="365" y="205"/>
                  </a:lnTo>
                  <a:lnTo>
                    <a:pt x="367" y="205"/>
                  </a:lnTo>
                  <a:lnTo>
                    <a:pt x="365" y="208"/>
                  </a:lnTo>
                  <a:lnTo>
                    <a:pt x="365" y="210"/>
                  </a:lnTo>
                  <a:lnTo>
                    <a:pt x="365" y="210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7" y="210"/>
                  </a:lnTo>
                  <a:lnTo>
                    <a:pt x="365" y="213"/>
                  </a:lnTo>
                  <a:lnTo>
                    <a:pt x="365" y="213"/>
                  </a:lnTo>
                  <a:lnTo>
                    <a:pt x="367" y="213"/>
                  </a:lnTo>
                  <a:lnTo>
                    <a:pt x="370" y="216"/>
                  </a:lnTo>
                  <a:lnTo>
                    <a:pt x="370" y="216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70" y="221"/>
                  </a:lnTo>
                  <a:lnTo>
                    <a:pt x="372" y="221"/>
                  </a:lnTo>
                  <a:lnTo>
                    <a:pt x="375" y="221"/>
                  </a:lnTo>
                  <a:lnTo>
                    <a:pt x="378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3" y="221"/>
                  </a:lnTo>
                  <a:lnTo>
                    <a:pt x="385" y="218"/>
                  </a:lnTo>
                  <a:lnTo>
                    <a:pt x="385" y="221"/>
                  </a:lnTo>
                  <a:lnTo>
                    <a:pt x="385" y="223"/>
                  </a:lnTo>
                  <a:lnTo>
                    <a:pt x="385" y="223"/>
                  </a:lnTo>
                  <a:lnTo>
                    <a:pt x="388" y="223"/>
                  </a:lnTo>
                  <a:lnTo>
                    <a:pt x="388" y="223"/>
                  </a:lnTo>
                  <a:lnTo>
                    <a:pt x="391" y="223"/>
                  </a:lnTo>
                  <a:lnTo>
                    <a:pt x="391" y="223"/>
                  </a:lnTo>
                  <a:lnTo>
                    <a:pt x="391" y="223"/>
                  </a:lnTo>
                  <a:lnTo>
                    <a:pt x="391" y="221"/>
                  </a:lnTo>
                  <a:lnTo>
                    <a:pt x="391" y="221"/>
                  </a:lnTo>
                  <a:lnTo>
                    <a:pt x="393" y="221"/>
                  </a:lnTo>
                  <a:lnTo>
                    <a:pt x="393" y="221"/>
                  </a:lnTo>
                  <a:lnTo>
                    <a:pt x="393" y="218"/>
                  </a:lnTo>
                  <a:lnTo>
                    <a:pt x="393" y="218"/>
                  </a:lnTo>
                  <a:lnTo>
                    <a:pt x="396" y="218"/>
                  </a:lnTo>
                  <a:lnTo>
                    <a:pt x="396" y="218"/>
                  </a:lnTo>
                  <a:lnTo>
                    <a:pt x="398" y="221"/>
                  </a:lnTo>
                  <a:lnTo>
                    <a:pt x="398" y="221"/>
                  </a:lnTo>
                  <a:lnTo>
                    <a:pt x="401" y="221"/>
                  </a:lnTo>
                  <a:lnTo>
                    <a:pt x="401" y="221"/>
                  </a:lnTo>
                  <a:lnTo>
                    <a:pt x="403" y="221"/>
                  </a:lnTo>
                  <a:lnTo>
                    <a:pt x="406" y="218"/>
                  </a:lnTo>
                  <a:lnTo>
                    <a:pt x="406" y="218"/>
                  </a:lnTo>
                  <a:lnTo>
                    <a:pt x="406" y="221"/>
                  </a:lnTo>
                  <a:lnTo>
                    <a:pt x="406" y="223"/>
                  </a:lnTo>
                  <a:lnTo>
                    <a:pt x="406" y="223"/>
                  </a:lnTo>
                  <a:lnTo>
                    <a:pt x="406" y="226"/>
                  </a:lnTo>
                  <a:lnTo>
                    <a:pt x="406" y="229"/>
                  </a:lnTo>
                  <a:lnTo>
                    <a:pt x="403" y="234"/>
                  </a:lnTo>
                  <a:lnTo>
                    <a:pt x="401" y="236"/>
                  </a:lnTo>
                  <a:lnTo>
                    <a:pt x="401" y="239"/>
                  </a:lnTo>
                  <a:lnTo>
                    <a:pt x="398" y="242"/>
                  </a:lnTo>
                  <a:lnTo>
                    <a:pt x="393" y="244"/>
                  </a:lnTo>
                  <a:lnTo>
                    <a:pt x="391" y="247"/>
                  </a:lnTo>
                  <a:lnTo>
                    <a:pt x="391" y="249"/>
                  </a:lnTo>
                  <a:lnTo>
                    <a:pt x="393" y="249"/>
                  </a:lnTo>
                  <a:lnTo>
                    <a:pt x="396" y="249"/>
                  </a:lnTo>
                  <a:lnTo>
                    <a:pt x="398" y="249"/>
                  </a:lnTo>
                  <a:lnTo>
                    <a:pt x="401" y="249"/>
                  </a:lnTo>
                  <a:lnTo>
                    <a:pt x="403" y="249"/>
                  </a:lnTo>
                  <a:lnTo>
                    <a:pt x="403" y="249"/>
                  </a:lnTo>
                  <a:lnTo>
                    <a:pt x="403" y="252"/>
                  </a:lnTo>
                  <a:lnTo>
                    <a:pt x="406" y="252"/>
                  </a:lnTo>
                  <a:lnTo>
                    <a:pt x="409" y="249"/>
                  </a:lnTo>
                  <a:lnTo>
                    <a:pt x="409" y="249"/>
                  </a:lnTo>
                  <a:lnTo>
                    <a:pt x="409" y="249"/>
                  </a:lnTo>
                  <a:lnTo>
                    <a:pt x="409" y="247"/>
                  </a:lnTo>
                  <a:lnTo>
                    <a:pt x="411" y="247"/>
                  </a:lnTo>
                  <a:lnTo>
                    <a:pt x="411" y="247"/>
                  </a:lnTo>
                  <a:lnTo>
                    <a:pt x="414" y="247"/>
                  </a:lnTo>
                  <a:lnTo>
                    <a:pt x="414" y="244"/>
                  </a:lnTo>
                  <a:lnTo>
                    <a:pt x="414" y="242"/>
                  </a:lnTo>
                  <a:lnTo>
                    <a:pt x="416" y="242"/>
                  </a:lnTo>
                  <a:lnTo>
                    <a:pt x="416" y="242"/>
                  </a:lnTo>
                  <a:lnTo>
                    <a:pt x="419" y="242"/>
                  </a:lnTo>
                  <a:lnTo>
                    <a:pt x="419" y="239"/>
                  </a:lnTo>
                  <a:lnTo>
                    <a:pt x="422" y="239"/>
                  </a:lnTo>
                  <a:lnTo>
                    <a:pt x="424" y="239"/>
                  </a:lnTo>
                  <a:lnTo>
                    <a:pt x="424" y="239"/>
                  </a:lnTo>
                  <a:lnTo>
                    <a:pt x="424" y="236"/>
                  </a:lnTo>
                  <a:lnTo>
                    <a:pt x="424" y="234"/>
                  </a:lnTo>
                  <a:lnTo>
                    <a:pt x="424" y="234"/>
                  </a:lnTo>
                  <a:lnTo>
                    <a:pt x="424" y="234"/>
                  </a:lnTo>
                  <a:lnTo>
                    <a:pt x="424" y="234"/>
                  </a:lnTo>
                  <a:close/>
                  <a:moveTo>
                    <a:pt x="233" y="55"/>
                  </a:move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3" y="55"/>
                  </a:lnTo>
                  <a:close/>
                  <a:moveTo>
                    <a:pt x="287" y="21"/>
                  </a:moveTo>
                  <a:lnTo>
                    <a:pt x="287" y="21"/>
                  </a:lnTo>
                  <a:lnTo>
                    <a:pt x="287" y="24"/>
                  </a:lnTo>
                  <a:lnTo>
                    <a:pt x="287" y="24"/>
                  </a:lnTo>
                  <a:lnTo>
                    <a:pt x="290" y="21"/>
                  </a:lnTo>
                  <a:lnTo>
                    <a:pt x="292" y="19"/>
                  </a:lnTo>
                  <a:lnTo>
                    <a:pt x="292" y="19"/>
                  </a:lnTo>
                  <a:lnTo>
                    <a:pt x="295" y="19"/>
                  </a:lnTo>
                  <a:lnTo>
                    <a:pt x="295" y="16"/>
                  </a:lnTo>
                  <a:lnTo>
                    <a:pt x="295" y="13"/>
                  </a:lnTo>
                  <a:lnTo>
                    <a:pt x="292" y="11"/>
                  </a:lnTo>
                  <a:lnTo>
                    <a:pt x="295" y="11"/>
                  </a:lnTo>
                  <a:lnTo>
                    <a:pt x="297" y="8"/>
                  </a:lnTo>
                  <a:lnTo>
                    <a:pt x="297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00" y="11"/>
                  </a:lnTo>
                  <a:lnTo>
                    <a:pt x="300" y="11"/>
                  </a:lnTo>
                  <a:lnTo>
                    <a:pt x="300" y="13"/>
                  </a:lnTo>
                  <a:lnTo>
                    <a:pt x="297" y="16"/>
                  </a:lnTo>
                  <a:lnTo>
                    <a:pt x="297" y="19"/>
                  </a:lnTo>
                  <a:lnTo>
                    <a:pt x="297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4"/>
                  </a:lnTo>
                  <a:lnTo>
                    <a:pt x="295" y="24"/>
                  </a:lnTo>
                  <a:lnTo>
                    <a:pt x="295" y="24"/>
                  </a:lnTo>
                  <a:lnTo>
                    <a:pt x="297" y="24"/>
                  </a:lnTo>
                  <a:lnTo>
                    <a:pt x="297" y="21"/>
                  </a:lnTo>
                  <a:lnTo>
                    <a:pt x="300" y="21"/>
                  </a:lnTo>
                  <a:lnTo>
                    <a:pt x="300" y="21"/>
                  </a:lnTo>
                  <a:lnTo>
                    <a:pt x="303" y="21"/>
                  </a:lnTo>
                  <a:lnTo>
                    <a:pt x="303" y="21"/>
                  </a:lnTo>
                  <a:lnTo>
                    <a:pt x="303" y="21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8" y="13"/>
                  </a:lnTo>
                  <a:lnTo>
                    <a:pt x="310" y="13"/>
                  </a:lnTo>
                  <a:lnTo>
                    <a:pt x="310" y="16"/>
                  </a:lnTo>
                  <a:lnTo>
                    <a:pt x="310" y="19"/>
                  </a:lnTo>
                  <a:lnTo>
                    <a:pt x="313" y="21"/>
                  </a:lnTo>
                  <a:lnTo>
                    <a:pt x="313" y="21"/>
                  </a:lnTo>
                  <a:lnTo>
                    <a:pt x="313" y="21"/>
                  </a:lnTo>
                  <a:lnTo>
                    <a:pt x="315" y="24"/>
                  </a:lnTo>
                  <a:lnTo>
                    <a:pt x="315" y="24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21" y="24"/>
                  </a:lnTo>
                  <a:lnTo>
                    <a:pt x="321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6" y="21"/>
                  </a:lnTo>
                  <a:lnTo>
                    <a:pt x="326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4"/>
                  </a:lnTo>
                  <a:lnTo>
                    <a:pt x="323" y="26"/>
                  </a:lnTo>
                  <a:lnTo>
                    <a:pt x="326" y="29"/>
                  </a:lnTo>
                  <a:lnTo>
                    <a:pt x="326" y="29"/>
                  </a:lnTo>
                  <a:lnTo>
                    <a:pt x="326" y="29"/>
                  </a:lnTo>
                  <a:lnTo>
                    <a:pt x="323" y="29"/>
                  </a:lnTo>
                  <a:lnTo>
                    <a:pt x="326" y="29"/>
                  </a:lnTo>
                  <a:lnTo>
                    <a:pt x="326" y="32"/>
                  </a:lnTo>
                  <a:lnTo>
                    <a:pt x="323" y="34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6" y="37"/>
                  </a:lnTo>
                  <a:lnTo>
                    <a:pt x="328" y="37"/>
                  </a:lnTo>
                  <a:lnTo>
                    <a:pt x="328" y="39"/>
                  </a:lnTo>
                  <a:lnTo>
                    <a:pt x="328" y="42"/>
                  </a:lnTo>
                  <a:lnTo>
                    <a:pt x="328" y="42"/>
                  </a:lnTo>
                  <a:lnTo>
                    <a:pt x="326" y="44"/>
                  </a:lnTo>
                  <a:lnTo>
                    <a:pt x="328" y="42"/>
                  </a:lnTo>
                  <a:lnTo>
                    <a:pt x="328" y="42"/>
                  </a:lnTo>
                  <a:lnTo>
                    <a:pt x="328" y="42"/>
                  </a:lnTo>
                  <a:lnTo>
                    <a:pt x="331" y="44"/>
                  </a:lnTo>
                  <a:lnTo>
                    <a:pt x="331" y="44"/>
                  </a:lnTo>
                  <a:lnTo>
                    <a:pt x="328" y="44"/>
                  </a:lnTo>
                  <a:lnTo>
                    <a:pt x="328" y="44"/>
                  </a:lnTo>
                  <a:lnTo>
                    <a:pt x="326" y="47"/>
                  </a:lnTo>
                  <a:lnTo>
                    <a:pt x="326" y="47"/>
                  </a:lnTo>
                  <a:lnTo>
                    <a:pt x="328" y="47"/>
                  </a:lnTo>
                  <a:lnTo>
                    <a:pt x="328" y="47"/>
                  </a:lnTo>
                  <a:lnTo>
                    <a:pt x="328" y="47"/>
                  </a:lnTo>
                  <a:lnTo>
                    <a:pt x="328" y="47"/>
                  </a:lnTo>
                  <a:lnTo>
                    <a:pt x="326" y="47"/>
                  </a:lnTo>
                  <a:lnTo>
                    <a:pt x="326" y="47"/>
                  </a:lnTo>
                  <a:lnTo>
                    <a:pt x="323" y="47"/>
                  </a:lnTo>
                  <a:lnTo>
                    <a:pt x="323" y="47"/>
                  </a:lnTo>
                  <a:lnTo>
                    <a:pt x="321" y="47"/>
                  </a:lnTo>
                  <a:lnTo>
                    <a:pt x="321" y="47"/>
                  </a:lnTo>
                  <a:lnTo>
                    <a:pt x="321" y="44"/>
                  </a:lnTo>
                  <a:lnTo>
                    <a:pt x="321" y="44"/>
                  </a:lnTo>
                  <a:lnTo>
                    <a:pt x="321" y="44"/>
                  </a:lnTo>
                  <a:lnTo>
                    <a:pt x="321" y="44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1" y="44"/>
                  </a:lnTo>
                  <a:lnTo>
                    <a:pt x="323" y="44"/>
                  </a:lnTo>
                  <a:lnTo>
                    <a:pt x="326" y="44"/>
                  </a:lnTo>
                  <a:lnTo>
                    <a:pt x="326" y="44"/>
                  </a:lnTo>
                  <a:lnTo>
                    <a:pt x="326" y="44"/>
                  </a:lnTo>
                  <a:lnTo>
                    <a:pt x="323" y="44"/>
                  </a:lnTo>
                  <a:lnTo>
                    <a:pt x="323" y="42"/>
                  </a:lnTo>
                  <a:lnTo>
                    <a:pt x="323" y="42"/>
                  </a:lnTo>
                  <a:lnTo>
                    <a:pt x="323" y="42"/>
                  </a:lnTo>
                  <a:lnTo>
                    <a:pt x="323" y="42"/>
                  </a:lnTo>
                  <a:lnTo>
                    <a:pt x="323" y="42"/>
                  </a:lnTo>
                  <a:lnTo>
                    <a:pt x="323" y="42"/>
                  </a:lnTo>
                  <a:lnTo>
                    <a:pt x="321" y="42"/>
                  </a:lnTo>
                  <a:lnTo>
                    <a:pt x="321" y="42"/>
                  </a:lnTo>
                  <a:lnTo>
                    <a:pt x="321" y="39"/>
                  </a:lnTo>
                  <a:lnTo>
                    <a:pt x="323" y="39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1" y="37"/>
                  </a:lnTo>
                  <a:lnTo>
                    <a:pt x="318" y="39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5" y="34"/>
                  </a:lnTo>
                  <a:lnTo>
                    <a:pt x="315" y="34"/>
                  </a:lnTo>
                  <a:lnTo>
                    <a:pt x="315" y="34"/>
                  </a:lnTo>
                  <a:lnTo>
                    <a:pt x="315" y="34"/>
                  </a:lnTo>
                  <a:lnTo>
                    <a:pt x="313" y="34"/>
                  </a:lnTo>
                  <a:lnTo>
                    <a:pt x="313" y="32"/>
                  </a:lnTo>
                  <a:lnTo>
                    <a:pt x="313" y="32"/>
                  </a:lnTo>
                  <a:lnTo>
                    <a:pt x="313" y="32"/>
                  </a:lnTo>
                  <a:lnTo>
                    <a:pt x="313" y="32"/>
                  </a:lnTo>
                  <a:lnTo>
                    <a:pt x="313" y="32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6"/>
                  </a:lnTo>
                  <a:lnTo>
                    <a:pt x="310" y="26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08" y="24"/>
                  </a:lnTo>
                  <a:lnTo>
                    <a:pt x="308" y="24"/>
                  </a:lnTo>
                  <a:lnTo>
                    <a:pt x="308" y="26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32"/>
                  </a:lnTo>
                  <a:lnTo>
                    <a:pt x="308" y="32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6"/>
                  </a:lnTo>
                  <a:lnTo>
                    <a:pt x="308" y="26"/>
                  </a:lnTo>
                  <a:lnTo>
                    <a:pt x="305" y="26"/>
                  </a:lnTo>
                  <a:lnTo>
                    <a:pt x="305" y="24"/>
                  </a:lnTo>
                  <a:lnTo>
                    <a:pt x="308" y="24"/>
                  </a:lnTo>
                  <a:lnTo>
                    <a:pt x="308" y="24"/>
                  </a:lnTo>
                  <a:lnTo>
                    <a:pt x="308" y="21"/>
                  </a:lnTo>
                  <a:lnTo>
                    <a:pt x="310" y="21"/>
                  </a:lnTo>
                  <a:lnTo>
                    <a:pt x="308" y="21"/>
                  </a:lnTo>
                  <a:lnTo>
                    <a:pt x="308" y="21"/>
                  </a:lnTo>
                  <a:lnTo>
                    <a:pt x="305" y="21"/>
                  </a:lnTo>
                  <a:lnTo>
                    <a:pt x="303" y="24"/>
                  </a:lnTo>
                  <a:lnTo>
                    <a:pt x="300" y="24"/>
                  </a:lnTo>
                  <a:lnTo>
                    <a:pt x="303" y="26"/>
                  </a:lnTo>
                  <a:lnTo>
                    <a:pt x="303" y="26"/>
                  </a:lnTo>
                  <a:lnTo>
                    <a:pt x="303" y="29"/>
                  </a:lnTo>
                  <a:lnTo>
                    <a:pt x="303" y="29"/>
                  </a:lnTo>
                  <a:lnTo>
                    <a:pt x="303" y="29"/>
                  </a:lnTo>
                  <a:lnTo>
                    <a:pt x="303" y="32"/>
                  </a:lnTo>
                  <a:lnTo>
                    <a:pt x="303" y="32"/>
                  </a:lnTo>
                  <a:lnTo>
                    <a:pt x="303" y="32"/>
                  </a:lnTo>
                  <a:lnTo>
                    <a:pt x="300" y="32"/>
                  </a:lnTo>
                  <a:lnTo>
                    <a:pt x="300" y="29"/>
                  </a:lnTo>
                  <a:lnTo>
                    <a:pt x="300" y="29"/>
                  </a:lnTo>
                  <a:lnTo>
                    <a:pt x="300" y="29"/>
                  </a:lnTo>
                  <a:lnTo>
                    <a:pt x="300" y="26"/>
                  </a:lnTo>
                  <a:lnTo>
                    <a:pt x="297" y="26"/>
                  </a:lnTo>
                  <a:lnTo>
                    <a:pt x="295" y="26"/>
                  </a:lnTo>
                  <a:lnTo>
                    <a:pt x="295" y="24"/>
                  </a:lnTo>
                  <a:lnTo>
                    <a:pt x="292" y="24"/>
                  </a:lnTo>
                  <a:lnTo>
                    <a:pt x="292" y="24"/>
                  </a:lnTo>
                  <a:lnTo>
                    <a:pt x="290" y="24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4" y="26"/>
                  </a:lnTo>
                  <a:lnTo>
                    <a:pt x="287" y="29"/>
                  </a:lnTo>
                  <a:lnTo>
                    <a:pt x="287" y="32"/>
                  </a:lnTo>
                  <a:lnTo>
                    <a:pt x="287" y="32"/>
                  </a:lnTo>
                  <a:lnTo>
                    <a:pt x="287" y="34"/>
                  </a:lnTo>
                  <a:lnTo>
                    <a:pt x="290" y="34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5" y="32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5" y="37"/>
                  </a:lnTo>
                  <a:lnTo>
                    <a:pt x="295" y="37"/>
                  </a:lnTo>
                  <a:lnTo>
                    <a:pt x="295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5" y="39"/>
                  </a:lnTo>
                  <a:lnTo>
                    <a:pt x="297" y="39"/>
                  </a:lnTo>
                  <a:lnTo>
                    <a:pt x="295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7" y="44"/>
                  </a:lnTo>
                  <a:lnTo>
                    <a:pt x="284" y="47"/>
                  </a:lnTo>
                  <a:lnTo>
                    <a:pt x="284" y="47"/>
                  </a:lnTo>
                  <a:lnTo>
                    <a:pt x="284" y="47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90" y="47"/>
                  </a:lnTo>
                  <a:lnTo>
                    <a:pt x="290" y="47"/>
                  </a:lnTo>
                  <a:lnTo>
                    <a:pt x="292" y="47"/>
                  </a:lnTo>
                  <a:lnTo>
                    <a:pt x="292" y="47"/>
                  </a:lnTo>
                  <a:lnTo>
                    <a:pt x="292" y="47"/>
                  </a:lnTo>
                  <a:lnTo>
                    <a:pt x="292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0"/>
                  </a:lnTo>
                  <a:lnTo>
                    <a:pt x="295" y="52"/>
                  </a:lnTo>
                  <a:lnTo>
                    <a:pt x="295" y="52"/>
                  </a:lnTo>
                  <a:lnTo>
                    <a:pt x="297" y="55"/>
                  </a:lnTo>
                  <a:lnTo>
                    <a:pt x="297" y="55"/>
                  </a:lnTo>
                  <a:lnTo>
                    <a:pt x="295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4" y="55"/>
                  </a:lnTo>
                  <a:lnTo>
                    <a:pt x="284" y="57"/>
                  </a:lnTo>
                  <a:lnTo>
                    <a:pt x="282" y="57"/>
                  </a:lnTo>
                  <a:lnTo>
                    <a:pt x="282" y="57"/>
                  </a:lnTo>
                  <a:lnTo>
                    <a:pt x="282" y="60"/>
                  </a:lnTo>
                  <a:lnTo>
                    <a:pt x="282" y="60"/>
                  </a:lnTo>
                  <a:lnTo>
                    <a:pt x="282" y="63"/>
                  </a:lnTo>
                  <a:lnTo>
                    <a:pt x="282" y="63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90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4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90" y="70"/>
                  </a:lnTo>
                  <a:lnTo>
                    <a:pt x="290" y="70"/>
                  </a:lnTo>
                  <a:lnTo>
                    <a:pt x="290" y="70"/>
                  </a:lnTo>
                  <a:lnTo>
                    <a:pt x="290" y="70"/>
                  </a:lnTo>
                  <a:lnTo>
                    <a:pt x="290" y="70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2" y="73"/>
                  </a:lnTo>
                  <a:lnTo>
                    <a:pt x="292" y="73"/>
                  </a:lnTo>
                  <a:lnTo>
                    <a:pt x="292" y="70"/>
                  </a:lnTo>
                  <a:lnTo>
                    <a:pt x="292" y="73"/>
                  </a:lnTo>
                  <a:lnTo>
                    <a:pt x="295" y="76"/>
                  </a:lnTo>
                  <a:lnTo>
                    <a:pt x="297" y="76"/>
                  </a:lnTo>
                  <a:lnTo>
                    <a:pt x="297" y="76"/>
                  </a:lnTo>
                  <a:lnTo>
                    <a:pt x="300" y="76"/>
                  </a:lnTo>
                  <a:lnTo>
                    <a:pt x="300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3"/>
                  </a:lnTo>
                  <a:lnTo>
                    <a:pt x="305" y="73"/>
                  </a:lnTo>
                  <a:lnTo>
                    <a:pt x="305" y="70"/>
                  </a:lnTo>
                  <a:lnTo>
                    <a:pt x="305" y="73"/>
                  </a:lnTo>
                  <a:lnTo>
                    <a:pt x="305" y="73"/>
                  </a:lnTo>
                  <a:lnTo>
                    <a:pt x="305" y="73"/>
                  </a:lnTo>
                  <a:lnTo>
                    <a:pt x="305" y="76"/>
                  </a:lnTo>
                  <a:lnTo>
                    <a:pt x="305" y="76"/>
                  </a:lnTo>
                  <a:lnTo>
                    <a:pt x="305" y="78"/>
                  </a:lnTo>
                  <a:lnTo>
                    <a:pt x="305" y="78"/>
                  </a:lnTo>
                  <a:lnTo>
                    <a:pt x="303" y="78"/>
                  </a:lnTo>
                  <a:lnTo>
                    <a:pt x="303" y="78"/>
                  </a:lnTo>
                  <a:lnTo>
                    <a:pt x="303" y="78"/>
                  </a:lnTo>
                  <a:lnTo>
                    <a:pt x="300" y="76"/>
                  </a:lnTo>
                  <a:lnTo>
                    <a:pt x="300" y="76"/>
                  </a:lnTo>
                  <a:lnTo>
                    <a:pt x="300" y="78"/>
                  </a:lnTo>
                  <a:lnTo>
                    <a:pt x="300" y="78"/>
                  </a:lnTo>
                  <a:lnTo>
                    <a:pt x="303" y="78"/>
                  </a:lnTo>
                  <a:lnTo>
                    <a:pt x="303" y="78"/>
                  </a:lnTo>
                  <a:lnTo>
                    <a:pt x="305" y="78"/>
                  </a:lnTo>
                  <a:lnTo>
                    <a:pt x="305" y="81"/>
                  </a:lnTo>
                  <a:lnTo>
                    <a:pt x="308" y="81"/>
                  </a:lnTo>
                  <a:lnTo>
                    <a:pt x="310" y="81"/>
                  </a:lnTo>
                  <a:lnTo>
                    <a:pt x="310" y="81"/>
                  </a:lnTo>
                  <a:lnTo>
                    <a:pt x="310" y="81"/>
                  </a:lnTo>
                  <a:lnTo>
                    <a:pt x="313" y="81"/>
                  </a:lnTo>
                  <a:lnTo>
                    <a:pt x="313" y="81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5" y="78"/>
                  </a:lnTo>
                  <a:lnTo>
                    <a:pt x="315" y="78"/>
                  </a:lnTo>
                  <a:lnTo>
                    <a:pt x="313" y="76"/>
                  </a:lnTo>
                  <a:lnTo>
                    <a:pt x="313" y="76"/>
                  </a:lnTo>
                  <a:lnTo>
                    <a:pt x="313" y="76"/>
                  </a:lnTo>
                  <a:lnTo>
                    <a:pt x="310" y="76"/>
                  </a:lnTo>
                  <a:lnTo>
                    <a:pt x="310" y="76"/>
                  </a:lnTo>
                  <a:lnTo>
                    <a:pt x="310" y="76"/>
                  </a:lnTo>
                  <a:lnTo>
                    <a:pt x="310" y="76"/>
                  </a:lnTo>
                  <a:lnTo>
                    <a:pt x="310" y="76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10" y="76"/>
                  </a:lnTo>
                  <a:lnTo>
                    <a:pt x="308" y="76"/>
                  </a:lnTo>
                  <a:lnTo>
                    <a:pt x="308" y="78"/>
                  </a:lnTo>
                  <a:lnTo>
                    <a:pt x="308" y="78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8" y="73"/>
                  </a:lnTo>
                  <a:lnTo>
                    <a:pt x="308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3" y="70"/>
                  </a:lnTo>
                  <a:lnTo>
                    <a:pt x="310" y="73"/>
                  </a:lnTo>
                  <a:lnTo>
                    <a:pt x="310" y="73"/>
                  </a:lnTo>
                  <a:lnTo>
                    <a:pt x="310" y="76"/>
                  </a:lnTo>
                  <a:lnTo>
                    <a:pt x="313" y="73"/>
                  </a:lnTo>
                  <a:lnTo>
                    <a:pt x="313" y="70"/>
                  </a:lnTo>
                  <a:lnTo>
                    <a:pt x="313" y="68"/>
                  </a:lnTo>
                  <a:lnTo>
                    <a:pt x="315" y="68"/>
                  </a:lnTo>
                  <a:lnTo>
                    <a:pt x="315" y="68"/>
                  </a:lnTo>
                  <a:lnTo>
                    <a:pt x="318" y="68"/>
                  </a:lnTo>
                  <a:lnTo>
                    <a:pt x="318" y="65"/>
                  </a:lnTo>
                  <a:lnTo>
                    <a:pt x="321" y="65"/>
                  </a:lnTo>
                  <a:lnTo>
                    <a:pt x="321" y="65"/>
                  </a:lnTo>
                  <a:lnTo>
                    <a:pt x="321" y="65"/>
                  </a:lnTo>
                  <a:lnTo>
                    <a:pt x="318" y="65"/>
                  </a:lnTo>
                  <a:lnTo>
                    <a:pt x="318" y="65"/>
                  </a:lnTo>
                  <a:lnTo>
                    <a:pt x="318" y="65"/>
                  </a:lnTo>
                  <a:lnTo>
                    <a:pt x="318" y="63"/>
                  </a:lnTo>
                  <a:lnTo>
                    <a:pt x="318" y="63"/>
                  </a:lnTo>
                  <a:lnTo>
                    <a:pt x="318" y="63"/>
                  </a:lnTo>
                  <a:lnTo>
                    <a:pt x="318" y="63"/>
                  </a:lnTo>
                  <a:lnTo>
                    <a:pt x="318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6" y="63"/>
                  </a:lnTo>
                  <a:lnTo>
                    <a:pt x="328" y="63"/>
                  </a:lnTo>
                  <a:lnTo>
                    <a:pt x="328" y="60"/>
                  </a:lnTo>
                  <a:lnTo>
                    <a:pt x="331" y="60"/>
                  </a:lnTo>
                  <a:lnTo>
                    <a:pt x="331" y="60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36" y="63"/>
                  </a:lnTo>
                  <a:lnTo>
                    <a:pt x="336" y="63"/>
                  </a:lnTo>
                  <a:lnTo>
                    <a:pt x="336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6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9" y="60"/>
                  </a:lnTo>
                  <a:lnTo>
                    <a:pt x="339" y="60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4" y="60"/>
                  </a:lnTo>
                  <a:lnTo>
                    <a:pt x="344" y="60"/>
                  </a:lnTo>
                  <a:lnTo>
                    <a:pt x="344" y="63"/>
                  </a:lnTo>
                  <a:lnTo>
                    <a:pt x="341" y="63"/>
                  </a:lnTo>
                  <a:lnTo>
                    <a:pt x="339" y="63"/>
                  </a:lnTo>
                  <a:lnTo>
                    <a:pt x="339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339" y="65"/>
                  </a:lnTo>
                  <a:lnTo>
                    <a:pt x="339" y="65"/>
                  </a:lnTo>
                  <a:lnTo>
                    <a:pt x="341" y="65"/>
                  </a:lnTo>
                  <a:lnTo>
                    <a:pt x="341" y="65"/>
                  </a:lnTo>
                  <a:lnTo>
                    <a:pt x="344" y="65"/>
                  </a:lnTo>
                  <a:lnTo>
                    <a:pt x="344" y="65"/>
                  </a:lnTo>
                  <a:lnTo>
                    <a:pt x="347" y="65"/>
                  </a:lnTo>
                  <a:lnTo>
                    <a:pt x="347" y="65"/>
                  </a:lnTo>
                  <a:lnTo>
                    <a:pt x="347" y="65"/>
                  </a:lnTo>
                  <a:lnTo>
                    <a:pt x="344" y="65"/>
                  </a:lnTo>
                  <a:lnTo>
                    <a:pt x="344" y="65"/>
                  </a:lnTo>
                  <a:lnTo>
                    <a:pt x="344" y="65"/>
                  </a:lnTo>
                  <a:lnTo>
                    <a:pt x="341" y="68"/>
                  </a:lnTo>
                  <a:lnTo>
                    <a:pt x="341" y="68"/>
                  </a:lnTo>
                  <a:lnTo>
                    <a:pt x="339" y="68"/>
                  </a:lnTo>
                  <a:lnTo>
                    <a:pt x="339" y="70"/>
                  </a:lnTo>
                  <a:lnTo>
                    <a:pt x="341" y="70"/>
                  </a:lnTo>
                  <a:lnTo>
                    <a:pt x="341" y="70"/>
                  </a:lnTo>
                  <a:lnTo>
                    <a:pt x="341" y="70"/>
                  </a:lnTo>
                  <a:lnTo>
                    <a:pt x="344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7" y="70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4" y="73"/>
                  </a:lnTo>
                  <a:lnTo>
                    <a:pt x="347" y="73"/>
                  </a:lnTo>
                  <a:lnTo>
                    <a:pt x="347" y="73"/>
                  </a:lnTo>
                  <a:lnTo>
                    <a:pt x="349" y="73"/>
                  </a:lnTo>
                  <a:lnTo>
                    <a:pt x="349" y="73"/>
                  </a:lnTo>
                  <a:lnTo>
                    <a:pt x="349" y="70"/>
                  </a:lnTo>
                  <a:lnTo>
                    <a:pt x="349" y="68"/>
                  </a:lnTo>
                  <a:lnTo>
                    <a:pt x="349" y="68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3"/>
                  </a:lnTo>
                  <a:lnTo>
                    <a:pt x="352" y="63"/>
                  </a:lnTo>
                  <a:lnTo>
                    <a:pt x="352" y="63"/>
                  </a:lnTo>
                  <a:lnTo>
                    <a:pt x="354" y="63"/>
                  </a:lnTo>
                  <a:lnTo>
                    <a:pt x="352" y="63"/>
                  </a:lnTo>
                  <a:lnTo>
                    <a:pt x="352" y="60"/>
                  </a:lnTo>
                  <a:lnTo>
                    <a:pt x="349" y="57"/>
                  </a:lnTo>
                  <a:lnTo>
                    <a:pt x="347" y="55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1" y="52"/>
                  </a:lnTo>
                  <a:lnTo>
                    <a:pt x="339" y="52"/>
                  </a:lnTo>
                  <a:lnTo>
                    <a:pt x="339" y="52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4" y="47"/>
                  </a:lnTo>
                  <a:lnTo>
                    <a:pt x="334" y="44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1" y="39"/>
                  </a:lnTo>
                  <a:lnTo>
                    <a:pt x="334" y="37"/>
                  </a:lnTo>
                  <a:lnTo>
                    <a:pt x="336" y="34"/>
                  </a:lnTo>
                  <a:lnTo>
                    <a:pt x="339" y="32"/>
                  </a:lnTo>
                  <a:lnTo>
                    <a:pt x="341" y="29"/>
                  </a:lnTo>
                  <a:lnTo>
                    <a:pt x="344" y="29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1" y="21"/>
                  </a:lnTo>
                  <a:lnTo>
                    <a:pt x="341" y="19"/>
                  </a:lnTo>
                  <a:lnTo>
                    <a:pt x="339" y="19"/>
                  </a:lnTo>
                  <a:lnTo>
                    <a:pt x="339" y="19"/>
                  </a:lnTo>
                  <a:lnTo>
                    <a:pt x="336" y="19"/>
                  </a:lnTo>
                  <a:lnTo>
                    <a:pt x="336" y="19"/>
                  </a:lnTo>
                  <a:lnTo>
                    <a:pt x="334" y="19"/>
                  </a:lnTo>
                  <a:lnTo>
                    <a:pt x="331" y="19"/>
                  </a:lnTo>
                  <a:lnTo>
                    <a:pt x="328" y="21"/>
                  </a:lnTo>
                  <a:lnTo>
                    <a:pt x="326" y="21"/>
                  </a:lnTo>
                  <a:lnTo>
                    <a:pt x="321" y="21"/>
                  </a:lnTo>
                  <a:lnTo>
                    <a:pt x="318" y="21"/>
                  </a:lnTo>
                  <a:lnTo>
                    <a:pt x="315" y="19"/>
                  </a:lnTo>
                  <a:lnTo>
                    <a:pt x="313" y="19"/>
                  </a:lnTo>
                  <a:lnTo>
                    <a:pt x="313" y="19"/>
                  </a:lnTo>
                  <a:lnTo>
                    <a:pt x="310" y="16"/>
                  </a:lnTo>
                  <a:lnTo>
                    <a:pt x="310" y="13"/>
                  </a:lnTo>
                  <a:lnTo>
                    <a:pt x="310" y="11"/>
                  </a:lnTo>
                  <a:lnTo>
                    <a:pt x="310" y="8"/>
                  </a:lnTo>
                  <a:lnTo>
                    <a:pt x="310" y="8"/>
                  </a:lnTo>
                  <a:lnTo>
                    <a:pt x="313" y="6"/>
                  </a:lnTo>
                  <a:lnTo>
                    <a:pt x="315" y="6"/>
                  </a:lnTo>
                  <a:lnTo>
                    <a:pt x="315" y="6"/>
                  </a:lnTo>
                  <a:lnTo>
                    <a:pt x="315" y="3"/>
                  </a:lnTo>
                  <a:lnTo>
                    <a:pt x="318" y="3"/>
                  </a:lnTo>
                  <a:lnTo>
                    <a:pt x="315" y="0"/>
                  </a:lnTo>
                  <a:lnTo>
                    <a:pt x="313" y="0"/>
                  </a:lnTo>
                  <a:lnTo>
                    <a:pt x="310" y="0"/>
                  </a:lnTo>
                  <a:lnTo>
                    <a:pt x="308" y="3"/>
                  </a:lnTo>
                  <a:lnTo>
                    <a:pt x="305" y="3"/>
                  </a:lnTo>
                  <a:lnTo>
                    <a:pt x="305" y="3"/>
                  </a:lnTo>
                  <a:lnTo>
                    <a:pt x="303" y="3"/>
                  </a:lnTo>
                  <a:lnTo>
                    <a:pt x="300" y="3"/>
                  </a:lnTo>
                  <a:lnTo>
                    <a:pt x="297" y="3"/>
                  </a:lnTo>
                  <a:lnTo>
                    <a:pt x="297" y="6"/>
                  </a:lnTo>
                  <a:lnTo>
                    <a:pt x="297" y="6"/>
                  </a:lnTo>
                  <a:lnTo>
                    <a:pt x="295" y="6"/>
                  </a:lnTo>
                  <a:lnTo>
                    <a:pt x="295" y="8"/>
                  </a:lnTo>
                  <a:lnTo>
                    <a:pt x="292" y="8"/>
                  </a:lnTo>
                  <a:lnTo>
                    <a:pt x="292" y="11"/>
                  </a:lnTo>
                  <a:lnTo>
                    <a:pt x="292" y="11"/>
                  </a:lnTo>
                  <a:lnTo>
                    <a:pt x="292" y="13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21"/>
                  </a:lnTo>
                  <a:lnTo>
                    <a:pt x="287" y="21"/>
                  </a:lnTo>
                  <a:lnTo>
                    <a:pt x="284" y="24"/>
                  </a:lnTo>
                  <a:lnTo>
                    <a:pt x="287" y="24"/>
                  </a:lnTo>
                  <a:lnTo>
                    <a:pt x="287" y="24"/>
                  </a:lnTo>
                  <a:lnTo>
                    <a:pt x="287" y="21"/>
                  </a:lnTo>
                  <a:lnTo>
                    <a:pt x="287" y="21"/>
                  </a:lnTo>
                  <a:close/>
                  <a:moveTo>
                    <a:pt x="352" y="94"/>
                  </a:moveTo>
                  <a:lnTo>
                    <a:pt x="352" y="94"/>
                  </a:lnTo>
                  <a:lnTo>
                    <a:pt x="352" y="94"/>
                  </a:lnTo>
                  <a:lnTo>
                    <a:pt x="352" y="96"/>
                  </a:lnTo>
                  <a:lnTo>
                    <a:pt x="352" y="96"/>
                  </a:lnTo>
                  <a:lnTo>
                    <a:pt x="354" y="99"/>
                  </a:lnTo>
                  <a:lnTo>
                    <a:pt x="357" y="102"/>
                  </a:lnTo>
                  <a:lnTo>
                    <a:pt x="359" y="102"/>
                  </a:lnTo>
                  <a:lnTo>
                    <a:pt x="359" y="104"/>
                  </a:lnTo>
                  <a:lnTo>
                    <a:pt x="359" y="104"/>
                  </a:lnTo>
                  <a:lnTo>
                    <a:pt x="357" y="107"/>
                  </a:lnTo>
                  <a:lnTo>
                    <a:pt x="357" y="109"/>
                  </a:lnTo>
                  <a:lnTo>
                    <a:pt x="357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59" y="112"/>
                  </a:lnTo>
                  <a:lnTo>
                    <a:pt x="359" y="112"/>
                  </a:lnTo>
                  <a:lnTo>
                    <a:pt x="359" y="112"/>
                  </a:lnTo>
                  <a:lnTo>
                    <a:pt x="359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4" y="117"/>
                  </a:lnTo>
                  <a:lnTo>
                    <a:pt x="354" y="117"/>
                  </a:lnTo>
                  <a:lnTo>
                    <a:pt x="354" y="120"/>
                  </a:lnTo>
                  <a:lnTo>
                    <a:pt x="357" y="120"/>
                  </a:lnTo>
                  <a:lnTo>
                    <a:pt x="357" y="117"/>
                  </a:lnTo>
                  <a:lnTo>
                    <a:pt x="359" y="114"/>
                  </a:lnTo>
                  <a:lnTo>
                    <a:pt x="362" y="114"/>
                  </a:lnTo>
                  <a:lnTo>
                    <a:pt x="362" y="112"/>
                  </a:lnTo>
                  <a:lnTo>
                    <a:pt x="365" y="112"/>
                  </a:lnTo>
                  <a:lnTo>
                    <a:pt x="365" y="112"/>
                  </a:lnTo>
                  <a:lnTo>
                    <a:pt x="365" y="114"/>
                  </a:lnTo>
                  <a:lnTo>
                    <a:pt x="365" y="114"/>
                  </a:lnTo>
                  <a:lnTo>
                    <a:pt x="365" y="114"/>
                  </a:lnTo>
                  <a:lnTo>
                    <a:pt x="362" y="117"/>
                  </a:lnTo>
                  <a:lnTo>
                    <a:pt x="362" y="120"/>
                  </a:lnTo>
                  <a:lnTo>
                    <a:pt x="365" y="120"/>
                  </a:lnTo>
                  <a:lnTo>
                    <a:pt x="365" y="120"/>
                  </a:lnTo>
                  <a:lnTo>
                    <a:pt x="365" y="120"/>
                  </a:lnTo>
                  <a:lnTo>
                    <a:pt x="367" y="120"/>
                  </a:lnTo>
                  <a:lnTo>
                    <a:pt x="367" y="120"/>
                  </a:lnTo>
                  <a:lnTo>
                    <a:pt x="370" y="117"/>
                  </a:lnTo>
                  <a:lnTo>
                    <a:pt x="370" y="114"/>
                  </a:lnTo>
                  <a:lnTo>
                    <a:pt x="370" y="114"/>
                  </a:lnTo>
                  <a:lnTo>
                    <a:pt x="370" y="117"/>
                  </a:lnTo>
                  <a:lnTo>
                    <a:pt x="370" y="117"/>
                  </a:lnTo>
                  <a:lnTo>
                    <a:pt x="372" y="117"/>
                  </a:lnTo>
                  <a:lnTo>
                    <a:pt x="372" y="117"/>
                  </a:lnTo>
                  <a:lnTo>
                    <a:pt x="372" y="117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09"/>
                  </a:lnTo>
                  <a:lnTo>
                    <a:pt x="370" y="109"/>
                  </a:lnTo>
                  <a:lnTo>
                    <a:pt x="370" y="109"/>
                  </a:lnTo>
                  <a:lnTo>
                    <a:pt x="372" y="109"/>
                  </a:lnTo>
                  <a:lnTo>
                    <a:pt x="375" y="109"/>
                  </a:lnTo>
                  <a:lnTo>
                    <a:pt x="378" y="109"/>
                  </a:lnTo>
                  <a:lnTo>
                    <a:pt x="378" y="109"/>
                  </a:lnTo>
                  <a:lnTo>
                    <a:pt x="375" y="109"/>
                  </a:lnTo>
                  <a:lnTo>
                    <a:pt x="378" y="112"/>
                  </a:lnTo>
                  <a:lnTo>
                    <a:pt x="378" y="112"/>
                  </a:lnTo>
                  <a:lnTo>
                    <a:pt x="380" y="114"/>
                  </a:lnTo>
                  <a:lnTo>
                    <a:pt x="380" y="114"/>
                  </a:lnTo>
                  <a:lnTo>
                    <a:pt x="380" y="117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80" y="117"/>
                  </a:lnTo>
                  <a:lnTo>
                    <a:pt x="383" y="117"/>
                  </a:lnTo>
                  <a:lnTo>
                    <a:pt x="383" y="117"/>
                  </a:lnTo>
                  <a:lnTo>
                    <a:pt x="383" y="117"/>
                  </a:lnTo>
                  <a:lnTo>
                    <a:pt x="385" y="120"/>
                  </a:lnTo>
                  <a:lnTo>
                    <a:pt x="385" y="122"/>
                  </a:lnTo>
                  <a:lnTo>
                    <a:pt x="385" y="125"/>
                  </a:lnTo>
                  <a:lnTo>
                    <a:pt x="383" y="127"/>
                  </a:lnTo>
                  <a:lnTo>
                    <a:pt x="383" y="130"/>
                  </a:lnTo>
                  <a:lnTo>
                    <a:pt x="383" y="130"/>
                  </a:lnTo>
                  <a:lnTo>
                    <a:pt x="385" y="130"/>
                  </a:lnTo>
                  <a:lnTo>
                    <a:pt x="383" y="130"/>
                  </a:lnTo>
                  <a:lnTo>
                    <a:pt x="383" y="130"/>
                  </a:lnTo>
                  <a:lnTo>
                    <a:pt x="383" y="130"/>
                  </a:lnTo>
                  <a:lnTo>
                    <a:pt x="380" y="130"/>
                  </a:lnTo>
                  <a:lnTo>
                    <a:pt x="380" y="130"/>
                  </a:lnTo>
                  <a:lnTo>
                    <a:pt x="380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3" y="127"/>
                  </a:lnTo>
                  <a:lnTo>
                    <a:pt x="380" y="127"/>
                  </a:lnTo>
                  <a:lnTo>
                    <a:pt x="380" y="12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75" y="127"/>
                  </a:lnTo>
                  <a:lnTo>
                    <a:pt x="375" y="127"/>
                  </a:lnTo>
                  <a:lnTo>
                    <a:pt x="375" y="127"/>
                  </a:lnTo>
                  <a:lnTo>
                    <a:pt x="375" y="130"/>
                  </a:lnTo>
                  <a:lnTo>
                    <a:pt x="375" y="130"/>
                  </a:lnTo>
                  <a:lnTo>
                    <a:pt x="375" y="130"/>
                  </a:lnTo>
                  <a:lnTo>
                    <a:pt x="375" y="130"/>
                  </a:lnTo>
                  <a:lnTo>
                    <a:pt x="375" y="130"/>
                  </a:lnTo>
                  <a:lnTo>
                    <a:pt x="375" y="133"/>
                  </a:lnTo>
                  <a:lnTo>
                    <a:pt x="375" y="133"/>
                  </a:lnTo>
                  <a:lnTo>
                    <a:pt x="375" y="130"/>
                  </a:lnTo>
                  <a:lnTo>
                    <a:pt x="375" y="130"/>
                  </a:lnTo>
                  <a:lnTo>
                    <a:pt x="375" y="127"/>
                  </a:lnTo>
                  <a:lnTo>
                    <a:pt x="375" y="127"/>
                  </a:lnTo>
                  <a:lnTo>
                    <a:pt x="375" y="127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5"/>
                  </a:lnTo>
                  <a:lnTo>
                    <a:pt x="375" y="125"/>
                  </a:lnTo>
                  <a:lnTo>
                    <a:pt x="375" y="122"/>
                  </a:lnTo>
                  <a:lnTo>
                    <a:pt x="375" y="122"/>
                  </a:lnTo>
                  <a:lnTo>
                    <a:pt x="375" y="122"/>
                  </a:lnTo>
                  <a:lnTo>
                    <a:pt x="372" y="122"/>
                  </a:lnTo>
                  <a:lnTo>
                    <a:pt x="370" y="122"/>
                  </a:lnTo>
                  <a:lnTo>
                    <a:pt x="370" y="122"/>
                  </a:lnTo>
                  <a:lnTo>
                    <a:pt x="367" y="122"/>
                  </a:lnTo>
                  <a:lnTo>
                    <a:pt x="367" y="125"/>
                  </a:lnTo>
                  <a:lnTo>
                    <a:pt x="367" y="125"/>
                  </a:lnTo>
                  <a:lnTo>
                    <a:pt x="370" y="127"/>
                  </a:lnTo>
                  <a:lnTo>
                    <a:pt x="370" y="130"/>
                  </a:lnTo>
                  <a:lnTo>
                    <a:pt x="372" y="130"/>
                  </a:lnTo>
                  <a:lnTo>
                    <a:pt x="372" y="135"/>
                  </a:lnTo>
                  <a:lnTo>
                    <a:pt x="372" y="138"/>
                  </a:lnTo>
                  <a:lnTo>
                    <a:pt x="370" y="140"/>
                  </a:lnTo>
                  <a:lnTo>
                    <a:pt x="370" y="140"/>
                  </a:lnTo>
                  <a:lnTo>
                    <a:pt x="367" y="140"/>
                  </a:lnTo>
                  <a:lnTo>
                    <a:pt x="365" y="143"/>
                  </a:lnTo>
                  <a:lnTo>
                    <a:pt x="362" y="143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59" y="146"/>
                  </a:lnTo>
                  <a:lnTo>
                    <a:pt x="362" y="148"/>
                  </a:lnTo>
                  <a:lnTo>
                    <a:pt x="365" y="148"/>
                  </a:lnTo>
                  <a:lnTo>
                    <a:pt x="367" y="148"/>
                  </a:lnTo>
                  <a:lnTo>
                    <a:pt x="370" y="148"/>
                  </a:lnTo>
                  <a:lnTo>
                    <a:pt x="370" y="148"/>
                  </a:lnTo>
                  <a:lnTo>
                    <a:pt x="372" y="146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5" y="146"/>
                  </a:lnTo>
                  <a:lnTo>
                    <a:pt x="375" y="146"/>
                  </a:lnTo>
                  <a:lnTo>
                    <a:pt x="375" y="148"/>
                  </a:lnTo>
                  <a:lnTo>
                    <a:pt x="372" y="148"/>
                  </a:lnTo>
                  <a:lnTo>
                    <a:pt x="372" y="148"/>
                  </a:lnTo>
                  <a:lnTo>
                    <a:pt x="372" y="148"/>
                  </a:lnTo>
                  <a:lnTo>
                    <a:pt x="372" y="148"/>
                  </a:lnTo>
                  <a:lnTo>
                    <a:pt x="372" y="148"/>
                  </a:lnTo>
                  <a:lnTo>
                    <a:pt x="372" y="148"/>
                  </a:lnTo>
                  <a:lnTo>
                    <a:pt x="375" y="148"/>
                  </a:lnTo>
                  <a:lnTo>
                    <a:pt x="375" y="148"/>
                  </a:lnTo>
                  <a:lnTo>
                    <a:pt x="378" y="148"/>
                  </a:lnTo>
                  <a:lnTo>
                    <a:pt x="378" y="146"/>
                  </a:lnTo>
                  <a:lnTo>
                    <a:pt x="380" y="146"/>
                  </a:lnTo>
                  <a:lnTo>
                    <a:pt x="383" y="143"/>
                  </a:lnTo>
                  <a:lnTo>
                    <a:pt x="383" y="143"/>
                  </a:lnTo>
                  <a:lnTo>
                    <a:pt x="385" y="143"/>
                  </a:lnTo>
                  <a:lnTo>
                    <a:pt x="385" y="143"/>
                  </a:lnTo>
                  <a:lnTo>
                    <a:pt x="388" y="143"/>
                  </a:lnTo>
                  <a:lnTo>
                    <a:pt x="391" y="143"/>
                  </a:lnTo>
                  <a:lnTo>
                    <a:pt x="393" y="143"/>
                  </a:lnTo>
                  <a:lnTo>
                    <a:pt x="393" y="143"/>
                  </a:lnTo>
                  <a:lnTo>
                    <a:pt x="396" y="143"/>
                  </a:lnTo>
                  <a:lnTo>
                    <a:pt x="398" y="143"/>
                  </a:lnTo>
                  <a:lnTo>
                    <a:pt x="401" y="143"/>
                  </a:lnTo>
                  <a:lnTo>
                    <a:pt x="401" y="143"/>
                  </a:lnTo>
                  <a:lnTo>
                    <a:pt x="401" y="143"/>
                  </a:lnTo>
                  <a:lnTo>
                    <a:pt x="403" y="143"/>
                  </a:lnTo>
                  <a:lnTo>
                    <a:pt x="403" y="143"/>
                  </a:lnTo>
                  <a:lnTo>
                    <a:pt x="403" y="140"/>
                  </a:lnTo>
                  <a:lnTo>
                    <a:pt x="403" y="138"/>
                  </a:lnTo>
                  <a:lnTo>
                    <a:pt x="401" y="135"/>
                  </a:lnTo>
                  <a:lnTo>
                    <a:pt x="401" y="135"/>
                  </a:lnTo>
                  <a:lnTo>
                    <a:pt x="401" y="135"/>
                  </a:lnTo>
                  <a:lnTo>
                    <a:pt x="403" y="135"/>
                  </a:lnTo>
                  <a:lnTo>
                    <a:pt x="403" y="135"/>
                  </a:lnTo>
                  <a:lnTo>
                    <a:pt x="406" y="133"/>
                  </a:lnTo>
                  <a:lnTo>
                    <a:pt x="401" y="130"/>
                  </a:lnTo>
                  <a:lnTo>
                    <a:pt x="398" y="127"/>
                  </a:lnTo>
                  <a:lnTo>
                    <a:pt x="396" y="125"/>
                  </a:lnTo>
                  <a:lnTo>
                    <a:pt x="393" y="122"/>
                  </a:lnTo>
                  <a:lnTo>
                    <a:pt x="388" y="117"/>
                  </a:lnTo>
                  <a:lnTo>
                    <a:pt x="385" y="114"/>
                  </a:lnTo>
                  <a:lnTo>
                    <a:pt x="385" y="114"/>
                  </a:lnTo>
                  <a:lnTo>
                    <a:pt x="383" y="112"/>
                  </a:lnTo>
                  <a:lnTo>
                    <a:pt x="380" y="109"/>
                  </a:lnTo>
                  <a:lnTo>
                    <a:pt x="378" y="109"/>
                  </a:lnTo>
                  <a:lnTo>
                    <a:pt x="378" y="109"/>
                  </a:lnTo>
                  <a:lnTo>
                    <a:pt x="375" y="109"/>
                  </a:lnTo>
                  <a:lnTo>
                    <a:pt x="375" y="107"/>
                  </a:lnTo>
                  <a:lnTo>
                    <a:pt x="372" y="107"/>
                  </a:lnTo>
                  <a:lnTo>
                    <a:pt x="370" y="107"/>
                  </a:lnTo>
                  <a:lnTo>
                    <a:pt x="367" y="107"/>
                  </a:lnTo>
                  <a:lnTo>
                    <a:pt x="367" y="104"/>
                  </a:lnTo>
                  <a:lnTo>
                    <a:pt x="365" y="102"/>
                  </a:lnTo>
                  <a:lnTo>
                    <a:pt x="362" y="102"/>
                  </a:lnTo>
                  <a:lnTo>
                    <a:pt x="362" y="99"/>
                  </a:lnTo>
                  <a:lnTo>
                    <a:pt x="359" y="94"/>
                  </a:lnTo>
                  <a:lnTo>
                    <a:pt x="359" y="91"/>
                  </a:lnTo>
                  <a:lnTo>
                    <a:pt x="357" y="91"/>
                  </a:lnTo>
                  <a:lnTo>
                    <a:pt x="357" y="91"/>
                  </a:lnTo>
                  <a:lnTo>
                    <a:pt x="354" y="91"/>
                  </a:lnTo>
                  <a:lnTo>
                    <a:pt x="352" y="91"/>
                  </a:lnTo>
                  <a:lnTo>
                    <a:pt x="352" y="94"/>
                  </a:lnTo>
                  <a:lnTo>
                    <a:pt x="352" y="94"/>
                  </a:lnTo>
                  <a:lnTo>
                    <a:pt x="352" y="94"/>
                  </a:lnTo>
                  <a:lnTo>
                    <a:pt x="352" y="94"/>
                  </a:lnTo>
                  <a:lnTo>
                    <a:pt x="352" y="94"/>
                  </a:lnTo>
                  <a:lnTo>
                    <a:pt x="352" y="94"/>
                  </a:lnTo>
                  <a:close/>
                  <a:moveTo>
                    <a:pt x="282" y="44"/>
                  </a:moveTo>
                  <a:lnTo>
                    <a:pt x="282" y="44"/>
                  </a:lnTo>
                  <a:lnTo>
                    <a:pt x="284" y="42"/>
                  </a:lnTo>
                  <a:lnTo>
                    <a:pt x="287" y="42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5" y="37"/>
                  </a:lnTo>
                  <a:lnTo>
                    <a:pt x="292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4"/>
                  </a:lnTo>
                  <a:lnTo>
                    <a:pt x="287" y="34"/>
                  </a:lnTo>
                  <a:lnTo>
                    <a:pt x="287" y="37"/>
                  </a:lnTo>
                  <a:lnTo>
                    <a:pt x="284" y="37"/>
                  </a:lnTo>
                  <a:lnTo>
                    <a:pt x="282" y="39"/>
                  </a:lnTo>
                  <a:lnTo>
                    <a:pt x="282" y="44"/>
                  </a:lnTo>
                  <a:lnTo>
                    <a:pt x="282" y="44"/>
                  </a:lnTo>
                  <a:close/>
                  <a:moveTo>
                    <a:pt x="277" y="37"/>
                  </a:moveTo>
                  <a:lnTo>
                    <a:pt x="277" y="37"/>
                  </a:lnTo>
                  <a:lnTo>
                    <a:pt x="277" y="37"/>
                  </a:lnTo>
                  <a:lnTo>
                    <a:pt x="277" y="37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7" y="32"/>
                  </a:lnTo>
                  <a:lnTo>
                    <a:pt x="279" y="32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9"/>
                  </a:lnTo>
                  <a:lnTo>
                    <a:pt x="279" y="26"/>
                  </a:lnTo>
                  <a:lnTo>
                    <a:pt x="282" y="26"/>
                  </a:lnTo>
                  <a:lnTo>
                    <a:pt x="279" y="24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79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4" y="21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4" y="16"/>
                  </a:lnTo>
                  <a:lnTo>
                    <a:pt x="284" y="19"/>
                  </a:lnTo>
                  <a:lnTo>
                    <a:pt x="284" y="21"/>
                  </a:lnTo>
                  <a:lnTo>
                    <a:pt x="284" y="19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4"/>
                  </a:lnTo>
                  <a:lnTo>
                    <a:pt x="277" y="29"/>
                  </a:lnTo>
                  <a:lnTo>
                    <a:pt x="277" y="34"/>
                  </a:lnTo>
                  <a:lnTo>
                    <a:pt x="274" y="39"/>
                  </a:lnTo>
                  <a:lnTo>
                    <a:pt x="274" y="39"/>
                  </a:lnTo>
                  <a:lnTo>
                    <a:pt x="274" y="39"/>
                  </a:lnTo>
                  <a:lnTo>
                    <a:pt x="274" y="39"/>
                  </a:lnTo>
                  <a:lnTo>
                    <a:pt x="277" y="39"/>
                  </a:lnTo>
                  <a:lnTo>
                    <a:pt x="277" y="39"/>
                  </a:lnTo>
                  <a:lnTo>
                    <a:pt x="277" y="39"/>
                  </a:lnTo>
                  <a:lnTo>
                    <a:pt x="277" y="39"/>
                  </a:lnTo>
                  <a:lnTo>
                    <a:pt x="277" y="37"/>
                  </a:lnTo>
                  <a:lnTo>
                    <a:pt x="277" y="37"/>
                  </a:lnTo>
                  <a:close/>
                  <a:moveTo>
                    <a:pt x="238" y="50"/>
                  </a:moveTo>
                  <a:lnTo>
                    <a:pt x="238" y="47"/>
                  </a:lnTo>
                  <a:lnTo>
                    <a:pt x="235" y="47"/>
                  </a:lnTo>
                  <a:lnTo>
                    <a:pt x="235" y="44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3" y="47"/>
                  </a:lnTo>
                  <a:lnTo>
                    <a:pt x="230" y="47"/>
                  </a:lnTo>
                  <a:lnTo>
                    <a:pt x="233" y="50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8" y="50"/>
                  </a:lnTo>
                  <a:lnTo>
                    <a:pt x="238" y="50"/>
                  </a:lnTo>
                  <a:close/>
                  <a:moveTo>
                    <a:pt x="269" y="44"/>
                  </a:moveTo>
                  <a:lnTo>
                    <a:pt x="271" y="44"/>
                  </a:lnTo>
                  <a:lnTo>
                    <a:pt x="274" y="42"/>
                  </a:lnTo>
                  <a:lnTo>
                    <a:pt x="274" y="42"/>
                  </a:lnTo>
                  <a:lnTo>
                    <a:pt x="274" y="42"/>
                  </a:lnTo>
                  <a:lnTo>
                    <a:pt x="274" y="39"/>
                  </a:lnTo>
                  <a:lnTo>
                    <a:pt x="274" y="42"/>
                  </a:lnTo>
                  <a:lnTo>
                    <a:pt x="271" y="42"/>
                  </a:lnTo>
                  <a:lnTo>
                    <a:pt x="271" y="42"/>
                  </a:lnTo>
                  <a:lnTo>
                    <a:pt x="269" y="44"/>
                  </a:lnTo>
                  <a:lnTo>
                    <a:pt x="269" y="44"/>
                  </a:lnTo>
                  <a:lnTo>
                    <a:pt x="266" y="44"/>
                  </a:lnTo>
                  <a:lnTo>
                    <a:pt x="266" y="44"/>
                  </a:lnTo>
                  <a:lnTo>
                    <a:pt x="264" y="44"/>
                  </a:lnTo>
                  <a:lnTo>
                    <a:pt x="266" y="44"/>
                  </a:lnTo>
                  <a:lnTo>
                    <a:pt x="266" y="44"/>
                  </a:lnTo>
                  <a:lnTo>
                    <a:pt x="269" y="44"/>
                  </a:lnTo>
                  <a:lnTo>
                    <a:pt x="269" y="44"/>
                  </a:lnTo>
                  <a:lnTo>
                    <a:pt x="269" y="44"/>
                  </a:lnTo>
                  <a:close/>
                  <a:moveTo>
                    <a:pt x="326" y="65"/>
                  </a:moveTo>
                  <a:lnTo>
                    <a:pt x="326" y="65"/>
                  </a:lnTo>
                  <a:lnTo>
                    <a:pt x="326" y="68"/>
                  </a:lnTo>
                  <a:lnTo>
                    <a:pt x="326" y="68"/>
                  </a:lnTo>
                  <a:lnTo>
                    <a:pt x="326" y="68"/>
                  </a:lnTo>
                  <a:lnTo>
                    <a:pt x="326" y="65"/>
                  </a:lnTo>
                  <a:lnTo>
                    <a:pt x="328" y="65"/>
                  </a:lnTo>
                  <a:lnTo>
                    <a:pt x="328" y="65"/>
                  </a:lnTo>
                  <a:lnTo>
                    <a:pt x="328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28" y="63"/>
                  </a:lnTo>
                  <a:lnTo>
                    <a:pt x="328" y="63"/>
                  </a:lnTo>
                  <a:lnTo>
                    <a:pt x="328" y="63"/>
                  </a:lnTo>
                  <a:lnTo>
                    <a:pt x="326" y="65"/>
                  </a:lnTo>
                  <a:lnTo>
                    <a:pt x="326" y="65"/>
                  </a:lnTo>
                  <a:lnTo>
                    <a:pt x="326" y="65"/>
                  </a:lnTo>
                  <a:lnTo>
                    <a:pt x="326" y="65"/>
                  </a:lnTo>
                  <a:close/>
                  <a:moveTo>
                    <a:pt x="238" y="50"/>
                  </a:move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close/>
                  <a:moveTo>
                    <a:pt x="103" y="109"/>
                  </a:moveTo>
                  <a:lnTo>
                    <a:pt x="103" y="109"/>
                  </a:lnTo>
                  <a:lnTo>
                    <a:pt x="103" y="109"/>
                  </a:lnTo>
                  <a:lnTo>
                    <a:pt x="101" y="109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4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close/>
                  <a:moveTo>
                    <a:pt x="409" y="172"/>
                  </a:move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lnTo>
                    <a:pt x="409" y="172"/>
                  </a:lnTo>
                  <a:close/>
                  <a:moveTo>
                    <a:pt x="287" y="32"/>
                  </a:moveTo>
                  <a:lnTo>
                    <a:pt x="287" y="32"/>
                  </a:lnTo>
                  <a:lnTo>
                    <a:pt x="284" y="32"/>
                  </a:lnTo>
                  <a:lnTo>
                    <a:pt x="284" y="32"/>
                  </a:lnTo>
                  <a:lnTo>
                    <a:pt x="284" y="34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87" y="32"/>
                  </a:lnTo>
                  <a:lnTo>
                    <a:pt x="287" y="32"/>
                  </a:lnTo>
                  <a:lnTo>
                    <a:pt x="287" y="32"/>
                  </a:lnTo>
                  <a:close/>
                  <a:moveTo>
                    <a:pt x="101" y="114"/>
                  </a:moveTo>
                  <a:lnTo>
                    <a:pt x="101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4"/>
                  </a:lnTo>
                  <a:lnTo>
                    <a:pt x="101" y="114"/>
                  </a:lnTo>
                  <a:close/>
                  <a:moveTo>
                    <a:pt x="266" y="47"/>
                  </a:moveTo>
                  <a:lnTo>
                    <a:pt x="266" y="47"/>
                  </a:lnTo>
                  <a:lnTo>
                    <a:pt x="266" y="47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2" name="Rectangle 152"/>
            <p:cNvSpPr>
              <a:spLocks noChangeArrowheads="1"/>
            </p:cNvSpPr>
            <p:nvPr/>
          </p:nvSpPr>
          <p:spPr bwMode="auto">
            <a:xfrm>
              <a:off x="1375" y="2532"/>
              <a:ext cx="1" cy="1"/>
            </a:xfrm>
            <a:prstGeom prst="rect">
              <a:avLst/>
            </a:prstGeom>
            <a:noFill/>
            <a:ln w="4763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3" name="Freeform 153"/>
            <p:cNvSpPr>
              <a:spLocks/>
            </p:cNvSpPr>
            <p:nvPr/>
          </p:nvSpPr>
          <p:spPr bwMode="auto">
            <a:xfrm>
              <a:off x="1282" y="2442"/>
              <a:ext cx="424" cy="241"/>
            </a:xfrm>
            <a:custGeom>
              <a:avLst/>
              <a:gdLst>
                <a:gd name="T0" fmla="*/ 414 w 424"/>
                <a:gd name="T1" fmla="*/ 150 h 241"/>
                <a:gd name="T2" fmla="*/ 409 w 424"/>
                <a:gd name="T3" fmla="*/ 129 h 241"/>
                <a:gd name="T4" fmla="*/ 367 w 424"/>
                <a:gd name="T5" fmla="*/ 116 h 241"/>
                <a:gd name="T6" fmla="*/ 362 w 424"/>
                <a:gd name="T7" fmla="*/ 106 h 241"/>
                <a:gd name="T8" fmla="*/ 357 w 424"/>
                <a:gd name="T9" fmla="*/ 85 h 241"/>
                <a:gd name="T10" fmla="*/ 354 w 424"/>
                <a:gd name="T11" fmla="*/ 65 h 241"/>
                <a:gd name="T12" fmla="*/ 344 w 424"/>
                <a:gd name="T13" fmla="*/ 54 h 241"/>
                <a:gd name="T14" fmla="*/ 315 w 424"/>
                <a:gd name="T15" fmla="*/ 59 h 241"/>
                <a:gd name="T16" fmla="*/ 310 w 424"/>
                <a:gd name="T17" fmla="*/ 54 h 241"/>
                <a:gd name="T18" fmla="*/ 297 w 424"/>
                <a:gd name="T19" fmla="*/ 41 h 241"/>
                <a:gd name="T20" fmla="*/ 287 w 424"/>
                <a:gd name="T21" fmla="*/ 36 h 241"/>
                <a:gd name="T22" fmla="*/ 277 w 424"/>
                <a:gd name="T23" fmla="*/ 26 h 241"/>
                <a:gd name="T24" fmla="*/ 266 w 424"/>
                <a:gd name="T25" fmla="*/ 10 h 241"/>
                <a:gd name="T26" fmla="*/ 243 w 424"/>
                <a:gd name="T27" fmla="*/ 18 h 241"/>
                <a:gd name="T28" fmla="*/ 235 w 424"/>
                <a:gd name="T29" fmla="*/ 13 h 241"/>
                <a:gd name="T30" fmla="*/ 217 w 424"/>
                <a:gd name="T31" fmla="*/ 20 h 241"/>
                <a:gd name="T32" fmla="*/ 204 w 424"/>
                <a:gd name="T33" fmla="*/ 41 h 241"/>
                <a:gd name="T34" fmla="*/ 202 w 424"/>
                <a:gd name="T35" fmla="*/ 20 h 241"/>
                <a:gd name="T36" fmla="*/ 220 w 424"/>
                <a:gd name="T37" fmla="*/ 13 h 241"/>
                <a:gd name="T38" fmla="*/ 230 w 424"/>
                <a:gd name="T39" fmla="*/ 13 h 241"/>
                <a:gd name="T40" fmla="*/ 259 w 424"/>
                <a:gd name="T41" fmla="*/ 10 h 241"/>
                <a:gd name="T42" fmla="*/ 222 w 424"/>
                <a:gd name="T43" fmla="*/ 5 h 241"/>
                <a:gd name="T44" fmla="*/ 189 w 424"/>
                <a:gd name="T45" fmla="*/ 36 h 241"/>
                <a:gd name="T46" fmla="*/ 171 w 424"/>
                <a:gd name="T47" fmla="*/ 57 h 241"/>
                <a:gd name="T48" fmla="*/ 173 w 424"/>
                <a:gd name="T49" fmla="*/ 70 h 241"/>
                <a:gd name="T50" fmla="*/ 165 w 424"/>
                <a:gd name="T51" fmla="*/ 54 h 241"/>
                <a:gd name="T52" fmla="*/ 103 w 424"/>
                <a:gd name="T53" fmla="*/ 72 h 241"/>
                <a:gd name="T54" fmla="*/ 103 w 424"/>
                <a:gd name="T55" fmla="*/ 77 h 241"/>
                <a:gd name="T56" fmla="*/ 101 w 424"/>
                <a:gd name="T57" fmla="*/ 83 h 241"/>
                <a:gd name="T58" fmla="*/ 93 w 424"/>
                <a:gd name="T59" fmla="*/ 85 h 241"/>
                <a:gd name="T60" fmla="*/ 95 w 424"/>
                <a:gd name="T61" fmla="*/ 101 h 241"/>
                <a:gd name="T62" fmla="*/ 82 w 424"/>
                <a:gd name="T63" fmla="*/ 90 h 241"/>
                <a:gd name="T64" fmla="*/ 62 w 424"/>
                <a:gd name="T65" fmla="*/ 83 h 241"/>
                <a:gd name="T66" fmla="*/ 36 w 424"/>
                <a:gd name="T67" fmla="*/ 101 h 241"/>
                <a:gd name="T68" fmla="*/ 20 w 424"/>
                <a:gd name="T69" fmla="*/ 106 h 241"/>
                <a:gd name="T70" fmla="*/ 28 w 424"/>
                <a:gd name="T71" fmla="*/ 135 h 241"/>
                <a:gd name="T72" fmla="*/ 36 w 424"/>
                <a:gd name="T73" fmla="*/ 150 h 241"/>
                <a:gd name="T74" fmla="*/ 26 w 424"/>
                <a:gd name="T75" fmla="*/ 168 h 241"/>
                <a:gd name="T76" fmla="*/ 5 w 424"/>
                <a:gd name="T77" fmla="*/ 179 h 241"/>
                <a:gd name="T78" fmla="*/ 15 w 424"/>
                <a:gd name="T79" fmla="*/ 199 h 241"/>
                <a:gd name="T80" fmla="*/ 33 w 424"/>
                <a:gd name="T81" fmla="*/ 199 h 241"/>
                <a:gd name="T82" fmla="*/ 54 w 424"/>
                <a:gd name="T83" fmla="*/ 220 h 241"/>
                <a:gd name="T84" fmla="*/ 67 w 424"/>
                <a:gd name="T85" fmla="*/ 233 h 241"/>
                <a:gd name="T86" fmla="*/ 101 w 424"/>
                <a:gd name="T87" fmla="*/ 236 h 241"/>
                <a:gd name="T88" fmla="*/ 108 w 424"/>
                <a:gd name="T89" fmla="*/ 228 h 241"/>
                <a:gd name="T90" fmla="*/ 127 w 424"/>
                <a:gd name="T91" fmla="*/ 218 h 241"/>
                <a:gd name="T92" fmla="*/ 152 w 424"/>
                <a:gd name="T93" fmla="*/ 207 h 241"/>
                <a:gd name="T94" fmla="*/ 165 w 424"/>
                <a:gd name="T95" fmla="*/ 197 h 241"/>
                <a:gd name="T96" fmla="*/ 183 w 424"/>
                <a:gd name="T97" fmla="*/ 199 h 241"/>
                <a:gd name="T98" fmla="*/ 202 w 424"/>
                <a:gd name="T99" fmla="*/ 210 h 241"/>
                <a:gd name="T100" fmla="*/ 212 w 424"/>
                <a:gd name="T101" fmla="*/ 212 h 241"/>
                <a:gd name="T102" fmla="*/ 240 w 424"/>
                <a:gd name="T103" fmla="*/ 223 h 241"/>
                <a:gd name="T104" fmla="*/ 259 w 424"/>
                <a:gd name="T105" fmla="*/ 225 h 241"/>
                <a:gd name="T106" fmla="*/ 271 w 424"/>
                <a:gd name="T107" fmla="*/ 225 h 241"/>
                <a:gd name="T108" fmla="*/ 284 w 424"/>
                <a:gd name="T109" fmla="*/ 215 h 241"/>
                <a:gd name="T110" fmla="*/ 300 w 424"/>
                <a:gd name="T111" fmla="*/ 210 h 241"/>
                <a:gd name="T112" fmla="*/ 326 w 424"/>
                <a:gd name="T113" fmla="*/ 202 h 241"/>
                <a:gd name="T114" fmla="*/ 336 w 424"/>
                <a:gd name="T115" fmla="*/ 186 h 241"/>
                <a:gd name="T116" fmla="*/ 357 w 424"/>
                <a:gd name="T117" fmla="*/ 168 h 241"/>
                <a:gd name="T118" fmla="*/ 367 w 424"/>
                <a:gd name="T119" fmla="*/ 168 h 241"/>
                <a:gd name="T120" fmla="*/ 383 w 424"/>
                <a:gd name="T121" fmla="*/ 184 h 241"/>
                <a:gd name="T122" fmla="*/ 406 w 424"/>
                <a:gd name="T123" fmla="*/ 184 h 241"/>
                <a:gd name="T124" fmla="*/ 411 w 424"/>
                <a:gd name="T125" fmla="*/ 21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4" h="241">
                  <a:moveTo>
                    <a:pt x="424" y="197"/>
                  </a:moveTo>
                  <a:lnTo>
                    <a:pt x="424" y="194"/>
                  </a:lnTo>
                  <a:lnTo>
                    <a:pt x="424" y="194"/>
                  </a:lnTo>
                  <a:lnTo>
                    <a:pt x="424" y="192"/>
                  </a:lnTo>
                  <a:lnTo>
                    <a:pt x="422" y="186"/>
                  </a:lnTo>
                  <a:lnTo>
                    <a:pt x="422" y="184"/>
                  </a:lnTo>
                  <a:lnTo>
                    <a:pt x="422" y="181"/>
                  </a:lnTo>
                  <a:lnTo>
                    <a:pt x="422" y="179"/>
                  </a:lnTo>
                  <a:lnTo>
                    <a:pt x="422" y="179"/>
                  </a:lnTo>
                  <a:lnTo>
                    <a:pt x="419" y="179"/>
                  </a:lnTo>
                  <a:lnTo>
                    <a:pt x="419" y="179"/>
                  </a:lnTo>
                  <a:lnTo>
                    <a:pt x="419" y="176"/>
                  </a:lnTo>
                  <a:lnTo>
                    <a:pt x="419" y="173"/>
                  </a:lnTo>
                  <a:lnTo>
                    <a:pt x="419" y="171"/>
                  </a:lnTo>
                  <a:lnTo>
                    <a:pt x="416" y="171"/>
                  </a:lnTo>
                  <a:lnTo>
                    <a:pt x="416" y="168"/>
                  </a:lnTo>
                  <a:lnTo>
                    <a:pt x="416" y="166"/>
                  </a:lnTo>
                  <a:lnTo>
                    <a:pt x="414" y="163"/>
                  </a:lnTo>
                  <a:lnTo>
                    <a:pt x="414" y="163"/>
                  </a:lnTo>
                  <a:lnTo>
                    <a:pt x="414" y="160"/>
                  </a:lnTo>
                  <a:lnTo>
                    <a:pt x="414" y="158"/>
                  </a:lnTo>
                  <a:lnTo>
                    <a:pt x="416" y="153"/>
                  </a:lnTo>
                  <a:lnTo>
                    <a:pt x="414" y="150"/>
                  </a:lnTo>
                  <a:lnTo>
                    <a:pt x="414" y="150"/>
                  </a:lnTo>
                  <a:lnTo>
                    <a:pt x="414" y="150"/>
                  </a:lnTo>
                  <a:lnTo>
                    <a:pt x="411" y="148"/>
                  </a:lnTo>
                  <a:lnTo>
                    <a:pt x="411" y="148"/>
                  </a:lnTo>
                  <a:lnTo>
                    <a:pt x="411" y="145"/>
                  </a:lnTo>
                  <a:lnTo>
                    <a:pt x="411" y="145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06" y="137"/>
                  </a:lnTo>
                  <a:lnTo>
                    <a:pt x="406" y="137"/>
                  </a:lnTo>
                  <a:lnTo>
                    <a:pt x="406" y="137"/>
                  </a:lnTo>
                  <a:lnTo>
                    <a:pt x="403" y="137"/>
                  </a:lnTo>
                  <a:lnTo>
                    <a:pt x="403" y="135"/>
                  </a:lnTo>
                  <a:lnTo>
                    <a:pt x="406" y="135"/>
                  </a:lnTo>
                  <a:lnTo>
                    <a:pt x="409" y="132"/>
                  </a:lnTo>
                  <a:lnTo>
                    <a:pt x="409" y="129"/>
                  </a:lnTo>
                  <a:lnTo>
                    <a:pt x="409" y="129"/>
                  </a:lnTo>
                  <a:lnTo>
                    <a:pt x="409" y="127"/>
                  </a:lnTo>
                  <a:lnTo>
                    <a:pt x="409" y="127"/>
                  </a:lnTo>
                  <a:lnTo>
                    <a:pt x="406" y="127"/>
                  </a:lnTo>
                  <a:lnTo>
                    <a:pt x="406" y="127"/>
                  </a:lnTo>
                  <a:lnTo>
                    <a:pt x="403" y="127"/>
                  </a:lnTo>
                  <a:lnTo>
                    <a:pt x="403" y="127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398" y="129"/>
                  </a:lnTo>
                  <a:lnTo>
                    <a:pt x="396" y="129"/>
                  </a:lnTo>
                  <a:lnTo>
                    <a:pt x="393" y="129"/>
                  </a:lnTo>
                  <a:lnTo>
                    <a:pt x="391" y="129"/>
                  </a:lnTo>
                  <a:lnTo>
                    <a:pt x="391" y="129"/>
                  </a:lnTo>
                  <a:lnTo>
                    <a:pt x="388" y="129"/>
                  </a:lnTo>
                  <a:lnTo>
                    <a:pt x="385" y="127"/>
                  </a:lnTo>
                  <a:lnTo>
                    <a:pt x="385" y="127"/>
                  </a:lnTo>
                  <a:lnTo>
                    <a:pt x="380" y="127"/>
                  </a:lnTo>
                  <a:lnTo>
                    <a:pt x="378" y="124"/>
                  </a:lnTo>
                  <a:lnTo>
                    <a:pt x="372" y="119"/>
                  </a:lnTo>
                  <a:lnTo>
                    <a:pt x="372" y="119"/>
                  </a:lnTo>
                  <a:lnTo>
                    <a:pt x="370" y="119"/>
                  </a:lnTo>
                  <a:lnTo>
                    <a:pt x="370" y="119"/>
                  </a:lnTo>
                  <a:lnTo>
                    <a:pt x="367" y="116"/>
                  </a:lnTo>
                  <a:lnTo>
                    <a:pt x="367" y="116"/>
                  </a:lnTo>
                  <a:lnTo>
                    <a:pt x="367" y="116"/>
                  </a:lnTo>
                  <a:lnTo>
                    <a:pt x="365" y="114"/>
                  </a:lnTo>
                  <a:lnTo>
                    <a:pt x="365" y="114"/>
                  </a:lnTo>
                  <a:lnTo>
                    <a:pt x="365" y="111"/>
                  </a:lnTo>
                  <a:lnTo>
                    <a:pt x="365" y="111"/>
                  </a:lnTo>
                  <a:lnTo>
                    <a:pt x="362" y="111"/>
                  </a:lnTo>
                  <a:lnTo>
                    <a:pt x="359" y="111"/>
                  </a:lnTo>
                  <a:lnTo>
                    <a:pt x="359" y="111"/>
                  </a:lnTo>
                  <a:lnTo>
                    <a:pt x="359" y="111"/>
                  </a:lnTo>
                  <a:lnTo>
                    <a:pt x="359" y="111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57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59" y="106"/>
                  </a:lnTo>
                  <a:lnTo>
                    <a:pt x="362" y="106"/>
                  </a:lnTo>
                  <a:lnTo>
                    <a:pt x="362" y="106"/>
                  </a:lnTo>
                  <a:lnTo>
                    <a:pt x="362" y="106"/>
                  </a:lnTo>
                  <a:lnTo>
                    <a:pt x="362" y="106"/>
                  </a:lnTo>
                  <a:lnTo>
                    <a:pt x="362" y="106"/>
                  </a:lnTo>
                  <a:lnTo>
                    <a:pt x="362" y="103"/>
                  </a:lnTo>
                  <a:lnTo>
                    <a:pt x="365" y="103"/>
                  </a:lnTo>
                  <a:lnTo>
                    <a:pt x="365" y="101"/>
                  </a:lnTo>
                  <a:lnTo>
                    <a:pt x="365" y="101"/>
                  </a:lnTo>
                  <a:lnTo>
                    <a:pt x="367" y="101"/>
                  </a:lnTo>
                  <a:lnTo>
                    <a:pt x="370" y="98"/>
                  </a:lnTo>
                  <a:lnTo>
                    <a:pt x="370" y="98"/>
                  </a:lnTo>
                  <a:lnTo>
                    <a:pt x="370" y="98"/>
                  </a:lnTo>
                  <a:lnTo>
                    <a:pt x="370" y="96"/>
                  </a:lnTo>
                  <a:lnTo>
                    <a:pt x="367" y="93"/>
                  </a:lnTo>
                  <a:lnTo>
                    <a:pt x="365" y="90"/>
                  </a:lnTo>
                  <a:lnTo>
                    <a:pt x="365" y="90"/>
                  </a:lnTo>
                  <a:lnTo>
                    <a:pt x="365" y="93"/>
                  </a:lnTo>
                  <a:lnTo>
                    <a:pt x="365" y="90"/>
                  </a:lnTo>
                  <a:lnTo>
                    <a:pt x="365" y="90"/>
                  </a:lnTo>
                  <a:lnTo>
                    <a:pt x="362" y="88"/>
                  </a:lnTo>
                  <a:lnTo>
                    <a:pt x="362" y="88"/>
                  </a:lnTo>
                  <a:lnTo>
                    <a:pt x="359" y="85"/>
                  </a:lnTo>
                  <a:lnTo>
                    <a:pt x="359" y="85"/>
                  </a:lnTo>
                  <a:lnTo>
                    <a:pt x="359" y="85"/>
                  </a:lnTo>
                  <a:lnTo>
                    <a:pt x="357" y="85"/>
                  </a:lnTo>
                  <a:lnTo>
                    <a:pt x="357" y="85"/>
                  </a:lnTo>
                  <a:lnTo>
                    <a:pt x="354" y="83"/>
                  </a:lnTo>
                  <a:lnTo>
                    <a:pt x="354" y="83"/>
                  </a:lnTo>
                  <a:lnTo>
                    <a:pt x="354" y="83"/>
                  </a:lnTo>
                  <a:lnTo>
                    <a:pt x="354" y="83"/>
                  </a:lnTo>
                  <a:lnTo>
                    <a:pt x="352" y="80"/>
                  </a:lnTo>
                  <a:lnTo>
                    <a:pt x="352" y="80"/>
                  </a:lnTo>
                  <a:lnTo>
                    <a:pt x="352" y="80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4" y="75"/>
                  </a:lnTo>
                  <a:lnTo>
                    <a:pt x="354" y="75"/>
                  </a:lnTo>
                  <a:lnTo>
                    <a:pt x="354" y="75"/>
                  </a:lnTo>
                  <a:lnTo>
                    <a:pt x="354" y="75"/>
                  </a:lnTo>
                  <a:lnTo>
                    <a:pt x="354" y="72"/>
                  </a:lnTo>
                  <a:lnTo>
                    <a:pt x="354" y="72"/>
                  </a:lnTo>
                  <a:lnTo>
                    <a:pt x="354" y="72"/>
                  </a:lnTo>
                  <a:lnTo>
                    <a:pt x="357" y="70"/>
                  </a:lnTo>
                  <a:lnTo>
                    <a:pt x="357" y="70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5"/>
                  </a:lnTo>
                  <a:lnTo>
                    <a:pt x="354" y="65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4" y="65"/>
                  </a:lnTo>
                  <a:lnTo>
                    <a:pt x="354" y="62"/>
                  </a:lnTo>
                  <a:lnTo>
                    <a:pt x="354" y="62"/>
                  </a:lnTo>
                  <a:lnTo>
                    <a:pt x="352" y="62"/>
                  </a:lnTo>
                  <a:lnTo>
                    <a:pt x="354" y="62"/>
                  </a:lnTo>
                  <a:lnTo>
                    <a:pt x="354" y="62"/>
                  </a:lnTo>
                  <a:lnTo>
                    <a:pt x="354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49" y="59"/>
                  </a:lnTo>
                  <a:lnTo>
                    <a:pt x="347" y="59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9" y="57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4" y="54"/>
                  </a:lnTo>
                  <a:lnTo>
                    <a:pt x="341" y="54"/>
                  </a:lnTo>
                  <a:lnTo>
                    <a:pt x="341" y="57"/>
                  </a:lnTo>
                  <a:lnTo>
                    <a:pt x="339" y="57"/>
                  </a:lnTo>
                  <a:lnTo>
                    <a:pt x="339" y="59"/>
                  </a:lnTo>
                  <a:lnTo>
                    <a:pt x="336" y="59"/>
                  </a:lnTo>
                  <a:lnTo>
                    <a:pt x="334" y="59"/>
                  </a:lnTo>
                  <a:lnTo>
                    <a:pt x="331" y="62"/>
                  </a:lnTo>
                  <a:lnTo>
                    <a:pt x="328" y="62"/>
                  </a:lnTo>
                  <a:lnTo>
                    <a:pt x="326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1" y="65"/>
                  </a:lnTo>
                  <a:lnTo>
                    <a:pt x="323" y="67"/>
                  </a:lnTo>
                  <a:lnTo>
                    <a:pt x="323" y="70"/>
                  </a:lnTo>
                  <a:lnTo>
                    <a:pt x="323" y="70"/>
                  </a:lnTo>
                  <a:lnTo>
                    <a:pt x="323" y="70"/>
                  </a:lnTo>
                  <a:lnTo>
                    <a:pt x="321" y="70"/>
                  </a:lnTo>
                  <a:lnTo>
                    <a:pt x="321" y="67"/>
                  </a:lnTo>
                  <a:lnTo>
                    <a:pt x="318" y="67"/>
                  </a:lnTo>
                  <a:lnTo>
                    <a:pt x="318" y="65"/>
                  </a:lnTo>
                  <a:lnTo>
                    <a:pt x="318" y="62"/>
                  </a:lnTo>
                  <a:lnTo>
                    <a:pt x="315" y="59"/>
                  </a:lnTo>
                  <a:lnTo>
                    <a:pt x="315" y="59"/>
                  </a:lnTo>
                  <a:lnTo>
                    <a:pt x="315" y="59"/>
                  </a:lnTo>
                  <a:lnTo>
                    <a:pt x="315" y="59"/>
                  </a:lnTo>
                  <a:lnTo>
                    <a:pt x="313" y="59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3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7"/>
                  </a:lnTo>
                  <a:lnTo>
                    <a:pt x="310" y="57"/>
                  </a:lnTo>
                  <a:lnTo>
                    <a:pt x="313" y="57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5" y="57"/>
                  </a:lnTo>
                  <a:lnTo>
                    <a:pt x="315" y="57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3" y="54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5" y="54"/>
                  </a:lnTo>
                  <a:lnTo>
                    <a:pt x="305" y="57"/>
                  </a:lnTo>
                  <a:lnTo>
                    <a:pt x="303" y="57"/>
                  </a:lnTo>
                  <a:lnTo>
                    <a:pt x="305" y="54"/>
                  </a:lnTo>
                  <a:lnTo>
                    <a:pt x="308" y="54"/>
                  </a:lnTo>
                  <a:lnTo>
                    <a:pt x="308" y="52"/>
                  </a:lnTo>
                  <a:lnTo>
                    <a:pt x="310" y="54"/>
                  </a:lnTo>
                  <a:lnTo>
                    <a:pt x="310" y="52"/>
                  </a:lnTo>
                  <a:lnTo>
                    <a:pt x="308" y="52"/>
                  </a:lnTo>
                  <a:lnTo>
                    <a:pt x="308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3" y="49"/>
                  </a:lnTo>
                  <a:lnTo>
                    <a:pt x="303" y="49"/>
                  </a:lnTo>
                  <a:lnTo>
                    <a:pt x="303" y="46"/>
                  </a:lnTo>
                  <a:lnTo>
                    <a:pt x="303" y="46"/>
                  </a:lnTo>
                  <a:lnTo>
                    <a:pt x="303" y="44"/>
                  </a:lnTo>
                  <a:lnTo>
                    <a:pt x="300" y="44"/>
                  </a:lnTo>
                  <a:lnTo>
                    <a:pt x="300" y="44"/>
                  </a:lnTo>
                  <a:lnTo>
                    <a:pt x="300" y="41"/>
                  </a:lnTo>
                  <a:lnTo>
                    <a:pt x="297" y="41"/>
                  </a:lnTo>
                  <a:lnTo>
                    <a:pt x="297" y="41"/>
                  </a:lnTo>
                  <a:lnTo>
                    <a:pt x="295" y="41"/>
                  </a:lnTo>
                  <a:lnTo>
                    <a:pt x="295" y="41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90" y="39"/>
                  </a:lnTo>
                  <a:lnTo>
                    <a:pt x="287" y="39"/>
                  </a:lnTo>
                  <a:lnTo>
                    <a:pt x="287" y="39"/>
                  </a:lnTo>
                  <a:lnTo>
                    <a:pt x="287" y="39"/>
                  </a:lnTo>
                  <a:lnTo>
                    <a:pt x="287" y="39"/>
                  </a:lnTo>
                  <a:lnTo>
                    <a:pt x="284" y="39"/>
                  </a:lnTo>
                  <a:lnTo>
                    <a:pt x="284" y="39"/>
                  </a:lnTo>
                  <a:lnTo>
                    <a:pt x="284" y="39"/>
                  </a:lnTo>
                  <a:lnTo>
                    <a:pt x="284" y="39"/>
                  </a:lnTo>
                  <a:lnTo>
                    <a:pt x="284" y="36"/>
                  </a:lnTo>
                  <a:lnTo>
                    <a:pt x="287" y="36"/>
                  </a:lnTo>
                  <a:lnTo>
                    <a:pt x="287" y="39"/>
                  </a:lnTo>
                  <a:lnTo>
                    <a:pt x="287" y="36"/>
                  </a:lnTo>
                  <a:lnTo>
                    <a:pt x="287" y="36"/>
                  </a:lnTo>
                  <a:lnTo>
                    <a:pt x="284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82" y="36"/>
                  </a:lnTo>
                  <a:lnTo>
                    <a:pt x="279" y="36"/>
                  </a:lnTo>
                  <a:lnTo>
                    <a:pt x="279" y="33"/>
                  </a:lnTo>
                  <a:lnTo>
                    <a:pt x="279" y="33"/>
                  </a:lnTo>
                  <a:lnTo>
                    <a:pt x="279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28"/>
                  </a:lnTo>
                  <a:lnTo>
                    <a:pt x="282" y="28"/>
                  </a:lnTo>
                  <a:lnTo>
                    <a:pt x="282" y="28"/>
                  </a:lnTo>
                  <a:lnTo>
                    <a:pt x="279" y="28"/>
                  </a:lnTo>
                  <a:lnTo>
                    <a:pt x="279" y="28"/>
                  </a:lnTo>
                  <a:lnTo>
                    <a:pt x="277" y="28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0"/>
                  </a:lnTo>
                  <a:lnTo>
                    <a:pt x="279" y="20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71" y="10"/>
                  </a:lnTo>
                  <a:lnTo>
                    <a:pt x="271" y="10"/>
                  </a:lnTo>
                  <a:lnTo>
                    <a:pt x="271" y="10"/>
                  </a:lnTo>
                  <a:lnTo>
                    <a:pt x="271" y="7"/>
                  </a:lnTo>
                  <a:lnTo>
                    <a:pt x="271" y="7"/>
                  </a:lnTo>
                  <a:lnTo>
                    <a:pt x="269" y="7"/>
                  </a:lnTo>
                  <a:lnTo>
                    <a:pt x="269" y="7"/>
                  </a:lnTo>
                  <a:lnTo>
                    <a:pt x="266" y="7"/>
                  </a:lnTo>
                  <a:lnTo>
                    <a:pt x="266" y="10"/>
                  </a:lnTo>
                  <a:lnTo>
                    <a:pt x="264" y="10"/>
                  </a:lnTo>
                  <a:lnTo>
                    <a:pt x="261" y="10"/>
                  </a:lnTo>
                  <a:lnTo>
                    <a:pt x="261" y="13"/>
                  </a:lnTo>
                  <a:lnTo>
                    <a:pt x="259" y="13"/>
                  </a:lnTo>
                  <a:lnTo>
                    <a:pt x="256" y="13"/>
                  </a:lnTo>
                  <a:lnTo>
                    <a:pt x="256" y="15"/>
                  </a:lnTo>
                  <a:lnTo>
                    <a:pt x="256" y="15"/>
                  </a:lnTo>
                  <a:lnTo>
                    <a:pt x="256" y="18"/>
                  </a:lnTo>
                  <a:lnTo>
                    <a:pt x="256" y="18"/>
                  </a:lnTo>
                  <a:lnTo>
                    <a:pt x="253" y="20"/>
                  </a:lnTo>
                  <a:lnTo>
                    <a:pt x="253" y="20"/>
                  </a:lnTo>
                  <a:lnTo>
                    <a:pt x="253" y="20"/>
                  </a:lnTo>
                  <a:lnTo>
                    <a:pt x="251" y="23"/>
                  </a:lnTo>
                  <a:lnTo>
                    <a:pt x="248" y="23"/>
                  </a:lnTo>
                  <a:lnTo>
                    <a:pt x="248" y="23"/>
                  </a:lnTo>
                  <a:lnTo>
                    <a:pt x="246" y="23"/>
                  </a:lnTo>
                  <a:lnTo>
                    <a:pt x="246" y="20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3" y="18"/>
                  </a:lnTo>
                  <a:lnTo>
                    <a:pt x="240" y="18"/>
                  </a:lnTo>
                  <a:lnTo>
                    <a:pt x="240" y="20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38" y="18"/>
                  </a:lnTo>
                  <a:lnTo>
                    <a:pt x="238" y="20"/>
                  </a:lnTo>
                  <a:lnTo>
                    <a:pt x="238" y="20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35" y="18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3" y="13"/>
                  </a:lnTo>
                  <a:lnTo>
                    <a:pt x="230" y="13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0" y="18"/>
                  </a:lnTo>
                  <a:lnTo>
                    <a:pt x="227" y="18"/>
                  </a:lnTo>
                  <a:lnTo>
                    <a:pt x="227" y="18"/>
                  </a:lnTo>
                  <a:lnTo>
                    <a:pt x="225" y="18"/>
                  </a:lnTo>
                  <a:lnTo>
                    <a:pt x="222" y="18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18"/>
                  </a:lnTo>
                  <a:lnTo>
                    <a:pt x="220" y="18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20"/>
                  </a:lnTo>
                  <a:lnTo>
                    <a:pt x="217" y="20"/>
                  </a:lnTo>
                  <a:lnTo>
                    <a:pt x="215" y="20"/>
                  </a:lnTo>
                  <a:lnTo>
                    <a:pt x="217" y="20"/>
                  </a:lnTo>
                  <a:lnTo>
                    <a:pt x="217" y="20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5" y="26"/>
                  </a:lnTo>
                  <a:lnTo>
                    <a:pt x="215" y="26"/>
                  </a:lnTo>
                  <a:lnTo>
                    <a:pt x="215" y="26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8"/>
                  </a:lnTo>
                  <a:lnTo>
                    <a:pt x="209" y="28"/>
                  </a:lnTo>
                  <a:lnTo>
                    <a:pt x="209" y="31"/>
                  </a:lnTo>
                  <a:lnTo>
                    <a:pt x="207" y="31"/>
                  </a:lnTo>
                  <a:lnTo>
                    <a:pt x="207" y="33"/>
                  </a:lnTo>
                  <a:lnTo>
                    <a:pt x="204" y="33"/>
                  </a:lnTo>
                  <a:lnTo>
                    <a:pt x="202" y="33"/>
                  </a:lnTo>
                  <a:lnTo>
                    <a:pt x="202" y="36"/>
                  </a:lnTo>
                  <a:lnTo>
                    <a:pt x="202" y="39"/>
                  </a:lnTo>
                  <a:lnTo>
                    <a:pt x="202" y="39"/>
                  </a:lnTo>
                  <a:lnTo>
                    <a:pt x="204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41"/>
                  </a:lnTo>
                  <a:lnTo>
                    <a:pt x="204" y="41"/>
                  </a:lnTo>
                  <a:lnTo>
                    <a:pt x="202" y="41"/>
                  </a:lnTo>
                  <a:lnTo>
                    <a:pt x="199" y="39"/>
                  </a:lnTo>
                  <a:lnTo>
                    <a:pt x="196" y="39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6" y="33"/>
                  </a:lnTo>
                  <a:lnTo>
                    <a:pt x="196" y="33"/>
                  </a:lnTo>
                  <a:lnTo>
                    <a:pt x="196" y="31"/>
                  </a:lnTo>
                  <a:lnTo>
                    <a:pt x="196" y="31"/>
                  </a:lnTo>
                  <a:lnTo>
                    <a:pt x="196" y="31"/>
                  </a:lnTo>
                  <a:lnTo>
                    <a:pt x="196" y="31"/>
                  </a:lnTo>
                  <a:lnTo>
                    <a:pt x="199" y="31"/>
                  </a:lnTo>
                  <a:lnTo>
                    <a:pt x="202" y="28"/>
                  </a:lnTo>
                  <a:lnTo>
                    <a:pt x="202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4" y="23"/>
                  </a:lnTo>
                  <a:lnTo>
                    <a:pt x="204" y="23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7" y="18"/>
                  </a:lnTo>
                  <a:lnTo>
                    <a:pt x="209" y="18"/>
                  </a:lnTo>
                  <a:lnTo>
                    <a:pt x="212" y="18"/>
                  </a:lnTo>
                  <a:lnTo>
                    <a:pt x="212" y="18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8"/>
                  </a:lnTo>
                  <a:lnTo>
                    <a:pt x="215" y="15"/>
                  </a:lnTo>
                  <a:lnTo>
                    <a:pt x="217" y="15"/>
                  </a:lnTo>
                  <a:lnTo>
                    <a:pt x="220" y="15"/>
                  </a:lnTo>
                  <a:lnTo>
                    <a:pt x="222" y="15"/>
                  </a:lnTo>
                  <a:lnTo>
                    <a:pt x="222" y="18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0" y="15"/>
                  </a:lnTo>
                  <a:lnTo>
                    <a:pt x="220" y="13"/>
                  </a:lnTo>
                  <a:lnTo>
                    <a:pt x="220" y="13"/>
                  </a:lnTo>
                  <a:lnTo>
                    <a:pt x="222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0"/>
                  </a:lnTo>
                  <a:lnTo>
                    <a:pt x="225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0"/>
                  </a:lnTo>
                  <a:lnTo>
                    <a:pt x="233" y="10"/>
                  </a:lnTo>
                  <a:lnTo>
                    <a:pt x="235" y="7"/>
                  </a:lnTo>
                  <a:lnTo>
                    <a:pt x="238" y="10"/>
                  </a:lnTo>
                  <a:lnTo>
                    <a:pt x="238" y="10"/>
                  </a:lnTo>
                  <a:lnTo>
                    <a:pt x="238" y="10"/>
                  </a:lnTo>
                  <a:lnTo>
                    <a:pt x="240" y="13"/>
                  </a:lnTo>
                  <a:lnTo>
                    <a:pt x="240" y="13"/>
                  </a:lnTo>
                  <a:lnTo>
                    <a:pt x="240" y="10"/>
                  </a:lnTo>
                  <a:lnTo>
                    <a:pt x="243" y="10"/>
                  </a:lnTo>
                  <a:lnTo>
                    <a:pt x="243" y="10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8" y="10"/>
                  </a:lnTo>
                  <a:lnTo>
                    <a:pt x="248" y="10"/>
                  </a:lnTo>
                  <a:lnTo>
                    <a:pt x="251" y="10"/>
                  </a:lnTo>
                  <a:lnTo>
                    <a:pt x="251" y="10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6" y="10"/>
                  </a:lnTo>
                  <a:lnTo>
                    <a:pt x="259" y="10"/>
                  </a:lnTo>
                  <a:lnTo>
                    <a:pt x="259" y="10"/>
                  </a:lnTo>
                  <a:lnTo>
                    <a:pt x="259" y="10"/>
                  </a:lnTo>
                  <a:lnTo>
                    <a:pt x="259" y="7"/>
                  </a:lnTo>
                  <a:lnTo>
                    <a:pt x="259" y="7"/>
                  </a:lnTo>
                  <a:lnTo>
                    <a:pt x="259" y="7"/>
                  </a:lnTo>
                  <a:lnTo>
                    <a:pt x="259" y="7"/>
                  </a:lnTo>
                  <a:lnTo>
                    <a:pt x="259" y="7"/>
                  </a:lnTo>
                  <a:lnTo>
                    <a:pt x="259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4" y="7"/>
                  </a:lnTo>
                  <a:lnTo>
                    <a:pt x="264" y="7"/>
                  </a:lnTo>
                  <a:lnTo>
                    <a:pt x="264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59" y="5"/>
                  </a:lnTo>
                  <a:lnTo>
                    <a:pt x="256" y="5"/>
                  </a:lnTo>
                  <a:lnTo>
                    <a:pt x="253" y="5"/>
                  </a:lnTo>
                  <a:lnTo>
                    <a:pt x="248" y="7"/>
                  </a:lnTo>
                  <a:lnTo>
                    <a:pt x="235" y="7"/>
                  </a:lnTo>
                  <a:lnTo>
                    <a:pt x="233" y="5"/>
                  </a:lnTo>
                  <a:lnTo>
                    <a:pt x="230" y="5"/>
                  </a:lnTo>
                  <a:lnTo>
                    <a:pt x="227" y="5"/>
                  </a:lnTo>
                  <a:lnTo>
                    <a:pt x="222" y="5"/>
                  </a:lnTo>
                  <a:lnTo>
                    <a:pt x="220" y="5"/>
                  </a:lnTo>
                  <a:lnTo>
                    <a:pt x="217" y="5"/>
                  </a:lnTo>
                  <a:lnTo>
                    <a:pt x="215" y="2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2" y="0"/>
                  </a:lnTo>
                  <a:lnTo>
                    <a:pt x="212" y="2"/>
                  </a:lnTo>
                  <a:lnTo>
                    <a:pt x="209" y="5"/>
                  </a:lnTo>
                  <a:lnTo>
                    <a:pt x="209" y="7"/>
                  </a:lnTo>
                  <a:lnTo>
                    <a:pt x="207" y="13"/>
                  </a:lnTo>
                  <a:lnTo>
                    <a:pt x="207" y="15"/>
                  </a:lnTo>
                  <a:lnTo>
                    <a:pt x="204" y="15"/>
                  </a:lnTo>
                  <a:lnTo>
                    <a:pt x="202" y="18"/>
                  </a:lnTo>
                  <a:lnTo>
                    <a:pt x="202" y="20"/>
                  </a:lnTo>
                  <a:lnTo>
                    <a:pt x="199" y="26"/>
                  </a:lnTo>
                  <a:lnTo>
                    <a:pt x="194" y="31"/>
                  </a:lnTo>
                  <a:lnTo>
                    <a:pt x="194" y="33"/>
                  </a:lnTo>
                  <a:lnTo>
                    <a:pt x="191" y="33"/>
                  </a:lnTo>
                  <a:lnTo>
                    <a:pt x="189" y="36"/>
                  </a:lnTo>
                  <a:lnTo>
                    <a:pt x="183" y="39"/>
                  </a:lnTo>
                  <a:lnTo>
                    <a:pt x="178" y="41"/>
                  </a:lnTo>
                  <a:lnTo>
                    <a:pt x="176" y="44"/>
                  </a:lnTo>
                  <a:lnTo>
                    <a:pt x="176" y="46"/>
                  </a:lnTo>
                  <a:lnTo>
                    <a:pt x="173" y="46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9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68" y="59"/>
                  </a:lnTo>
                  <a:lnTo>
                    <a:pt x="168" y="62"/>
                  </a:lnTo>
                  <a:lnTo>
                    <a:pt x="168" y="65"/>
                  </a:lnTo>
                  <a:lnTo>
                    <a:pt x="168" y="67"/>
                  </a:lnTo>
                  <a:lnTo>
                    <a:pt x="171" y="67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73" y="70"/>
                  </a:lnTo>
                  <a:lnTo>
                    <a:pt x="173" y="67"/>
                  </a:lnTo>
                  <a:lnTo>
                    <a:pt x="171" y="67"/>
                  </a:lnTo>
                  <a:lnTo>
                    <a:pt x="171" y="67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65" y="65"/>
                  </a:lnTo>
                  <a:lnTo>
                    <a:pt x="165" y="62"/>
                  </a:lnTo>
                  <a:lnTo>
                    <a:pt x="165" y="62"/>
                  </a:lnTo>
                  <a:lnTo>
                    <a:pt x="165" y="59"/>
                  </a:lnTo>
                  <a:lnTo>
                    <a:pt x="165" y="59"/>
                  </a:lnTo>
                  <a:lnTo>
                    <a:pt x="165" y="59"/>
                  </a:lnTo>
                  <a:lnTo>
                    <a:pt x="165" y="57"/>
                  </a:lnTo>
                  <a:lnTo>
                    <a:pt x="165" y="57"/>
                  </a:lnTo>
                  <a:lnTo>
                    <a:pt x="165" y="57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8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2"/>
                  </a:lnTo>
                  <a:lnTo>
                    <a:pt x="165" y="52"/>
                  </a:lnTo>
                  <a:lnTo>
                    <a:pt x="163" y="54"/>
                  </a:lnTo>
                  <a:lnTo>
                    <a:pt x="160" y="54"/>
                  </a:lnTo>
                  <a:lnTo>
                    <a:pt x="158" y="54"/>
                  </a:lnTo>
                  <a:lnTo>
                    <a:pt x="155" y="54"/>
                  </a:lnTo>
                  <a:lnTo>
                    <a:pt x="150" y="57"/>
                  </a:lnTo>
                  <a:lnTo>
                    <a:pt x="145" y="57"/>
                  </a:lnTo>
                  <a:lnTo>
                    <a:pt x="142" y="59"/>
                  </a:lnTo>
                  <a:lnTo>
                    <a:pt x="137" y="59"/>
                  </a:lnTo>
                  <a:lnTo>
                    <a:pt x="132" y="59"/>
                  </a:lnTo>
                  <a:lnTo>
                    <a:pt x="129" y="57"/>
                  </a:lnTo>
                  <a:lnTo>
                    <a:pt x="124" y="57"/>
                  </a:lnTo>
                  <a:lnTo>
                    <a:pt x="121" y="57"/>
                  </a:lnTo>
                  <a:lnTo>
                    <a:pt x="119" y="57"/>
                  </a:lnTo>
                  <a:lnTo>
                    <a:pt x="119" y="59"/>
                  </a:lnTo>
                  <a:lnTo>
                    <a:pt x="116" y="62"/>
                  </a:lnTo>
                  <a:lnTo>
                    <a:pt x="114" y="65"/>
                  </a:lnTo>
                  <a:lnTo>
                    <a:pt x="111" y="67"/>
                  </a:lnTo>
                  <a:lnTo>
                    <a:pt x="108" y="67"/>
                  </a:lnTo>
                  <a:lnTo>
                    <a:pt x="106" y="67"/>
                  </a:lnTo>
                  <a:lnTo>
                    <a:pt x="106" y="70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5"/>
                  </a:lnTo>
                  <a:lnTo>
                    <a:pt x="103" y="75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8" y="70"/>
                  </a:lnTo>
                  <a:lnTo>
                    <a:pt x="108" y="67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8" y="77"/>
                  </a:lnTo>
                  <a:lnTo>
                    <a:pt x="108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3" y="83"/>
                  </a:lnTo>
                  <a:lnTo>
                    <a:pt x="101" y="83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98" y="88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3"/>
                  </a:lnTo>
                  <a:lnTo>
                    <a:pt x="98" y="83"/>
                  </a:lnTo>
                  <a:lnTo>
                    <a:pt x="98" y="83"/>
                  </a:lnTo>
                  <a:lnTo>
                    <a:pt x="98" y="85"/>
                  </a:lnTo>
                  <a:lnTo>
                    <a:pt x="101" y="83"/>
                  </a:lnTo>
                  <a:lnTo>
                    <a:pt x="101" y="80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3" y="80"/>
                  </a:lnTo>
                  <a:lnTo>
                    <a:pt x="93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5" y="85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88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3" y="88"/>
                  </a:lnTo>
                  <a:lnTo>
                    <a:pt x="93" y="85"/>
                  </a:lnTo>
                  <a:lnTo>
                    <a:pt x="95" y="85"/>
                  </a:lnTo>
                  <a:lnTo>
                    <a:pt x="95" y="85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8" y="88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3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5" y="98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2" y="93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80" y="93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5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7" y="83"/>
                  </a:lnTo>
                  <a:lnTo>
                    <a:pt x="64" y="83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2" y="83"/>
                  </a:lnTo>
                  <a:lnTo>
                    <a:pt x="54" y="83"/>
                  </a:lnTo>
                  <a:lnTo>
                    <a:pt x="49" y="83"/>
                  </a:lnTo>
                  <a:lnTo>
                    <a:pt x="44" y="85"/>
                  </a:lnTo>
                  <a:lnTo>
                    <a:pt x="38" y="88"/>
                  </a:lnTo>
                  <a:lnTo>
                    <a:pt x="33" y="90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1" y="98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6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98"/>
                  </a:lnTo>
                  <a:lnTo>
                    <a:pt x="36" y="98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101"/>
                  </a:lnTo>
                  <a:lnTo>
                    <a:pt x="28" y="101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8" y="106"/>
                  </a:lnTo>
                  <a:lnTo>
                    <a:pt x="18" y="109"/>
                  </a:lnTo>
                  <a:lnTo>
                    <a:pt x="18" y="109"/>
                  </a:lnTo>
                  <a:lnTo>
                    <a:pt x="18" y="109"/>
                  </a:lnTo>
                  <a:lnTo>
                    <a:pt x="18" y="109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4"/>
                  </a:lnTo>
                  <a:lnTo>
                    <a:pt x="18" y="119"/>
                  </a:lnTo>
                  <a:lnTo>
                    <a:pt x="20" y="122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20" y="129"/>
                  </a:lnTo>
                  <a:lnTo>
                    <a:pt x="20" y="129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6" y="135"/>
                  </a:lnTo>
                  <a:lnTo>
                    <a:pt x="28" y="135"/>
                  </a:lnTo>
                  <a:lnTo>
                    <a:pt x="28" y="135"/>
                  </a:lnTo>
                  <a:lnTo>
                    <a:pt x="28" y="135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31" y="137"/>
                  </a:lnTo>
                  <a:lnTo>
                    <a:pt x="33" y="135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40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8"/>
                  </a:lnTo>
                  <a:lnTo>
                    <a:pt x="36" y="150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3"/>
                  </a:lnTo>
                  <a:lnTo>
                    <a:pt x="26" y="163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3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3" y="168"/>
                  </a:lnTo>
                  <a:lnTo>
                    <a:pt x="23" y="171"/>
                  </a:lnTo>
                  <a:lnTo>
                    <a:pt x="20" y="171"/>
                  </a:lnTo>
                  <a:lnTo>
                    <a:pt x="18" y="173"/>
                  </a:lnTo>
                  <a:lnTo>
                    <a:pt x="15" y="176"/>
                  </a:lnTo>
                  <a:lnTo>
                    <a:pt x="13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9"/>
                  </a:lnTo>
                  <a:lnTo>
                    <a:pt x="10" y="179"/>
                  </a:lnTo>
                  <a:lnTo>
                    <a:pt x="10" y="179"/>
                  </a:lnTo>
                  <a:lnTo>
                    <a:pt x="7" y="179"/>
                  </a:lnTo>
                  <a:lnTo>
                    <a:pt x="7" y="179"/>
                  </a:lnTo>
                  <a:lnTo>
                    <a:pt x="7" y="179"/>
                  </a:lnTo>
                  <a:lnTo>
                    <a:pt x="7" y="179"/>
                  </a:lnTo>
                  <a:lnTo>
                    <a:pt x="5" y="179"/>
                  </a:lnTo>
                  <a:lnTo>
                    <a:pt x="5" y="179"/>
                  </a:lnTo>
                  <a:lnTo>
                    <a:pt x="2" y="181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2" y="186"/>
                  </a:lnTo>
                  <a:lnTo>
                    <a:pt x="2" y="186"/>
                  </a:lnTo>
                  <a:lnTo>
                    <a:pt x="2" y="189"/>
                  </a:lnTo>
                  <a:lnTo>
                    <a:pt x="2" y="189"/>
                  </a:lnTo>
                  <a:lnTo>
                    <a:pt x="2" y="189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10" y="194"/>
                  </a:lnTo>
                  <a:lnTo>
                    <a:pt x="13" y="194"/>
                  </a:lnTo>
                  <a:lnTo>
                    <a:pt x="13" y="194"/>
                  </a:lnTo>
                  <a:lnTo>
                    <a:pt x="13" y="194"/>
                  </a:lnTo>
                  <a:lnTo>
                    <a:pt x="15" y="197"/>
                  </a:lnTo>
                  <a:lnTo>
                    <a:pt x="15" y="197"/>
                  </a:lnTo>
                  <a:lnTo>
                    <a:pt x="15" y="197"/>
                  </a:lnTo>
                  <a:lnTo>
                    <a:pt x="15" y="197"/>
                  </a:lnTo>
                  <a:lnTo>
                    <a:pt x="15" y="199"/>
                  </a:lnTo>
                  <a:lnTo>
                    <a:pt x="15" y="199"/>
                  </a:lnTo>
                  <a:lnTo>
                    <a:pt x="15" y="199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20" y="202"/>
                  </a:lnTo>
                  <a:lnTo>
                    <a:pt x="23" y="202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8" y="205"/>
                  </a:lnTo>
                  <a:lnTo>
                    <a:pt x="28" y="205"/>
                  </a:lnTo>
                  <a:lnTo>
                    <a:pt x="31" y="205"/>
                  </a:lnTo>
                  <a:lnTo>
                    <a:pt x="31" y="202"/>
                  </a:lnTo>
                  <a:lnTo>
                    <a:pt x="31" y="202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1" y="202"/>
                  </a:lnTo>
                  <a:lnTo>
                    <a:pt x="31" y="202"/>
                  </a:lnTo>
                  <a:lnTo>
                    <a:pt x="33" y="199"/>
                  </a:lnTo>
                  <a:lnTo>
                    <a:pt x="33" y="199"/>
                  </a:lnTo>
                  <a:lnTo>
                    <a:pt x="36" y="199"/>
                  </a:lnTo>
                  <a:lnTo>
                    <a:pt x="36" y="197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8" y="199"/>
                  </a:lnTo>
                  <a:lnTo>
                    <a:pt x="38" y="199"/>
                  </a:lnTo>
                  <a:lnTo>
                    <a:pt x="41" y="199"/>
                  </a:lnTo>
                  <a:lnTo>
                    <a:pt x="41" y="199"/>
                  </a:lnTo>
                  <a:lnTo>
                    <a:pt x="44" y="199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4" y="205"/>
                  </a:lnTo>
                  <a:lnTo>
                    <a:pt x="46" y="205"/>
                  </a:lnTo>
                  <a:lnTo>
                    <a:pt x="46" y="207"/>
                  </a:lnTo>
                  <a:lnTo>
                    <a:pt x="46" y="207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9" y="210"/>
                  </a:lnTo>
                  <a:lnTo>
                    <a:pt x="49" y="210"/>
                  </a:lnTo>
                  <a:lnTo>
                    <a:pt x="49" y="212"/>
                  </a:lnTo>
                  <a:lnTo>
                    <a:pt x="51" y="215"/>
                  </a:lnTo>
                  <a:lnTo>
                    <a:pt x="51" y="218"/>
                  </a:lnTo>
                  <a:lnTo>
                    <a:pt x="51" y="218"/>
                  </a:lnTo>
                  <a:lnTo>
                    <a:pt x="54" y="220"/>
                  </a:lnTo>
                  <a:lnTo>
                    <a:pt x="57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62" y="223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59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4" y="225"/>
                  </a:lnTo>
                  <a:lnTo>
                    <a:pt x="67" y="225"/>
                  </a:lnTo>
                  <a:lnTo>
                    <a:pt x="67" y="228"/>
                  </a:lnTo>
                  <a:lnTo>
                    <a:pt x="67" y="228"/>
                  </a:lnTo>
                  <a:lnTo>
                    <a:pt x="67" y="228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7" y="236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2" y="233"/>
                  </a:lnTo>
                  <a:lnTo>
                    <a:pt x="75" y="236"/>
                  </a:lnTo>
                  <a:lnTo>
                    <a:pt x="75" y="238"/>
                  </a:lnTo>
                  <a:lnTo>
                    <a:pt x="77" y="238"/>
                  </a:lnTo>
                  <a:lnTo>
                    <a:pt x="77" y="238"/>
                  </a:lnTo>
                  <a:lnTo>
                    <a:pt x="80" y="238"/>
                  </a:lnTo>
                  <a:lnTo>
                    <a:pt x="82" y="238"/>
                  </a:lnTo>
                  <a:lnTo>
                    <a:pt x="85" y="238"/>
                  </a:lnTo>
                  <a:lnTo>
                    <a:pt x="88" y="241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90" y="236"/>
                  </a:lnTo>
                  <a:lnTo>
                    <a:pt x="93" y="236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8"/>
                  </a:lnTo>
                  <a:lnTo>
                    <a:pt x="101" y="236"/>
                  </a:lnTo>
                  <a:lnTo>
                    <a:pt x="103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08" y="230"/>
                  </a:lnTo>
                  <a:lnTo>
                    <a:pt x="108" y="228"/>
                  </a:lnTo>
                  <a:lnTo>
                    <a:pt x="108" y="228"/>
                  </a:lnTo>
                  <a:lnTo>
                    <a:pt x="108" y="228"/>
                  </a:lnTo>
                  <a:lnTo>
                    <a:pt x="108" y="225"/>
                  </a:lnTo>
                  <a:lnTo>
                    <a:pt x="106" y="225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8" y="223"/>
                  </a:lnTo>
                  <a:lnTo>
                    <a:pt x="111" y="223"/>
                  </a:lnTo>
                  <a:lnTo>
                    <a:pt x="111" y="220"/>
                  </a:lnTo>
                  <a:lnTo>
                    <a:pt x="111" y="220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7" y="218"/>
                  </a:lnTo>
                  <a:lnTo>
                    <a:pt x="127" y="220"/>
                  </a:lnTo>
                  <a:lnTo>
                    <a:pt x="127" y="220"/>
                  </a:lnTo>
                  <a:lnTo>
                    <a:pt x="127" y="220"/>
                  </a:lnTo>
                  <a:lnTo>
                    <a:pt x="129" y="220"/>
                  </a:lnTo>
                  <a:lnTo>
                    <a:pt x="132" y="220"/>
                  </a:lnTo>
                  <a:lnTo>
                    <a:pt x="134" y="220"/>
                  </a:lnTo>
                  <a:lnTo>
                    <a:pt x="134" y="220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42" y="215"/>
                  </a:lnTo>
                  <a:lnTo>
                    <a:pt x="142" y="215"/>
                  </a:lnTo>
                  <a:lnTo>
                    <a:pt x="145" y="212"/>
                  </a:lnTo>
                  <a:lnTo>
                    <a:pt x="145" y="210"/>
                  </a:lnTo>
                  <a:lnTo>
                    <a:pt x="147" y="210"/>
                  </a:lnTo>
                  <a:lnTo>
                    <a:pt x="150" y="210"/>
                  </a:lnTo>
                  <a:lnTo>
                    <a:pt x="150" y="210"/>
                  </a:lnTo>
                  <a:lnTo>
                    <a:pt x="152" y="210"/>
                  </a:lnTo>
                  <a:lnTo>
                    <a:pt x="152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8" y="207"/>
                  </a:lnTo>
                  <a:lnTo>
                    <a:pt x="158" y="207"/>
                  </a:lnTo>
                  <a:lnTo>
                    <a:pt x="158" y="207"/>
                  </a:lnTo>
                  <a:lnTo>
                    <a:pt x="158" y="205"/>
                  </a:lnTo>
                  <a:lnTo>
                    <a:pt x="160" y="205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194"/>
                  </a:lnTo>
                  <a:lnTo>
                    <a:pt x="163" y="194"/>
                  </a:lnTo>
                  <a:lnTo>
                    <a:pt x="163" y="194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8" y="197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71" y="199"/>
                  </a:lnTo>
                  <a:lnTo>
                    <a:pt x="171" y="197"/>
                  </a:lnTo>
                  <a:lnTo>
                    <a:pt x="171" y="197"/>
                  </a:lnTo>
                  <a:lnTo>
                    <a:pt x="171" y="197"/>
                  </a:lnTo>
                  <a:lnTo>
                    <a:pt x="173" y="194"/>
                  </a:lnTo>
                  <a:lnTo>
                    <a:pt x="173" y="197"/>
                  </a:lnTo>
                  <a:lnTo>
                    <a:pt x="173" y="197"/>
                  </a:lnTo>
                  <a:lnTo>
                    <a:pt x="173" y="197"/>
                  </a:lnTo>
                  <a:lnTo>
                    <a:pt x="176" y="199"/>
                  </a:lnTo>
                  <a:lnTo>
                    <a:pt x="176" y="199"/>
                  </a:lnTo>
                  <a:lnTo>
                    <a:pt x="176" y="199"/>
                  </a:lnTo>
                  <a:lnTo>
                    <a:pt x="178" y="199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7"/>
                  </a:lnTo>
                  <a:lnTo>
                    <a:pt x="183" y="197"/>
                  </a:lnTo>
                  <a:lnTo>
                    <a:pt x="183" y="199"/>
                  </a:lnTo>
                  <a:lnTo>
                    <a:pt x="183" y="199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6" y="202"/>
                  </a:lnTo>
                  <a:lnTo>
                    <a:pt x="189" y="202"/>
                  </a:lnTo>
                  <a:lnTo>
                    <a:pt x="189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4" y="202"/>
                  </a:lnTo>
                  <a:lnTo>
                    <a:pt x="196" y="205"/>
                  </a:lnTo>
                  <a:lnTo>
                    <a:pt x="196" y="205"/>
                  </a:lnTo>
                  <a:lnTo>
                    <a:pt x="199" y="205"/>
                  </a:lnTo>
                  <a:lnTo>
                    <a:pt x="199" y="205"/>
                  </a:lnTo>
                  <a:lnTo>
                    <a:pt x="199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2" y="210"/>
                  </a:lnTo>
                  <a:lnTo>
                    <a:pt x="204" y="210"/>
                  </a:lnTo>
                  <a:lnTo>
                    <a:pt x="204" y="210"/>
                  </a:lnTo>
                  <a:lnTo>
                    <a:pt x="204" y="210"/>
                  </a:lnTo>
                  <a:lnTo>
                    <a:pt x="204" y="210"/>
                  </a:lnTo>
                  <a:lnTo>
                    <a:pt x="204" y="212"/>
                  </a:lnTo>
                  <a:lnTo>
                    <a:pt x="204" y="212"/>
                  </a:lnTo>
                  <a:lnTo>
                    <a:pt x="204" y="212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09" y="215"/>
                  </a:lnTo>
                  <a:lnTo>
                    <a:pt x="209" y="215"/>
                  </a:lnTo>
                  <a:lnTo>
                    <a:pt x="209" y="212"/>
                  </a:lnTo>
                  <a:lnTo>
                    <a:pt x="212" y="215"/>
                  </a:lnTo>
                  <a:lnTo>
                    <a:pt x="212" y="215"/>
                  </a:lnTo>
                  <a:lnTo>
                    <a:pt x="212" y="215"/>
                  </a:lnTo>
                  <a:lnTo>
                    <a:pt x="212" y="212"/>
                  </a:lnTo>
                  <a:lnTo>
                    <a:pt x="212" y="212"/>
                  </a:lnTo>
                  <a:lnTo>
                    <a:pt x="212" y="212"/>
                  </a:lnTo>
                  <a:lnTo>
                    <a:pt x="212" y="212"/>
                  </a:lnTo>
                  <a:lnTo>
                    <a:pt x="212" y="212"/>
                  </a:lnTo>
                  <a:lnTo>
                    <a:pt x="215" y="212"/>
                  </a:lnTo>
                  <a:lnTo>
                    <a:pt x="217" y="212"/>
                  </a:lnTo>
                  <a:lnTo>
                    <a:pt x="220" y="215"/>
                  </a:lnTo>
                  <a:lnTo>
                    <a:pt x="222" y="215"/>
                  </a:lnTo>
                  <a:lnTo>
                    <a:pt x="225" y="215"/>
                  </a:lnTo>
                  <a:lnTo>
                    <a:pt x="225" y="215"/>
                  </a:lnTo>
                  <a:lnTo>
                    <a:pt x="225" y="215"/>
                  </a:lnTo>
                  <a:lnTo>
                    <a:pt x="227" y="215"/>
                  </a:lnTo>
                  <a:lnTo>
                    <a:pt x="227" y="215"/>
                  </a:lnTo>
                  <a:lnTo>
                    <a:pt x="230" y="215"/>
                  </a:lnTo>
                  <a:lnTo>
                    <a:pt x="230" y="215"/>
                  </a:lnTo>
                  <a:lnTo>
                    <a:pt x="233" y="215"/>
                  </a:lnTo>
                  <a:lnTo>
                    <a:pt x="233" y="215"/>
                  </a:lnTo>
                  <a:lnTo>
                    <a:pt x="233" y="215"/>
                  </a:lnTo>
                  <a:lnTo>
                    <a:pt x="230" y="215"/>
                  </a:lnTo>
                  <a:lnTo>
                    <a:pt x="230" y="218"/>
                  </a:lnTo>
                  <a:lnTo>
                    <a:pt x="230" y="218"/>
                  </a:lnTo>
                  <a:lnTo>
                    <a:pt x="230" y="218"/>
                  </a:lnTo>
                  <a:lnTo>
                    <a:pt x="233" y="220"/>
                  </a:lnTo>
                  <a:lnTo>
                    <a:pt x="233" y="220"/>
                  </a:lnTo>
                  <a:lnTo>
                    <a:pt x="235" y="220"/>
                  </a:lnTo>
                  <a:lnTo>
                    <a:pt x="238" y="220"/>
                  </a:lnTo>
                  <a:lnTo>
                    <a:pt x="240" y="220"/>
                  </a:lnTo>
                  <a:lnTo>
                    <a:pt x="240" y="220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40" y="225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6" y="225"/>
                  </a:lnTo>
                  <a:lnTo>
                    <a:pt x="246" y="225"/>
                  </a:lnTo>
                  <a:lnTo>
                    <a:pt x="246" y="225"/>
                  </a:lnTo>
                  <a:lnTo>
                    <a:pt x="248" y="225"/>
                  </a:lnTo>
                  <a:lnTo>
                    <a:pt x="248" y="225"/>
                  </a:lnTo>
                  <a:lnTo>
                    <a:pt x="248" y="225"/>
                  </a:lnTo>
                  <a:lnTo>
                    <a:pt x="251" y="225"/>
                  </a:lnTo>
                  <a:lnTo>
                    <a:pt x="251" y="223"/>
                  </a:lnTo>
                  <a:lnTo>
                    <a:pt x="251" y="225"/>
                  </a:lnTo>
                  <a:lnTo>
                    <a:pt x="253" y="225"/>
                  </a:lnTo>
                  <a:lnTo>
                    <a:pt x="253" y="225"/>
                  </a:lnTo>
                  <a:lnTo>
                    <a:pt x="253" y="225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9" y="225"/>
                  </a:lnTo>
                  <a:lnTo>
                    <a:pt x="259" y="225"/>
                  </a:lnTo>
                  <a:lnTo>
                    <a:pt x="259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59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4" y="223"/>
                  </a:lnTo>
                  <a:lnTo>
                    <a:pt x="264" y="223"/>
                  </a:lnTo>
                  <a:lnTo>
                    <a:pt x="264" y="223"/>
                  </a:lnTo>
                  <a:lnTo>
                    <a:pt x="266" y="225"/>
                  </a:lnTo>
                  <a:lnTo>
                    <a:pt x="264" y="228"/>
                  </a:lnTo>
                  <a:lnTo>
                    <a:pt x="264" y="228"/>
                  </a:lnTo>
                  <a:lnTo>
                    <a:pt x="261" y="228"/>
                  </a:lnTo>
                  <a:lnTo>
                    <a:pt x="264" y="228"/>
                  </a:lnTo>
                  <a:lnTo>
                    <a:pt x="264" y="228"/>
                  </a:lnTo>
                  <a:lnTo>
                    <a:pt x="264" y="230"/>
                  </a:lnTo>
                  <a:lnTo>
                    <a:pt x="266" y="230"/>
                  </a:lnTo>
                  <a:lnTo>
                    <a:pt x="266" y="230"/>
                  </a:lnTo>
                  <a:lnTo>
                    <a:pt x="266" y="230"/>
                  </a:lnTo>
                  <a:lnTo>
                    <a:pt x="269" y="230"/>
                  </a:lnTo>
                  <a:lnTo>
                    <a:pt x="269" y="228"/>
                  </a:lnTo>
                  <a:lnTo>
                    <a:pt x="271" y="228"/>
                  </a:lnTo>
                  <a:lnTo>
                    <a:pt x="271" y="225"/>
                  </a:lnTo>
                  <a:lnTo>
                    <a:pt x="274" y="225"/>
                  </a:lnTo>
                  <a:lnTo>
                    <a:pt x="277" y="223"/>
                  </a:lnTo>
                  <a:lnTo>
                    <a:pt x="277" y="223"/>
                  </a:lnTo>
                  <a:lnTo>
                    <a:pt x="279" y="223"/>
                  </a:lnTo>
                  <a:lnTo>
                    <a:pt x="279" y="220"/>
                  </a:lnTo>
                  <a:lnTo>
                    <a:pt x="279" y="220"/>
                  </a:lnTo>
                  <a:lnTo>
                    <a:pt x="279" y="220"/>
                  </a:lnTo>
                  <a:lnTo>
                    <a:pt x="279" y="218"/>
                  </a:lnTo>
                  <a:lnTo>
                    <a:pt x="279" y="218"/>
                  </a:lnTo>
                  <a:lnTo>
                    <a:pt x="279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84" y="218"/>
                  </a:lnTo>
                  <a:lnTo>
                    <a:pt x="284" y="218"/>
                  </a:lnTo>
                  <a:lnTo>
                    <a:pt x="284" y="218"/>
                  </a:lnTo>
                  <a:lnTo>
                    <a:pt x="284" y="218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4" y="215"/>
                  </a:lnTo>
                  <a:lnTo>
                    <a:pt x="287" y="215"/>
                  </a:lnTo>
                  <a:lnTo>
                    <a:pt x="287" y="215"/>
                  </a:lnTo>
                  <a:lnTo>
                    <a:pt x="290" y="215"/>
                  </a:lnTo>
                  <a:lnTo>
                    <a:pt x="290" y="215"/>
                  </a:lnTo>
                  <a:lnTo>
                    <a:pt x="290" y="218"/>
                  </a:lnTo>
                  <a:lnTo>
                    <a:pt x="290" y="218"/>
                  </a:lnTo>
                  <a:lnTo>
                    <a:pt x="292" y="220"/>
                  </a:lnTo>
                  <a:lnTo>
                    <a:pt x="292" y="220"/>
                  </a:lnTo>
                  <a:lnTo>
                    <a:pt x="295" y="220"/>
                  </a:lnTo>
                  <a:lnTo>
                    <a:pt x="295" y="218"/>
                  </a:lnTo>
                  <a:lnTo>
                    <a:pt x="295" y="218"/>
                  </a:lnTo>
                  <a:lnTo>
                    <a:pt x="295" y="218"/>
                  </a:lnTo>
                  <a:lnTo>
                    <a:pt x="295" y="218"/>
                  </a:lnTo>
                  <a:lnTo>
                    <a:pt x="295" y="215"/>
                  </a:lnTo>
                  <a:lnTo>
                    <a:pt x="295" y="215"/>
                  </a:lnTo>
                  <a:lnTo>
                    <a:pt x="295" y="215"/>
                  </a:lnTo>
                  <a:lnTo>
                    <a:pt x="295" y="212"/>
                  </a:lnTo>
                  <a:lnTo>
                    <a:pt x="297" y="212"/>
                  </a:lnTo>
                  <a:lnTo>
                    <a:pt x="297" y="212"/>
                  </a:lnTo>
                  <a:lnTo>
                    <a:pt x="297" y="212"/>
                  </a:lnTo>
                  <a:lnTo>
                    <a:pt x="297" y="212"/>
                  </a:lnTo>
                  <a:lnTo>
                    <a:pt x="300" y="212"/>
                  </a:lnTo>
                  <a:lnTo>
                    <a:pt x="300" y="212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303" y="210"/>
                  </a:lnTo>
                  <a:lnTo>
                    <a:pt x="303" y="210"/>
                  </a:lnTo>
                  <a:lnTo>
                    <a:pt x="305" y="210"/>
                  </a:lnTo>
                  <a:lnTo>
                    <a:pt x="305" y="210"/>
                  </a:lnTo>
                  <a:lnTo>
                    <a:pt x="308" y="210"/>
                  </a:lnTo>
                  <a:lnTo>
                    <a:pt x="310" y="210"/>
                  </a:lnTo>
                  <a:lnTo>
                    <a:pt x="310" y="212"/>
                  </a:lnTo>
                  <a:lnTo>
                    <a:pt x="310" y="215"/>
                  </a:lnTo>
                  <a:lnTo>
                    <a:pt x="313" y="215"/>
                  </a:lnTo>
                  <a:lnTo>
                    <a:pt x="313" y="215"/>
                  </a:lnTo>
                  <a:lnTo>
                    <a:pt x="313" y="215"/>
                  </a:lnTo>
                  <a:lnTo>
                    <a:pt x="313" y="215"/>
                  </a:lnTo>
                  <a:lnTo>
                    <a:pt x="315" y="210"/>
                  </a:lnTo>
                  <a:lnTo>
                    <a:pt x="315" y="210"/>
                  </a:lnTo>
                  <a:lnTo>
                    <a:pt x="318" y="210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21" y="207"/>
                  </a:lnTo>
                  <a:lnTo>
                    <a:pt x="321" y="207"/>
                  </a:lnTo>
                  <a:lnTo>
                    <a:pt x="323" y="207"/>
                  </a:lnTo>
                  <a:lnTo>
                    <a:pt x="323" y="205"/>
                  </a:lnTo>
                  <a:lnTo>
                    <a:pt x="323" y="202"/>
                  </a:lnTo>
                  <a:lnTo>
                    <a:pt x="323" y="202"/>
                  </a:lnTo>
                  <a:lnTo>
                    <a:pt x="326" y="202"/>
                  </a:lnTo>
                  <a:lnTo>
                    <a:pt x="326" y="202"/>
                  </a:lnTo>
                  <a:lnTo>
                    <a:pt x="326" y="202"/>
                  </a:lnTo>
                  <a:lnTo>
                    <a:pt x="326" y="202"/>
                  </a:lnTo>
                  <a:lnTo>
                    <a:pt x="326" y="199"/>
                  </a:lnTo>
                  <a:lnTo>
                    <a:pt x="326" y="199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194"/>
                  </a:lnTo>
                  <a:lnTo>
                    <a:pt x="328" y="194"/>
                  </a:lnTo>
                  <a:lnTo>
                    <a:pt x="328" y="194"/>
                  </a:lnTo>
                  <a:lnTo>
                    <a:pt x="328" y="194"/>
                  </a:lnTo>
                  <a:lnTo>
                    <a:pt x="328" y="194"/>
                  </a:lnTo>
                  <a:lnTo>
                    <a:pt x="328" y="194"/>
                  </a:lnTo>
                  <a:lnTo>
                    <a:pt x="331" y="192"/>
                  </a:lnTo>
                  <a:lnTo>
                    <a:pt x="331" y="192"/>
                  </a:lnTo>
                  <a:lnTo>
                    <a:pt x="331" y="192"/>
                  </a:lnTo>
                  <a:lnTo>
                    <a:pt x="331" y="192"/>
                  </a:lnTo>
                  <a:lnTo>
                    <a:pt x="328" y="189"/>
                  </a:lnTo>
                  <a:lnTo>
                    <a:pt x="328" y="189"/>
                  </a:lnTo>
                  <a:lnTo>
                    <a:pt x="331" y="189"/>
                  </a:lnTo>
                  <a:lnTo>
                    <a:pt x="331" y="186"/>
                  </a:lnTo>
                  <a:lnTo>
                    <a:pt x="334" y="186"/>
                  </a:lnTo>
                  <a:lnTo>
                    <a:pt x="336" y="186"/>
                  </a:lnTo>
                  <a:lnTo>
                    <a:pt x="336" y="186"/>
                  </a:lnTo>
                  <a:lnTo>
                    <a:pt x="339" y="186"/>
                  </a:lnTo>
                  <a:lnTo>
                    <a:pt x="339" y="186"/>
                  </a:lnTo>
                  <a:lnTo>
                    <a:pt x="339" y="186"/>
                  </a:lnTo>
                  <a:lnTo>
                    <a:pt x="339" y="184"/>
                  </a:lnTo>
                  <a:lnTo>
                    <a:pt x="339" y="181"/>
                  </a:lnTo>
                  <a:lnTo>
                    <a:pt x="339" y="181"/>
                  </a:lnTo>
                  <a:lnTo>
                    <a:pt x="339" y="181"/>
                  </a:lnTo>
                  <a:lnTo>
                    <a:pt x="339" y="181"/>
                  </a:lnTo>
                  <a:lnTo>
                    <a:pt x="341" y="181"/>
                  </a:lnTo>
                  <a:lnTo>
                    <a:pt x="341" y="179"/>
                  </a:lnTo>
                  <a:lnTo>
                    <a:pt x="344" y="176"/>
                  </a:lnTo>
                  <a:lnTo>
                    <a:pt x="347" y="176"/>
                  </a:lnTo>
                  <a:lnTo>
                    <a:pt x="349" y="173"/>
                  </a:lnTo>
                  <a:lnTo>
                    <a:pt x="349" y="173"/>
                  </a:lnTo>
                  <a:lnTo>
                    <a:pt x="352" y="173"/>
                  </a:lnTo>
                  <a:lnTo>
                    <a:pt x="354" y="176"/>
                  </a:lnTo>
                  <a:lnTo>
                    <a:pt x="357" y="176"/>
                  </a:lnTo>
                  <a:lnTo>
                    <a:pt x="357" y="173"/>
                  </a:lnTo>
                  <a:lnTo>
                    <a:pt x="359" y="173"/>
                  </a:lnTo>
                  <a:lnTo>
                    <a:pt x="359" y="171"/>
                  </a:lnTo>
                  <a:lnTo>
                    <a:pt x="359" y="171"/>
                  </a:lnTo>
                  <a:lnTo>
                    <a:pt x="357" y="171"/>
                  </a:lnTo>
                  <a:lnTo>
                    <a:pt x="357" y="171"/>
                  </a:lnTo>
                  <a:lnTo>
                    <a:pt x="357" y="168"/>
                  </a:lnTo>
                  <a:lnTo>
                    <a:pt x="357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8"/>
                  </a:lnTo>
                  <a:lnTo>
                    <a:pt x="354" y="166"/>
                  </a:lnTo>
                  <a:lnTo>
                    <a:pt x="354" y="166"/>
                  </a:lnTo>
                  <a:lnTo>
                    <a:pt x="354" y="163"/>
                  </a:lnTo>
                  <a:lnTo>
                    <a:pt x="354" y="163"/>
                  </a:lnTo>
                  <a:lnTo>
                    <a:pt x="357" y="160"/>
                  </a:lnTo>
                  <a:lnTo>
                    <a:pt x="357" y="160"/>
                  </a:lnTo>
                  <a:lnTo>
                    <a:pt x="357" y="160"/>
                  </a:lnTo>
                  <a:lnTo>
                    <a:pt x="357" y="163"/>
                  </a:lnTo>
                  <a:lnTo>
                    <a:pt x="357" y="163"/>
                  </a:lnTo>
                  <a:lnTo>
                    <a:pt x="357" y="163"/>
                  </a:lnTo>
                  <a:lnTo>
                    <a:pt x="359" y="166"/>
                  </a:lnTo>
                  <a:lnTo>
                    <a:pt x="359" y="166"/>
                  </a:lnTo>
                  <a:lnTo>
                    <a:pt x="359" y="168"/>
                  </a:lnTo>
                  <a:lnTo>
                    <a:pt x="362" y="168"/>
                  </a:lnTo>
                  <a:lnTo>
                    <a:pt x="362" y="168"/>
                  </a:lnTo>
                  <a:lnTo>
                    <a:pt x="365" y="168"/>
                  </a:lnTo>
                  <a:lnTo>
                    <a:pt x="365" y="168"/>
                  </a:lnTo>
                  <a:lnTo>
                    <a:pt x="367" y="168"/>
                  </a:lnTo>
                  <a:lnTo>
                    <a:pt x="365" y="171"/>
                  </a:lnTo>
                  <a:lnTo>
                    <a:pt x="365" y="173"/>
                  </a:lnTo>
                  <a:lnTo>
                    <a:pt x="365" y="173"/>
                  </a:lnTo>
                  <a:lnTo>
                    <a:pt x="367" y="173"/>
                  </a:lnTo>
                  <a:lnTo>
                    <a:pt x="367" y="173"/>
                  </a:lnTo>
                  <a:lnTo>
                    <a:pt x="367" y="173"/>
                  </a:lnTo>
                  <a:lnTo>
                    <a:pt x="365" y="176"/>
                  </a:lnTo>
                  <a:lnTo>
                    <a:pt x="365" y="176"/>
                  </a:lnTo>
                  <a:lnTo>
                    <a:pt x="367" y="176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1"/>
                  </a:lnTo>
                  <a:lnTo>
                    <a:pt x="370" y="184"/>
                  </a:lnTo>
                  <a:lnTo>
                    <a:pt x="372" y="184"/>
                  </a:lnTo>
                  <a:lnTo>
                    <a:pt x="375" y="184"/>
                  </a:lnTo>
                  <a:lnTo>
                    <a:pt x="378" y="181"/>
                  </a:lnTo>
                  <a:lnTo>
                    <a:pt x="380" y="181"/>
                  </a:lnTo>
                  <a:lnTo>
                    <a:pt x="380" y="181"/>
                  </a:lnTo>
                  <a:lnTo>
                    <a:pt x="383" y="184"/>
                  </a:lnTo>
                  <a:lnTo>
                    <a:pt x="385" y="181"/>
                  </a:lnTo>
                  <a:lnTo>
                    <a:pt x="385" y="184"/>
                  </a:lnTo>
                  <a:lnTo>
                    <a:pt x="385" y="186"/>
                  </a:lnTo>
                  <a:lnTo>
                    <a:pt x="385" y="186"/>
                  </a:lnTo>
                  <a:lnTo>
                    <a:pt x="388" y="186"/>
                  </a:lnTo>
                  <a:lnTo>
                    <a:pt x="388" y="186"/>
                  </a:lnTo>
                  <a:lnTo>
                    <a:pt x="391" y="186"/>
                  </a:lnTo>
                  <a:lnTo>
                    <a:pt x="391" y="186"/>
                  </a:lnTo>
                  <a:lnTo>
                    <a:pt x="391" y="186"/>
                  </a:lnTo>
                  <a:lnTo>
                    <a:pt x="391" y="184"/>
                  </a:lnTo>
                  <a:lnTo>
                    <a:pt x="391" y="184"/>
                  </a:lnTo>
                  <a:lnTo>
                    <a:pt x="393" y="184"/>
                  </a:lnTo>
                  <a:lnTo>
                    <a:pt x="393" y="184"/>
                  </a:lnTo>
                  <a:lnTo>
                    <a:pt x="393" y="181"/>
                  </a:lnTo>
                  <a:lnTo>
                    <a:pt x="393" y="181"/>
                  </a:lnTo>
                  <a:lnTo>
                    <a:pt x="396" y="181"/>
                  </a:lnTo>
                  <a:lnTo>
                    <a:pt x="396" y="181"/>
                  </a:lnTo>
                  <a:lnTo>
                    <a:pt x="398" y="184"/>
                  </a:lnTo>
                  <a:lnTo>
                    <a:pt x="398" y="184"/>
                  </a:lnTo>
                  <a:lnTo>
                    <a:pt x="401" y="184"/>
                  </a:lnTo>
                  <a:lnTo>
                    <a:pt x="401" y="184"/>
                  </a:lnTo>
                  <a:lnTo>
                    <a:pt x="403" y="184"/>
                  </a:lnTo>
                  <a:lnTo>
                    <a:pt x="406" y="181"/>
                  </a:lnTo>
                  <a:lnTo>
                    <a:pt x="406" y="181"/>
                  </a:lnTo>
                  <a:lnTo>
                    <a:pt x="406" y="184"/>
                  </a:lnTo>
                  <a:lnTo>
                    <a:pt x="406" y="186"/>
                  </a:lnTo>
                  <a:lnTo>
                    <a:pt x="406" y="186"/>
                  </a:lnTo>
                  <a:lnTo>
                    <a:pt x="406" y="189"/>
                  </a:lnTo>
                  <a:lnTo>
                    <a:pt x="406" y="192"/>
                  </a:lnTo>
                  <a:lnTo>
                    <a:pt x="403" y="197"/>
                  </a:lnTo>
                  <a:lnTo>
                    <a:pt x="401" y="199"/>
                  </a:lnTo>
                  <a:lnTo>
                    <a:pt x="401" y="202"/>
                  </a:lnTo>
                  <a:lnTo>
                    <a:pt x="398" y="205"/>
                  </a:lnTo>
                  <a:lnTo>
                    <a:pt x="393" y="207"/>
                  </a:lnTo>
                  <a:lnTo>
                    <a:pt x="391" y="210"/>
                  </a:lnTo>
                  <a:lnTo>
                    <a:pt x="391" y="212"/>
                  </a:lnTo>
                  <a:lnTo>
                    <a:pt x="393" y="212"/>
                  </a:lnTo>
                  <a:lnTo>
                    <a:pt x="396" y="212"/>
                  </a:lnTo>
                  <a:lnTo>
                    <a:pt x="398" y="212"/>
                  </a:lnTo>
                  <a:lnTo>
                    <a:pt x="401" y="212"/>
                  </a:lnTo>
                  <a:lnTo>
                    <a:pt x="403" y="212"/>
                  </a:lnTo>
                  <a:lnTo>
                    <a:pt x="403" y="212"/>
                  </a:lnTo>
                  <a:lnTo>
                    <a:pt x="403" y="215"/>
                  </a:lnTo>
                  <a:lnTo>
                    <a:pt x="406" y="215"/>
                  </a:lnTo>
                  <a:lnTo>
                    <a:pt x="409" y="212"/>
                  </a:lnTo>
                  <a:lnTo>
                    <a:pt x="409" y="212"/>
                  </a:lnTo>
                  <a:lnTo>
                    <a:pt x="409" y="212"/>
                  </a:lnTo>
                  <a:lnTo>
                    <a:pt x="409" y="210"/>
                  </a:lnTo>
                  <a:lnTo>
                    <a:pt x="411" y="210"/>
                  </a:lnTo>
                  <a:lnTo>
                    <a:pt x="411" y="210"/>
                  </a:lnTo>
                  <a:lnTo>
                    <a:pt x="414" y="210"/>
                  </a:lnTo>
                  <a:lnTo>
                    <a:pt x="414" y="207"/>
                  </a:lnTo>
                  <a:lnTo>
                    <a:pt x="414" y="205"/>
                  </a:lnTo>
                  <a:lnTo>
                    <a:pt x="416" y="205"/>
                  </a:lnTo>
                  <a:lnTo>
                    <a:pt x="416" y="205"/>
                  </a:lnTo>
                  <a:lnTo>
                    <a:pt x="419" y="205"/>
                  </a:lnTo>
                  <a:lnTo>
                    <a:pt x="419" y="202"/>
                  </a:lnTo>
                  <a:lnTo>
                    <a:pt x="422" y="202"/>
                  </a:lnTo>
                  <a:lnTo>
                    <a:pt x="424" y="202"/>
                  </a:lnTo>
                  <a:lnTo>
                    <a:pt x="424" y="202"/>
                  </a:lnTo>
                  <a:lnTo>
                    <a:pt x="424" y="199"/>
                  </a:lnTo>
                  <a:lnTo>
                    <a:pt x="424" y="197"/>
                  </a:lnTo>
                  <a:lnTo>
                    <a:pt x="424" y="197"/>
                  </a:lnTo>
                  <a:lnTo>
                    <a:pt x="424" y="197"/>
                  </a:lnTo>
                  <a:lnTo>
                    <a:pt x="424" y="19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4" name="Freeform 154"/>
            <p:cNvSpPr>
              <a:spLocks/>
            </p:cNvSpPr>
            <p:nvPr/>
          </p:nvSpPr>
          <p:spPr bwMode="auto">
            <a:xfrm>
              <a:off x="1515" y="246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5" name="Freeform 155"/>
            <p:cNvSpPr>
              <a:spLocks/>
            </p:cNvSpPr>
            <p:nvPr/>
          </p:nvSpPr>
          <p:spPr bwMode="auto">
            <a:xfrm>
              <a:off x="1564" y="2405"/>
              <a:ext cx="72" cy="81"/>
            </a:xfrm>
            <a:custGeom>
              <a:avLst/>
              <a:gdLst>
                <a:gd name="T0" fmla="*/ 13 w 72"/>
                <a:gd name="T1" fmla="*/ 13 h 81"/>
                <a:gd name="T2" fmla="*/ 18 w 72"/>
                <a:gd name="T3" fmla="*/ 13 h 81"/>
                <a:gd name="T4" fmla="*/ 15 w 72"/>
                <a:gd name="T5" fmla="*/ 21 h 81"/>
                <a:gd name="T6" fmla="*/ 23 w 72"/>
                <a:gd name="T7" fmla="*/ 19 h 81"/>
                <a:gd name="T8" fmla="*/ 33 w 72"/>
                <a:gd name="T9" fmla="*/ 24 h 81"/>
                <a:gd name="T10" fmla="*/ 44 w 72"/>
                <a:gd name="T11" fmla="*/ 24 h 81"/>
                <a:gd name="T12" fmla="*/ 41 w 72"/>
                <a:gd name="T13" fmla="*/ 29 h 81"/>
                <a:gd name="T14" fmla="*/ 46 w 72"/>
                <a:gd name="T15" fmla="*/ 37 h 81"/>
                <a:gd name="T16" fmla="*/ 46 w 72"/>
                <a:gd name="T17" fmla="*/ 44 h 81"/>
                <a:gd name="T18" fmla="*/ 41 w 72"/>
                <a:gd name="T19" fmla="*/ 47 h 81"/>
                <a:gd name="T20" fmla="*/ 41 w 72"/>
                <a:gd name="T21" fmla="*/ 44 h 81"/>
                <a:gd name="T22" fmla="*/ 41 w 72"/>
                <a:gd name="T23" fmla="*/ 42 h 81"/>
                <a:gd name="T24" fmla="*/ 41 w 72"/>
                <a:gd name="T25" fmla="*/ 37 h 81"/>
                <a:gd name="T26" fmla="*/ 33 w 72"/>
                <a:gd name="T27" fmla="*/ 34 h 81"/>
                <a:gd name="T28" fmla="*/ 31 w 72"/>
                <a:gd name="T29" fmla="*/ 29 h 81"/>
                <a:gd name="T30" fmla="*/ 28 w 72"/>
                <a:gd name="T31" fmla="*/ 29 h 81"/>
                <a:gd name="T32" fmla="*/ 26 w 72"/>
                <a:gd name="T33" fmla="*/ 26 h 81"/>
                <a:gd name="T34" fmla="*/ 21 w 72"/>
                <a:gd name="T35" fmla="*/ 24 h 81"/>
                <a:gd name="T36" fmla="*/ 18 w 72"/>
                <a:gd name="T37" fmla="*/ 32 h 81"/>
                <a:gd name="T38" fmla="*/ 8 w 72"/>
                <a:gd name="T39" fmla="*/ 24 h 81"/>
                <a:gd name="T40" fmla="*/ 5 w 72"/>
                <a:gd name="T41" fmla="*/ 34 h 81"/>
                <a:gd name="T42" fmla="*/ 15 w 72"/>
                <a:gd name="T43" fmla="*/ 37 h 81"/>
                <a:gd name="T44" fmla="*/ 13 w 72"/>
                <a:gd name="T45" fmla="*/ 39 h 81"/>
                <a:gd name="T46" fmla="*/ 8 w 72"/>
                <a:gd name="T47" fmla="*/ 42 h 81"/>
                <a:gd name="T48" fmla="*/ 5 w 72"/>
                <a:gd name="T49" fmla="*/ 47 h 81"/>
                <a:gd name="T50" fmla="*/ 13 w 72"/>
                <a:gd name="T51" fmla="*/ 50 h 81"/>
                <a:gd name="T52" fmla="*/ 13 w 72"/>
                <a:gd name="T53" fmla="*/ 50 h 81"/>
                <a:gd name="T54" fmla="*/ 2 w 72"/>
                <a:gd name="T55" fmla="*/ 55 h 81"/>
                <a:gd name="T56" fmla="*/ 0 w 72"/>
                <a:gd name="T57" fmla="*/ 65 h 81"/>
                <a:gd name="T58" fmla="*/ 2 w 72"/>
                <a:gd name="T59" fmla="*/ 68 h 81"/>
                <a:gd name="T60" fmla="*/ 5 w 72"/>
                <a:gd name="T61" fmla="*/ 70 h 81"/>
                <a:gd name="T62" fmla="*/ 8 w 72"/>
                <a:gd name="T63" fmla="*/ 73 h 81"/>
                <a:gd name="T64" fmla="*/ 18 w 72"/>
                <a:gd name="T65" fmla="*/ 76 h 81"/>
                <a:gd name="T66" fmla="*/ 23 w 72"/>
                <a:gd name="T67" fmla="*/ 73 h 81"/>
                <a:gd name="T68" fmla="*/ 18 w 72"/>
                <a:gd name="T69" fmla="*/ 76 h 81"/>
                <a:gd name="T70" fmla="*/ 28 w 72"/>
                <a:gd name="T71" fmla="*/ 81 h 81"/>
                <a:gd name="T72" fmla="*/ 31 w 72"/>
                <a:gd name="T73" fmla="*/ 76 h 81"/>
                <a:gd name="T74" fmla="*/ 26 w 72"/>
                <a:gd name="T75" fmla="*/ 76 h 81"/>
                <a:gd name="T76" fmla="*/ 26 w 72"/>
                <a:gd name="T77" fmla="*/ 73 h 81"/>
                <a:gd name="T78" fmla="*/ 28 w 72"/>
                <a:gd name="T79" fmla="*/ 76 h 81"/>
                <a:gd name="T80" fmla="*/ 39 w 72"/>
                <a:gd name="T81" fmla="*/ 65 h 81"/>
                <a:gd name="T82" fmla="*/ 39 w 72"/>
                <a:gd name="T83" fmla="*/ 63 h 81"/>
                <a:gd name="T84" fmla="*/ 54 w 72"/>
                <a:gd name="T85" fmla="*/ 63 h 81"/>
                <a:gd name="T86" fmla="*/ 57 w 72"/>
                <a:gd name="T87" fmla="*/ 60 h 81"/>
                <a:gd name="T88" fmla="*/ 54 w 72"/>
                <a:gd name="T89" fmla="*/ 65 h 81"/>
                <a:gd name="T90" fmla="*/ 65 w 72"/>
                <a:gd name="T91" fmla="*/ 65 h 81"/>
                <a:gd name="T92" fmla="*/ 59 w 72"/>
                <a:gd name="T93" fmla="*/ 70 h 81"/>
                <a:gd name="T94" fmla="*/ 62 w 72"/>
                <a:gd name="T95" fmla="*/ 70 h 81"/>
                <a:gd name="T96" fmla="*/ 67 w 72"/>
                <a:gd name="T97" fmla="*/ 65 h 81"/>
                <a:gd name="T98" fmla="*/ 62 w 72"/>
                <a:gd name="T99" fmla="*/ 52 h 81"/>
                <a:gd name="T100" fmla="*/ 49 w 72"/>
                <a:gd name="T101" fmla="*/ 42 h 81"/>
                <a:gd name="T102" fmla="*/ 62 w 72"/>
                <a:gd name="T103" fmla="*/ 24 h 81"/>
                <a:gd name="T104" fmla="*/ 52 w 72"/>
                <a:gd name="T105" fmla="*/ 19 h 81"/>
                <a:gd name="T106" fmla="*/ 28 w 72"/>
                <a:gd name="T107" fmla="*/ 13 h 81"/>
                <a:gd name="T108" fmla="*/ 31 w 72"/>
                <a:gd name="T109" fmla="*/ 0 h 81"/>
                <a:gd name="T110" fmla="*/ 13 w 72"/>
                <a:gd name="T111" fmla="*/ 6 h 81"/>
                <a:gd name="T112" fmla="*/ 5 w 72"/>
                <a:gd name="T113" fmla="*/ 2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2" h="81">
                  <a:moveTo>
                    <a:pt x="5" y="21"/>
                  </a:moveTo>
                  <a:lnTo>
                    <a:pt x="5" y="21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3"/>
                  </a:lnTo>
                  <a:lnTo>
                    <a:pt x="15" y="16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4"/>
                  </a:lnTo>
                  <a:lnTo>
                    <a:pt x="15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8" y="16"/>
                  </a:lnTo>
                  <a:lnTo>
                    <a:pt x="28" y="19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4" y="21"/>
                  </a:lnTo>
                  <a:lnTo>
                    <a:pt x="44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6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1" y="29"/>
                  </a:lnTo>
                  <a:lnTo>
                    <a:pt x="44" y="29"/>
                  </a:lnTo>
                  <a:lnTo>
                    <a:pt x="44" y="32"/>
                  </a:lnTo>
                  <a:lnTo>
                    <a:pt x="41" y="34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46" y="39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1" y="44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39"/>
                  </a:lnTo>
                  <a:lnTo>
                    <a:pt x="41" y="39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39" y="37"/>
                  </a:lnTo>
                  <a:lnTo>
                    <a:pt x="36" y="39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1" y="34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6"/>
                  </a:lnTo>
                  <a:lnTo>
                    <a:pt x="28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2"/>
                  </a:lnTo>
                  <a:lnTo>
                    <a:pt x="26" y="32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3" y="26"/>
                  </a:lnTo>
                  <a:lnTo>
                    <a:pt x="23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1" y="24"/>
                  </a:lnTo>
                  <a:lnTo>
                    <a:pt x="18" y="24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6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3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5" y="29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4"/>
                  </a:lnTo>
                  <a:lnTo>
                    <a:pt x="8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3" y="32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5" y="39"/>
                  </a:lnTo>
                  <a:lnTo>
                    <a:pt x="13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8" y="55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5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8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0"/>
                  </a:lnTo>
                  <a:lnTo>
                    <a:pt x="10" y="73"/>
                  </a:lnTo>
                  <a:lnTo>
                    <a:pt x="13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3"/>
                  </a:lnTo>
                  <a:lnTo>
                    <a:pt x="23" y="73"/>
                  </a:lnTo>
                  <a:lnTo>
                    <a:pt x="23" y="70"/>
                  </a:lnTo>
                  <a:lnTo>
                    <a:pt x="23" y="73"/>
                  </a:lnTo>
                  <a:lnTo>
                    <a:pt x="23" y="73"/>
                  </a:lnTo>
                  <a:lnTo>
                    <a:pt x="23" y="73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3" y="78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31" y="70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6"/>
                  </a:lnTo>
                  <a:lnTo>
                    <a:pt x="31" y="73"/>
                  </a:lnTo>
                  <a:lnTo>
                    <a:pt x="31" y="70"/>
                  </a:lnTo>
                  <a:lnTo>
                    <a:pt x="31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6" y="68"/>
                  </a:lnTo>
                  <a:lnTo>
                    <a:pt x="36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4" y="63"/>
                  </a:lnTo>
                  <a:lnTo>
                    <a:pt x="46" y="63"/>
                  </a:lnTo>
                  <a:lnTo>
                    <a:pt x="46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4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7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7" y="68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2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0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2" y="63"/>
                  </a:lnTo>
                  <a:lnTo>
                    <a:pt x="70" y="63"/>
                  </a:lnTo>
                  <a:lnTo>
                    <a:pt x="70" y="60"/>
                  </a:lnTo>
                  <a:lnTo>
                    <a:pt x="67" y="57"/>
                  </a:lnTo>
                  <a:lnTo>
                    <a:pt x="65" y="55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2" y="47"/>
                  </a:lnTo>
                  <a:lnTo>
                    <a:pt x="52" y="44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39"/>
                  </a:lnTo>
                  <a:lnTo>
                    <a:pt x="52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59" y="29"/>
                  </a:lnTo>
                  <a:lnTo>
                    <a:pt x="62" y="29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49" y="19"/>
                  </a:lnTo>
                  <a:lnTo>
                    <a:pt x="46" y="21"/>
                  </a:lnTo>
                  <a:lnTo>
                    <a:pt x="44" y="21"/>
                  </a:lnTo>
                  <a:lnTo>
                    <a:pt x="39" y="21"/>
                  </a:lnTo>
                  <a:lnTo>
                    <a:pt x="36" y="21"/>
                  </a:lnTo>
                  <a:lnTo>
                    <a:pt x="33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6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1"/>
                  </a:lnTo>
                  <a:lnTo>
                    <a:pt x="5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6" name="Freeform 156"/>
            <p:cNvSpPr>
              <a:spLocks/>
            </p:cNvSpPr>
            <p:nvPr/>
          </p:nvSpPr>
          <p:spPr bwMode="auto">
            <a:xfrm>
              <a:off x="1634" y="2496"/>
              <a:ext cx="54" cy="57"/>
            </a:xfrm>
            <a:custGeom>
              <a:avLst/>
              <a:gdLst>
                <a:gd name="T0" fmla="*/ 0 w 54"/>
                <a:gd name="T1" fmla="*/ 5 h 57"/>
                <a:gd name="T2" fmla="*/ 7 w 54"/>
                <a:gd name="T3" fmla="*/ 11 h 57"/>
                <a:gd name="T4" fmla="*/ 5 w 54"/>
                <a:gd name="T5" fmla="*/ 18 h 57"/>
                <a:gd name="T6" fmla="*/ 7 w 54"/>
                <a:gd name="T7" fmla="*/ 21 h 57"/>
                <a:gd name="T8" fmla="*/ 5 w 54"/>
                <a:gd name="T9" fmla="*/ 21 h 57"/>
                <a:gd name="T10" fmla="*/ 2 w 54"/>
                <a:gd name="T11" fmla="*/ 23 h 57"/>
                <a:gd name="T12" fmla="*/ 2 w 54"/>
                <a:gd name="T13" fmla="*/ 26 h 57"/>
                <a:gd name="T14" fmla="*/ 7 w 54"/>
                <a:gd name="T15" fmla="*/ 23 h 57"/>
                <a:gd name="T16" fmla="*/ 13 w 54"/>
                <a:gd name="T17" fmla="*/ 21 h 57"/>
                <a:gd name="T18" fmla="*/ 10 w 54"/>
                <a:gd name="T19" fmla="*/ 26 h 57"/>
                <a:gd name="T20" fmla="*/ 13 w 54"/>
                <a:gd name="T21" fmla="*/ 29 h 57"/>
                <a:gd name="T22" fmla="*/ 18 w 54"/>
                <a:gd name="T23" fmla="*/ 23 h 57"/>
                <a:gd name="T24" fmla="*/ 20 w 54"/>
                <a:gd name="T25" fmla="*/ 26 h 57"/>
                <a:gd name="T26" fmla="*/ 20 w 54"/>
                <a:gd name="T27" fmla="*/ 23 h 57"/>
                <a:gd name="T28" fmla="*/ 18 w 54"/>
                <a:gd name="T29" fmla="*/ 21 h 57"/>
                <a:gd name="T30" fmla="*/ 20 w 54"/>
                <a:gd name="T31" fmla="*/ 18 h 57"/>
                <a:gd name="T32" fmla="*/ 23 w 54"/>
                <a:gd name="T33" fmla="*/ 18 h 57"/>
                <a:gd name="T34" fmla="*/ 28 w 54"/>
                <a:gd name="T35" fmla="*/ 23 h 57"/>
                <a:gd name="T36" fmla="*/ 28 w 54"/>
                <a:gd name="T37" fmla="*/ 29 h 57"/>
                <a:gd name="T38" fmla="*/ 31 w 54"/>
                <a:gd name="T39" fmla="*/ 26 h 57"/>
                <a:gd name="T40" fmla="*/ 31 w 54"/>
                <a:gd name="T41" fmla="*/ 36 h 57"/>
                <a:gd name="T42" fmla="*/ 31 w 54"/>
                <a:gd name="T43" fmla="*/ 39 h 57"/>
                <a:gd name="T44" fmla="*/ 28 w 54"/>
                <a:gd name="T45" fmla="*/ 39 h 57"/>
                <a:gd name="T46" fmla="*/ 31 w 54"/>
                <a:gd name="T47" fmla="*/ 36 h 57"/>
                <a:gd name="T48" fmla="*/ 31 w 54"/>
                <a:gd name="T49" fmla="*/ 36 h 57"/>
                <a:gd name="T50" fmla="*/ 26 w 54"/>
                <a:gd name="T51" fmla="*/ 36 h 57"/>
                <a:gd name="T52" fmla="*/ 23 w 54"/>
                <a:gd name="T53" fmla="*/ 36 h 57"/>
                <a:gd name="T54" fmla="*/ 23 w 54"/>
                <a:gd name="T55" fmla="*/ 39 h 57"/>
                <a:gd name="T56" fmla="*/ 23 w 54"/>
                <a:gd name="T57" fmla="*/ 42 h 57"/>
                <a:gd name="T58" fmla="*/ 23 w 54"/>
                <a:gd name="T59" fmla="*/ 36 h 57"/>
                <a:gd name="T60" fmla="*/ 23 w 54"/>
                <a:gd name="T61" fmla="*/ 34 h 57"/>
                <a:gd name="T62" fmla="*/ 23 w 54"/>
                <a:gd name="T63" fmla="*/ 31 h 57"/>
                <a:gd name="T64" fmla="*/ 15 w 54"/>
                <a:gd name="T65" fmla="*/ 31 h 57"/>
                <a:gd name="T66" fmla="*/ 18 w 54"/>
                <a:gd name="T67" fmla="*/ 39 h 57"/>
                <a:gd name="T68" fmla="*/ 18 w 54"/>
                <a:gd name="T69" fmla="*/ 49 h 57"/>
                <a:gd name="T70" fmla="*/ 10 w 54"/>
                <a:gd name="T71" fmla="*/ 52 h 57"/>
                <a:gd name="T72" fmla="*/ 7 w 54"/>
                <a:gd name="T73" fmla="*/ 55 h 57"/>
                <a:gd name="T74" fmla="*/ 13 w 54"/>
                <a:gd name="T75" fmla="*/ 57 h 57"/>
                <a:gd name="T76" fmla="*/ 20 w 54"/>
                <a:gd name="T77" fmla="*/ 55 h 57"/>
                <a:gd name="T78" fmla="*/ 23 w 54"/>
                <a:gd name="T79" fmla="*/ 55 h 57"/>
                <a:gd name="T80" fmla="*/ 20 w 54"/>
                <a:gd name="T81" fmla="*/ 57 h 57"/>
                <a:gd name="T82" fmla="*/ 20 w 54"/>
                <a:gd name="T83" fmla="*/ 57 h 57"/>
                <a:gd name="T84" fmla="*/ 26 w 54"/>
                <a:gd name="T85" fmla="*/ 55 h 57"/>
                <a:gd name="T86" fmla="*/ 33 w 54"/>
                <a:gd name="T87" fmla="*/ 52 h 57"/>
                <a:gd name="T88" fmla="*/ 41 w 54"/>
                <a:gd name="T89" fmla="*/ 52 h 57"/>
                <a:gd name="T90" fmla="*/ 49 w 54"/>
                <a:gd name="T91" fmla="*/ 52 h 57"/>
                <a:gd name="T92" fmla="*/ 51 w 54"/>
                <a:gd name="T93" fmla="*/ 52 h 57"/>
                <a:gd name="T94" fmla="*/ 49 w 54"/>
                <a:gd name="T95" fmla="*/ 44 h 57"/>
                <a:gd name="T96" fmla="*/ 54 w 54"/>
                <a:gd name="T97" fmla="*/ 42 h 57"/>
                <a:gd name="T98" fmla="*/ 41 w 54"/>
                <a:gd name="T99" fmla="*/ 31 h 57"/>
                <a:gd name="T100" fmla="*/ 31 w 54"/>
                <a:gd name="T101" fmla="*/ 21 h 57"/>
                <a:gd name="T102" fmla="*/ 23 w 54"/>
                <a:gd name="T103" fmla="*/ 18 h 57"/>
                <a:gd name="T104" fmla="*/ 15 w 54"/>
                <a:gd name="T105" fmla="*/ 16 h 57"/>
                <a:gd name="T106" fmla="*/ 10 w 54"/>
                <a:gd name="T107" fmla="*/ 8 h 57"/>
                <a:gd name="T108" fmla="*/ 5 w 54"/>
                <a:gd name="T109" fmla="*/ 0 h 57"/>
                <a:gd name="T110" fmla="*/ 0 w 54"/>
                <a:gd name="T111" fmla="*/ 3 h 57"/>
                <a:gd name="T112" fmla="*/ 0 w 54"/>
                <a:gd name="T113" fmla="*/ 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" h="57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5" y="29"/>
                  </a:lnTo>
                  <a:lnTo>
                    <a:pt x="5" y="26"/>
                  </a:lnTo>
                  <a:lnTo>
                    <a:pt x="7" y="23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0" y="26"/>
                  </a:lnTo>
                  <a:lnTo>
                    <a:pt x="10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3" y="18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4"/>
                  </a:lnTo>
                  <a:lnTo>
                    <a:pt x="31" y="36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3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5" y="31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8" y="36"/>
                  </a:lnTo>
                  <a:lnTo>
                    <a:pt x="18" y="39"/>
                  </a:lnTo>
                  <a:lnTo>
                    <a:pt x="20" y="39"/>
                  </a:lnTo>
                  <a:lnTo>
                    <a:pt x="20" y="44"/>
                  </a:lnTo>
                  <a:lnTo>
                    <a:pt x="20" y="47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5" y="49"/>
                  </a:lnTo>
                  <a:lnTo>
                    <a:pt x="13" y="52"/>
                  </a:lnTo>
                  <a:lnTo>
                    <a:pt x="10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10" y="57"/>
                  </a:lnTo>
                  <a:lnTo>
                    <a:pt x="13" y="57"/>
                  </a:lnTo>
                  <a:lnTo>
                    <a:pt x="15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0" y="55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8" y="55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6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49"/>
                  </a:lnTo>
                  <a:lnTo>
                    <a:pt x="51" y="47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4" y="42"/>
                  </a:lnTo>
                  <a:lnTo>
                    <a:pt x="49" y="39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1" y="31"/>
                  </a:lnTo>
                  <a:lnTo>
                    <a:pt x="36" y="26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1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10" y="8"/>
                  </a:lnTo>
                  <a:lnTo>
                    <a:pt x="7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7" name="Freeform 157"/>
            <p:cNvSpPr>
              <a:spLocks/>
            </p:cNvSpPr>
            <p:nvPr/>
          </p:nvSpPr>
          <p:spPr bwMode="auto">
            <a:xfrm>
              <a:off x="1564" y="2439"/>
              <a:ext cx="13" cy="10"/>
            </a:xfrm>
            <a:custGeom>
              <a:avLst/>
              <a:gdLst>
                <a:gd name="T0" fmla="*/ 0 w 13"/>
                <a:gd name="T1" fmla="*/ 10 h 10"/>
                <a:gd name="T2" fmla="*/ 0 w 13"/>
                <a:gd name="T3" fmla="*/ 10 h 10"/>
                <a:gd name="T4" fmla="*/ 2 w 13"/>
                <a:gd name="T5" fmla="*/ 8 h 10"/>
                <a:gd name="T6" fmla="*/ 5 w 13"/>
                <a:gd name="T7" fmla="*/ 8 h 10"/>
                <a:gd name="T8" fmla="*/ 8 w 13"/>
                <a:gd name="T9" fmla="*/ 5 h 10"/>
                <a:gd name="T10" fmla="*/ 8 w 13"/>
                <a:gd name="T11" fmla="*/ 5 h 10"/>
                <a:gd name="T12" fmla="*/ 8 w 13"/>
                <a:gd name="T13" fmla="*/ 5 h 10"/>
                <a:gd name="T14" fmla="*/ 10 w 13"/>
                <a:gd name="T15" fmla="*/ 5 h 10"/>
                <a:gd name="T16" fmla="*/ 10 w 13"/>
                <a:gd name="T17" fmla="*/ 5 h 10"/>
                <a:gd name="T18" fmla="*/ 10 w 13"/>
                <a:gd name="T19" fmla="*/ 5 h 10"/>
                <a:gd name="T20" fmla="*/ 10 w 13"/>
                <a:gd name="T21" fmla="*/ 3 h 10"/>
                <a:gd name="T22" fmla="*/ 10 w 13"/>
                <a:gd name="T23" fmla="*/ 3 h 10"/>
                <a:gd name="T24" fmla="*/ 10 w 13"/>
                <a:gd name="T25" fmla="*/ 3 h 10"/>
                <a:gd name="T26" fmla="*/ 13 w 13"/>
                <a:gd name="T27" fmla="*/ 3 h 10"/>
                <a:gd name="T28" fmla="*/ 10 w 13"/>
                <a:gd name="T29" fmla="*/ 3 h 10"/>
                <a:gd name="T30" fmla="*/ 8 w 13"/>
                <a:gd name="T31" fmla="*/ 3 h 10"/>
                <a:gd name="T32" fmla="*/ 8 w 13"/>
                <a:gd name="T33" fmla="*/ 3 h 10"/>
                <a:gd name="T34" fmla="*/ 8 w 13"/>
                <a:gd name="T35" fmla="*/ 0 h 10"/>
                <a:gd name="T36" fmla="*/ 5 w 13"/>
                <a:gd name="T37" fmla="*/ 0 h 10"/>
                <a:gd name="T38" fmla="*/ 5 w 13"/>
                <a:gd name="T39" fmla="*/ 3 h 10"/>
                <a:gd name="T40" fmla="*/ 2 w 13"/>
                <a:gd name="T41" fmla="*/ 3 h 10"/>
                <a:gd name="T42" fmla="*/ 0 w 13"/>
                <a:gd name="T43" fmla="*/ 5 h 10"/>
                <a:gd name="T44" fmla="*/ 0 w 13"/>
                <a:gd name="T45" fmla="*/ 10 h 10"/>
                <a:gd name="T46" fmla="*/ 0 w 13"/>
                <a:gd name="T4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" h="10">
                  <a:moveTo>
                    <a:pt x="0" y="10"/>
                  </a:moveTo>
                  <a:lnTo>
                    <a:pt x="0" y="10"/>
                  </a:lnTo>
                  <a:lnTo>
                    <a:pt x="2" y="8"/>
                  </a:lnTo>
                  <a:lnTo>
                    <a:pt x="5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8" name="Freeform 158"/>
            <p:cNvSpPr>
              <a:spLocks/>
            </p:cNvSpPr>
            <p:nvPr/>
          </p:nvSpPr>
          <p:spPr bwMode="auto">
            <a:xfrm>
              <a:off x="1556" y="2421"/>
              <a:ext cx="10" cy="23"/>
            </a:xfrm>
            <a:custGeom>
              <a:avLst/>
              <a:gdLst>
                <a:gd name="T0" fmla="*/ 3 w 10"/>
                <a:gd name="T1" fmla="*/ 21 h 23"/>
                <a:gd name="T2" fmla="*/ 3 w 10"/>
                <a:gd name="T3" fmla="*/ 21 h 23"/>
                <a:gd name="T4" fmla="*/ 3 w 10"/>
                <a:gd name="T5" fmla="*/ 18 h 23"/>
                <a:gd name="T6" fmla="*/ 3 w 10"/>
                <a:gd name="T7" fmla="*/ 16 h 23"/>
                <a:gd name="T8" fmla="*/ 3 w 10"/>
                <a:gd name="T9" fmla="*/ 16 h 23"/>
                <a:gd name="T10" fmla="*/ 3 w 10"/>
                <a:gd name="T11" fmla="*/ 16 h 23"/>
                <a:gd name="T12" fmla="*/ 5 w 10"/>
                <a:gd name="T13" fmla="*/ 16 h 23"/>
                <a:gd name="T14" fmla="*/ 5 w 10"/>
                <a:gd name="T15" fmla="*/ 13 h 23"/>
                <a:gd name="T16" fmla="*/ 5 w 10"/>
                <a:gd name="T17" fmla="*/ 13 h 23"/>
                <a:gd name="T18" fmla="*/ 5 w 10"/>
                <a:gd name="T19" fmla="*/ 13 h 23"/>
                <a:gd name="T20" fmla="*/ 5 w 10"/>
                <a:gd name="T21" fmla="*/ 10 h 23"/>
                <a:gd name="T22" fmla="*/ 5 w 10"/>
                <a:gd name="T23" fmla="*/ 8 h 23"/>
                <a:gd name="T24" fmla="*/ 5 w 10"/>
                <a:gd name="T25" fmla="*/ 5 h 23"/>
                <a:gd name="T26" fmla="*/ 8 w 10"/>
                <a:gd name="T27" fmla="*/ 5 h 23"/>
                <a:gd name="T28" fmla="*/ 5 w 10"/>
                <a:gd name="T29" fmla="*/ 3 h 23"/>
                <a:gd name="T30" fmla="*/ 8 w 10"/>
                <a:gd name="T31" fmla="*/ 3 h 23"/>
                <a:gd name="T32" fmla="*/ 10 w 10"/>
                <a:gd name="T33" fmla="*/ 0 h 23"/>
                <a:gd name="T34" fmla="*/ 8 w 10"/>
                <a:gd name="T35" fmla="*/ 3 h 23"/>
                <a:gd name="T36" fmla="*/ 10 w 10"/>
                <a:gd name="T37" fmla="*/ 3 h 23"/>
                <a:gd name="T38" fmla="*/ 10 w 10"/>
                <a:gd name="T39" fmla="*/ 5 h 23"/>
                <a:gd name="T40" fmla="*/ 10 w 10"/>
                <a:gd name="T41" fmla="*/ 3 h 23"/>
                <a:gd name="T42" fmla="*/ 10 w 10"/>
                <a:gd name="T43" fmla="*/ 3 h 23"/>
                <a:gd name="T44" fmla="*/ 10 w 10"/>
                <a:gd name="T45" fmla="*/ 3 h 23"/>
                <a:gd name="T46" fmla="*/ 10 w 10"/>
                <a:gd name="T47" fmla="*/ 0 h 23"/>
                <a:gd name="T48" fmla="*/ 8 w 10"/>
                <a:gd name="T49" fmla="*/ 0 h 23"/>
                <a:gd name="T50" fmla="*/ 5 w 10"/>
                <a:gd name="T51" fmla="*/ 3 h 23"/>
                <a:gd name="T52" fmla="*/ 5 w 10"/>
                <a:gd name="T53" fmla="*/ 8 h 23"/>
                <a:gd name="T54" fmla="*/ 3 w 10"/>
                <a:gd name="T55" fmla="*/ 18 h 23"/>
                <a:gd name="T56" fmla="*/ 0 w 10"/>
                <a:gd name="T57" fmla="*/ 23 h 23"/>
                <a:gd name="T58" fmla="*/ 0 w 10"/>
                <a:gd name="T59" fmla="*/ 23 h 23"/>
                <a:gd name="T60" fmla="*/ 3 w 10"/>
                <a:gd name="T61" fmla="*/ 23 h 23"/>
                <a:gd name="T62" fmla="*/ 3 w 10"/>
                <a:gd name="T63" fmla="*/ 23 h 23"/>
                <a:gd name="T64" fmla="*/ 3 w 10"/>
                <a:gd name="T65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23">
                  <a:moveTo>
                    <a:pt x="3" y="21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5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8"/>
                  </a:lnTo>
                  <a:lnTo>
                    <a:pt x="3" y="13"/>
                  </a:lnTo>
                  <a:lnTo>
                    <a:pt x="3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3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19" name="Freeform 159"/>
            <p:cNvSpPr>
              <a:spLocks/>
            </p:cNvSpPr>
            <p:nvPr/>
          </p:nvSpPr>
          <p:spPr bwMode="auto">
            <a:xfrm>
              <a:off x="1512" y="2449"/>
              <a:ext cx="8" cy="6"/>
            </a:xfrm>
            <a:custGeom>
              <a:avLst/>
              <a:gdLst>
                <a:gd name="T0" fmla="*/ 8 w 8"/>
                <a:gd name="T1" fmla="*/ 6 h 6"/>
                <a:gd name="T2" fmla="*/ 8 w 8"/>
                <a:gd name="T3" fmla="*/ 3 h 6"/>
                <a:gd name="T4" fmla="*/ 5 w 8"/>
                <a:gd name="T5" fmla="*/ 3 h 6"/>
                <a:gd name="T6" fmla="*/ 5 w 8"/>
                <a:gd name="T7" fmla="*/ 0 h 6"/>
                <a:gd name="T8" fmla="*/ 3 w 8"/>
                <a:gd name="T9" fmla="*/ 3 h 6"/>
                <a:gd name="T10" fmla="*/ 3 w 8"/>
                <a:gd name="T11" fmla="*/ 3 h 6"/>
                <a:gd name="T12" fmla="*/ 3 w 8"/>
                <a:gd name="T13" fmla="*/ 3 h 6"/>
                <a:gd name="T14" fmla="*/ 3 w 8"/>
                <a:gd name="T15" fmla="*/ 3 h 6"/>
                <a:gd name="T16" fmla="*/ 3 w 8"/>
                <a:gd name="T17" fmla="*/ 3 h 6"/>
                <a:gd name="T18" fmla="*/ 3 w 8"/>
                <a:gd name="T19" fmla="*/ 3 h 6"/>
                <a:gd name="T20" fmla="*/ 0 w 8"/>
                <a:gd name="T21" fmla="*/ 3 h 6"/>
                <a:gd name="T22" fmla="*/ 3 w 8"/>
                <a:gd name="T23" fmla="*/ 6 h 6"/>
                <a:gd name="T24" fmla="*/ 5 w 8"/>
                <a:gd name="T25" fmla="*/ 6 h 6"/>
                <a:gd name="T26" fmla="*/ 5 w 8"/>
                <a:gd name="T27" fmla="*/ 6 h 6"/>
                <a:gd name="T28" fmla="*/ 8 w 8"/>
                <a:gd name="T29" fmla="*/ 6 h 6"/>
                <a:gd name="T30" fmla="*/ 8 w 8"/>
                <a:gd name="T3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6">
                  <a:moveTo>
                    <a:pt x="8" y="6"/>
                  </a:moveTo>
                  <a:lnTo>
                    <a:pt x="8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0" name="Freeform 160"/>
            <p:cNvSpPr>
              <a:spLocks/>
            </p:cNvSpPr>
            <p:nvPr/>
          </p:nvSpPr>
          <p:spPr bwMode="auto">
            <a:xfrm>
              <a:off x="1546" y="2444"/>
              <a:ext cx="10" cy="5"/>
            </a:xfrm>
            <a:custGeom>
              <a:avLst/>
              <a:gdLst>
                <a:gd name="T0" fmla="*/ 5 w 10"/>
                <a:gd name="T1" fmla="*/ 5 h 5"/>
                <a:gd name="T2" fmla="*/ 7 w 10"/>
                <a:gd name="T3" fmla="*/ 5 h 5"/>
                <a:gd name="T4" fmla="*/ 10 w 10"/>
                <a:gd name="T5" fmla="*/ 3 h 5"/>
                <a:gd name="T6" fmla="*/ 10 w 10"/>
                <a:gd name="T7" fmla="*/ 3 h 5"/>
                <a:gd name="T8" fmla="*/ 10 w 10"/>
                <a:gd name="T9" fmla="*/ 3 h 5"/>
                <a:gd name="T10" fmla="*/ 10 w 10"/>
                <a:gd name="T11" fmla="*/ 0 h 5"/>
                <a:gd name="T12" fmla="*/ 10 w 10"/>
                <a:gd name="T13" fmla="*/ 3 h 5"/>
                <a:gd name="T14" fmla="*/ 7 w 10"/>
                <a:gd name="T15" fmla="*/ 3 h 5"/>
                <a:gd name="T16" fmla="*/ 7 w 10"/>
                <a:gd name="T17" fmla="*/ 3 h 5"/>
                <a:gd name="T18" fmla="*/ 5 w 10"/>
                <a:gd name="T19" fmla="*/ 5 h 5"/>
                <a:gd name="T20" fmla="*/ 5 w 10"/>
                <a:gd name="T21" fmla="*/ 5 h 5"/>
                <a:gd name="T22" fmla="*/ 2 w 10"/>
                <a:gd name="T23" fmla="*/ 5 h 5"/>
                <a:gd name="T24" fmla="*/ 2 w 10"/>
                <a:gd name="T25" fmla="*/ 5 h 5"/>
                <a:gd name="T26" fmla="*/ 0 w 10"/>
                <a:gd name="T27" fmla="*/ 5 h 5"/>
                <a:gd name="T28" fmla="*/ 2 w 10"/>
                <a:gd name="T29" fmla="*/ 5 h 5"/>
                <a:gd name="T30" fmla="*/ 2 w 10"/>
                <a:gd name="T31" fmla="*/ 5 h 5"/>
                <a:gd name="T32" fmla="*/ 5 w 10"/>
                <a:gd name="T33" fmla="*/ 5 h 5"/>
                <a:gd name="T34" fmla="*/ 5 w 10"/>
                <a:gd name="T35" fmla="*/ 5 h 5"/>
                <a:gd name="T36" fmla="*/ 5 w 10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5">
                  <a:moveTo>
                    <a:pt x="5" y="5"/>
                  </a:moveTo>
                  <a:lnTo>
                    <a:pt x="7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1" name="Freeform 161"/>
            <p:cNvSpPr>
              <a:spLocks/>
            </p:cNvSpPr>
            <p:nvPr/>
          </p:nvSpPr>
          <p:spPr bwMode="auto">
            <a:xfrm>
              <a:off x="1608" y="2468"/>
              <a:ext cx="2" cy="5"/>
            </a:xfrm>
            <a:custGeom>
              <a:avLst/>
              <a:gdLst>
                <a:gd name="T0" fmla="*/ 0 w 2"/>
                <a:gd name="T1" fmla="*/ 2 h 5"/>
                <a:gd name="T2" fmla="*/ 0 w 2"/>
                <a:gd name="T3" fmla="*/ 2 h 5"/>
                <a:gd name="T4" fmla="*/ 0 w 2"/>
                <a:gd name="T5" fmla="*/ 5 h 5"/>
                <a:gd name="T6" fmla="*/ 0 w 2"/>
                <a:gd name="T7" fmla="*/ 5 h 5"/>
                <a:gd name="T8" fmla="*/ 0 w 2"/>
                <a:gd name="T9" fmla="*/ 5 h 5"/>
                <a:gd name="T10" fmla="*/ 0 w 2"/>
                <a:gd name="T11" fmla="*/ 2 h 5"/>
                <a:gd name="T12" fmla="*/ 2 w 2"/>
                <a:gd name="T13" fmla="*/ 2 h 5"/>
                <a:gd name="T14" fmla="*/ 2 w 2"/>
                <a:gd name="T15" fmla="*/ 2 h 5"/>
                <a:gd name="T16" fmla="*/ 2 w 2"/>
                <a:gd name="T17" fmla="*/ 2 h 5"/>
                <a:gd name="T18" fmla="*/ 2 w 2"/>
                <a:gd name="T19" fmla="*/ 2 h 5"/>
                <a:gd name="T20" fmla="*/ 2 w 2"/>
                <a:gd name="T21" fmla="*/ 0 h 5"/>
                <a:gd name="T22" fmla="*/ 2 w 2"/>
                <a:gd name="T23" fmla="*/ 0 h 5"/>
                <a:gd name="T24" fmla="*/ 2 w 2"/>
                <a:gd name="T25" fmla="*/ 0 h 5"/>
                <a:gd name="T26" fmla="*/ 2 w 2"/>
                <a:gd name="T27" fmla="*/ 0 h 5"/>
                <a:gd name="T28" fmla="*/ 0 w 2"/>
                <a:gd name="T29" fmla="*/ 2 h 5"/>
                <a:gd name="T30" fmla="*/ 0 w 2"/>
                <a:gd name="T31" fmla="*/ 2 h 5"/>
                <a:gd name="T32" fmla="*/ 0 w 2"/>
                <a:gd name="T33" fmla="*/ 2 h 5"/>
                <a:gd name="T34" fmla="*/ 0 w 2"/>
                <a:gd name="T3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" h="5">
                  <a:moveTo>
                    <a:pt x="0" y="2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2" name="Freeform 162"/>
            <p:cNvSpPr>
              <a:spLocks/>
            </p:cNvSpPr>
            <p:nvPr/>
          </p:nvSpPr>
          <p:spPr bwMode="auto">
            <a:xfrm>
              <a:off x="1520" y="245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3" name="Freeform 163"/>
            <p:cNvSpPr>
              <a:spLocks/>
            </p:cNvSpPr>
            <p:nvPr/>
          </p:nvSpPr>
          <p:spPr bwMode="auto">
            <a:xfrm>
              <a:off x="1383" y="2514"/>
              <a:ext cx="2" cy="5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2 w 2"/>
                <a:gd name="T5" fmla="*/ 0 h 5"/>
                <a:gd name="T6" fmla="*/ 0 w 2"/>
                <a:gd name="T7" fmla="*/ 0 h 5"/>
                <a:gd name="T8" fmla="*/ 0 w 2"/>
                <a:gd name="T9" fmla="*/ 3 h 5"/>
                <a:gd name="T10" fmla="*/ 0 w 2"/>
                <a:gd name="T11" fmla="*/ 3 h 5"/>
                <a:gd name="T12" fmla="*/ 0 w 2"/>
                <a:gd name="T13" fmla="*/ 3 h 5"/>
                <a:gd name="T14" fmla="*/ 0 w 2"/>
                <a:gd name="T15" fmla="*/ 5 h 5"/>
                <a:gd name="T16" fmla="*/ 2 w 2"/>
                <a:gd name="T17" fmla="*/ 3 h 5"/>
                <a:gd name="T18" fmla="*/ 2 w 2"/>
                <a:gd name="T19" fmla="*/ 3 h 5"/>
                <a:gd name="T20" fmla="*/ 2 w 2"/>
                <a:gd name="T21" fmla="*/ 0 h 5"/>
                <a:gd name="T22" fmla="*/ 2 w 2"/>
                <a:gd name="T23" fmla="*/ 0 h 5"/>
                <a:gd name="T24" fmla="*/ 2 w 2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4" name="Freeform 164"/>
            <p:cNvSpPr>
              <a:spLocks/>
            </p:cNvSpPr>
            <p:nvPr/>
          </p:nvSpPr>
          <p:spPr bwMode="auto">
            <a:xfrm>
              <a:off x="1691" y="257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5" name="Freeform 165"/>
            <p:cNvSpPr>
              <a:spLocks/>
            </p:cNvSpPr>
            <p:nvPr/>
          </p:nvSpPr>
          <p:spPr bwMode="auto">
            <a:xfrm>
              <a:off x="1566" y="2437"/>
              <a:ext cx="3" cy="2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0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0 h 2"/>
                <a:gd name="T18" fmla="*/ 3 w 3"/>
                <a:gd name="T19" fmla="*/ 0 h 2"/>
                <a:gd name="T20" fmla="*/ 3 w 3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6" name="Freeform 166"/>
            <p:cNvSpPr>
              <a:spLocks/>
            </p:cNvSpPr>
            <p:nvPr/>
          </p:nvSpPr>
          <p:spPr bwMode="auto">
            <a:xfrm>
              <a:off x="1380" y="2519"/>
              <a:ext cx="3" cy="3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3 h 3"/>
                <a:gd name="T4" fmla="*/ 0 w 3"/>
                <a:gd name="T5" fmla="*/ 3 h 3"/>
                <a:gd name="T6" fmla="*/ 0 w 3"/>
                <a:gd name="T7" fmla="*/ 3 h 3"/>
                <a:gd name="T8" fmla="*/ 3 w 3"/>
                <a:gd name="T9" fmla="*/ 3 h 3"/>
                <a:gd name="T10" fmla="*/ 3 w 3"/>
                <a:gd name="T11" fmla="*/ 3 h 3"/>
                <a:gd name="T12" fmla="*/ 3 w 3"/>
                <a:gd name="T13" fmla="*/ 3 h 3"/>
                <a:gd name="T14" fmla="*/ 3 w 3"/>
                <a:gd name="T15" fmla="*/ 3 h 3"/>
                <a:gd name="T16" fmla="*/ 3 w 3"/>
                <a:gd name="T17" fmla="*/ 0 h 3"/>
                <a:gd name="T18" fmla="*/ 3 w 3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7" name="Freeform 167"/>
            <p:cNvSpPr>
              <a:spLocks/>
            </p:cNvSpPr>
            <p:nvPr/>
          </p:nvSpPr>
          <p:spPr bwMode="auto">
            <a:xfrm>
              <a:off x="1548" y="24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8" name="Freeform 168"/>
            <p:cNvSpPr>
              <a:spLocks/>
            </p:cNvSpPr>
            <p:nvPr/>
          </p:nvSpPr>
          <p:spPr bwMode="auto">
            <a:xfrm>
              <a:off x="1424" y="2932"/>
              <a:ext cx="355" cy="262"/>
            </a:xfrm>
            <a:custGeom>
              <a:avLst/>
              <a:gdLst>
                <a:gd name="T0" fmla="*/ 16 w 355"/>
                <a:gd name="T1" fmla="*/ 184 h 262"/>
                <a:gd name="T2" fmla="*/ 29 w 355"/>
                <a:gd name="T3" fmla="*/ 194 h 262"/>
                <a:gd name="T4" fmla="*/ 39 w 355"/>
                <a:gd name="T5" fmla="*/ 181 h 262"/>
                <a:gd name="T6" fmla="*/ 44 w 355"/>
                <a:gd name="T7" fmla="*/ 168 h 262"/>
                <a:gd name="T8" fmla="*/ 41 w 355"/>
                <a:gd name="T9" fmla="*/ 155 h 262"/>
                <a:gd name="T10" fmla="*/ 49 w 355"/>
                <a:gd name="T11" fmla="*/ 150 h 262"/>
                <a:gd name="T12" fmla="*/ 65 w 355"/>
                <a:gd name="T13" fmla="*/ 140 h 262"/>
                <a:gd name="T14" fmla="*/ 85 w 355"/>
                <a:gd name="T15" fmla="*/ 129 h 262"/>
                <a:gd name="T16" fmla="*/ 75 w 355"/>
                <a:gd name="T17" fmla="*/ 114 h 262"/>
                <a:gd name="T18" fmla="*/ 60 w 355"/>
                <a:gd name="T19" fmla="*/ 103 h 262"/>
                <a:gd name="T20" fmla="*/ 47 w 355"/>
                <a:gd name="T21" fmla="*/ 101 h 262"/>
                <a:gd name="T22" fmla="*/ 34 w 355"/>
                <a:gd name="T23" fmla="*/ 85 h 262"/>
                <a:gd name="T24" fmla="*/ 31 w 355"/>
                <a:gd name="T25" fmla="*/ 67 h 262"/>
                <a:gd name="T26" fmla="*/ 34 w 355"/>
                <a:gd name="T27" fmla="*/ 52 h 262"/>
                <a:gd name="T28" fmla="*/ 31 w 355"/>
                <a:gd name="T29" fmla="*/ 41 h 262"/>
                <a:gd name="T30" fmla="*/ 41 w 355"/>
                <a:gd name="T31" fmla="*/ 20 h 262"/>
                <a:gd name="T32" fmla="*/ 65 w 355"/>
                <a:gd name="T33" fmla="*/ 13 h 262"/>
                <a:gd name="T34" fmla="*/ 83 w 355"/>
                <a:gd name="T35" fmla="*/ 8 h 262"/>
                <a:gd name="T36" fmla="*/ 106 w 355"/>
                <a:gd name="T37" fmla="*/ 0 h 262"/>
                <a:gd name="T38" fmla="*/ 122 w 355"/>
                <a:gd name="T39" fmla="*/ 5 h 262"/>
                <a:gd name="T40" fmla="*/ 137 w 355"/>
                <a:gd name="T41" fmla="*/ 10 h 262"/>
                <a:gd name="T42" fmla="*/ 145 w 355"/>
                <a:gd name="T43" fmla="*/ 20 h 262"/>
                <a:gd name="T44" fmla="*/ 145 w 355"/>
                <a:gd name="T45" fmla="*/ 41 h 262"/>
                <a:gd name="T46" fmla="*/ 158 w 355"/>
                <a:gd name="T47" fmla="*/ 46 h 262"/>
                <a:gd name="T48" fmla="*/ 176 w 355"/>
                <a:gd name="T49" fmla="*/ 41 h 262"/>
                <a:gd name="T50" fmla="*/ 192 w 355"/>
                <a:gd name="T51" fmla="*/ 52 h 262"/>
                <a:gd name="T52" fmla="*/ 205 w 355"/>
                <a:gd name="T53" fmla="*/ 54 h 262"/>
                <a:gd name="T54" fmla="*/ 228 w 355"/>
                <a:gd name="T55" fmla="*/ 52 h 262"/>
                <a:gd name="T56" fmla="*/ 243 w 355"/>
                <a:gd name="T57" fmla="*/ 46 h 262"/>
                <a:gd name="T58" fmla="*/ 246 w 355"/>
                <a:gd name="T59" fmla="*/ 36 h 262"/>
                <a:gd name="T60" fmla="*/ 264 w 355"/>
                <a:gd name="T61" fmla="*/ 26 h 262"/>
                <a:gd name="T62" fmla="*/ 282 w 355"/>
                <a:gd name="T63" fmla="*/ 23 h 262"/>
                <a:gd name="T64" fmla="*/ 305 w 355"/>
                <a:gd name="T65" fmla="*/ 20 h 262"/>
                <a:gd name="T66" fmla="*/ 318 w 355"/>
                <a:gd name="T67" fmla="*/ 20 h 262"/>
                <a:gd name="T68" fmla="*/ 347 w 355"/>
                <a:gd name="T69" fmla="*/ 41 h 262"/>
                <a:gd name="T70" fmla="*/ 347 w 355"/>
                <a:gd name="T71" fmla="*/ 59 h 262"/>
                <a:gd name="T72" fmla="*/ 352 w 355"/>
                <a:gd name="T73" fmla="*/ 72 h 262"/>
                <a:gd name="T74" fmla="*/ 349 w 355"/>
                <a:gd name="T75" fmla="*/ 88 h 262"/>
                <a:gd name="T76" fmla="*/ 344 w 355"/>
                <a:gd name="T77" fmla="*/ 106 h 262"/>
                <a:gd name="T78" fmla="*/ 337 w 355"/>
                <a:gd name="T79" fmla="*/ 129 h 262"/>
                <a:gd name="T80" fmla="*/ 318 w 355"/>
                <a:gd name="T81" fmla="*/ 148 h 262"/>
                <a:gd name="T82" fmla="*/ 305 w 355"/>
                <a:gd name="T83" fmla="*/ 132 h 262"/>
                <a:gd name="T84" fmla="*/ 295 w 355"/>
                <a:gd name="T85" fmla="*/ 114 h 262"/>
                <a:gd name="T86" fmla="*/ 280 w 355"/>
                <a:gd name="T87" fmla="*/ 114 h 262"/>
                <a:gd name="T88" fmla="*/ 272 w 355"/>
                <a:gd name="T89" fmla="*/ 119 h 262"/>
                <a:gd name="T90" fmla="*/ 282 w 355"/>
                <a:gd name="T91" fmla="*/ 135 h 262"/>
                <a:gd name="T92" fmla="*/ 246 w 355"/>
                <a:gd name="T93" fmla="*/ 148 h 262"/>
                <a:gd name="T94" fmla="*/ 225 w 355"/>
                <a:gd name="T95" fmla="*/ 158 h 262"/>
                <a:gd name="T96" fmla="*/ 199 w 355"/>
                <a:gd name="T97" fmla="*/ 166 h 262"/>
                <a:gd name="T98" fmla="*/ 184 w 355"/>
                <a:gd name="T99" fmla="*/ 181 h 262"/>
                <a:gd name="T100" fmla="*/ 163 w 355"/>
                <a:gd name="T101" fmla="*/ 186 h 262"/>
                <a:gd name="T102" fmla="*/ 145 w 355"/>
                <a:gd name="T103" fmla="*/ 205 h 262"/>
                <a:gd name="T104" fmla="*/ 127 w 355"/>
                <a:gd name="T105" fmla="*/ 215 h 262"/>
                <a:gd name="T106" fmla="*/ 98 w 355"/>
                <a:gd name="T107" fmla="*/ 218 h 262"/>
                <a:gd name="T108" fmla="*/ 67 w 355"/>
                <a:gd name="T109" fmla="*/ 233 h 262"/>
                <a:gd name="T110" fmla="*/ 52 w 355"/>
                <a:gd name="T111" fmla="*/ 251 h 262"/>
                <a:gd name="T112" fmla="*/ 47 w 355"/>
                <a:gd name="T113" fmla="*/ 256 h 262"/>
                <a:gd name="T114" fmla="*/ 36 w 355"/>
                <a:gd name="T115" fmla="*/ 241 h 262"/>
                <a:gd name="T116" fmla="*/ 21 w 355"/>
                <a:gd name="T117" fmla="*/ 236 h 262"/>
                <a:gd name="T118" fmla="*/ 16 w 355"/>
                <a:gd name="T119" fmla="*/ 233 h 262"/>
                <a:gd name="T120" fmla="*/ 13 w 355"/>
                <a:gd name="T121" fmla="*/ 228 h 262"/>
                <a:gd name="T122" fmla="*/ 8 w 355"/>
                <a:gd name="T123" fmla="*/ 212 h 262"/>
                <a:gd name="T124" fmla="*/ 3 w 355"/>
                <a:gd name="T125" fmla="*/ 20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5" h="262">
                  <a:moveTo>
                    <a:pt x="0" y="199"/>
                  </a:moveTo>
                  <a:lnTo>
                    <a:pt x="3" y="197"/>
                  </a:lnTo>
                  <a:lnTo>
                    <a:pt x="3" y="197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5" y="192"/>
                  </a:lnTo>
                  <a:lnTo>
                    <a:pt x="10" y="189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3" y="197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9" y="192"/>
                  </a:lnTo>
                  <a:lnTo>
                    <a:pt x="29" y="194"/>
                  </a:lnTo>
                  <a:lnTo>
                    <a:pt x="29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6"/>
                  </a:lnTo>
                  <a:lnTo>
                    <a:pt x="36" y="186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4" y="181"/>
                  </a:lnTo>
                  <a:lnTo>
                    <a:pt x="44" y="184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4" y="168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3"/>
                  </a:lnTo>
                  <a:lnTo>
                    <a:pt x="41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1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7" y="158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4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4" y="155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52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2" y="142"/>
                  </a:lnTo>
                  <a:lnTo>
                    <a:pt x="60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7"/>
                  </a:lnTo>
                  <a:lnTo>
                    <a:pt x="70" y="137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0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3" y="127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3" y="124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0" y="111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1" y="101"/>
                  </a:lnTo>
                  <a:lnTo>
                    <a:pt x="41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3"/>
                  </a:lnTo>
                  <a:lnTo>
                    <a:pt x="39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0"/>
                  </a:lnTo>
                  <a:lnTo>
                    <a:pt x="39" y="80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9" y="33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7" y="15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5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32" y="5"/>
                  </a:lnTo>
                  <a:lnTo>
                    <a:pt x="132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5" y="41"/>
                  </a:lnTo>
                  <a:lnTo>
                    <a:pt x="145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9"/>
                  </a:lnTo>
                  <a:lnTo>
                    <a:pt x="150" y="49"/>
                  </a:lnTo>
                  <a:lnTo>
                    <a:pt x="153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8" y="49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3" y="41"/>
                  </a:lnTo>
                  <a:lnTo>
                    <a:pt x="161" y="41"/>
                  </a:lnTo>
                  <a:lnTo>
                    <a:pt x="163" y="41"/>
                  </a:lnTo>
                  <a:lnTo>
                    <a:pt x="166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41"/>
                  </a:lnTo>
                  <a:lnTo>
                    <a:pt x="173" y="41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1"/>
                  </a:lnTo>
                  <a:lnTo>
                    <a:pt x="176" y="41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7" y="52"/>
                  </a:lnTo>
                  <a:lnTo>
                    <a:pt x="199" y="52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5" y="54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8" y="52"/>
                  </a:lnTo>
                  <a:lnTo>
                    <a:pt x="228" y="52"/>
                  </a:lnTo>
                  <a:lnTo>
                    <a:pt x="230" y="52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6" y="39"/>
                  </a:lnTo>
                  <a:lnTo>
                    <a:pt x="243" y="39"/>
                  </a:lnTo>
                  <a:lnTo>
                    <a:pt x="243" y="39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3"/>
                  </a:lnTo>
                  <a:lnTo>
                    <a:pt x="243" y="33"/>
                  </a:lnTo>
                  <a:lnTo>
                    <a:pt x="243" y="33"/>
                  </a:lnTo>
                  <a:lnTo>
                    <a:pt x="246" y="36"/>
                  </a:lnTo>
                  <a:lnTo>
                    <a:pt x="246" y="33"/>
                  </a:lnTo>
                  <a:lnTo>
                    <a:pt x="249" y="33"/>
                  </a:lnTo>
                  <a:lnTo>
                    <a:pt x="249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51" y="28"/>
                  </a:lnTo>
                  <a:lnTo>
                    <a:pt x="251" y="26"/>
                  </a:lnTo>
                  <a:lnTo>
                    <a:pt x="254" y="26"/>
                  </a:lnTo>
                  <a:lnTo>
                    <a:pt x="254" y="26"/>
                  </a:lnTo>
                  <a:lnTo>
                    <a:pt x="251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7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72" y="26"/>
                  </a:lnTo>
                  <a:lnTo>
                    <a:pt x="272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7" y="28"/>
                  </a:lnTo>
                  <a:lnTo>
                    <a:pt x="277" y="28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5" y="23"/>
                  </a:lnTo>
                  <a:lnTo>
                    <a:pt x="285" y="23"/>
                  </a:lnTo>
                  <a:lnTo>
                    <a:pt x="287" y="23"/>
                  </a:lnTo>
                  <a:lnTo>
                    <a:pt x="287" y="20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93" y="20"/>
                  </a:lnTo>
                  <a:lnTo>
                    <a:pt x="295" y="20"/>
                  </a:lnTo>
                  <a:lnTo>
                    <a:pt x="298" y="20"/>
                  </a:lnTo>
                  <a:lnTo>
                    <a:pt x="300" y="20"/>
                  </a:lnTo>
                  <a:lnTo>
                    <a:pt x="298" y="20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3"/>
                  </a:lnTo>
                  <a:lnTo>
                    <a:pt x="318" y="26"/>
                  </a:lnTo>
                  <a:lnTo>
                    <a:pt x="321" y="26"/>
                  </a:lnTo>
                  <a:lnTo>
                    <a:pt x="321" y="26"/>
                  </a:lnTo>
                  <a:lnTo>
                    <a:pt x="324" y="26"/>
                  </a:lnTo>
                  <a:lnTo>
                    <a:pt x="326" y="28"/>
                  </a:lnTo>
                  <a:lnTo>
                    <a:pt x="329" y="28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4" y="33"/>
                  </a:lnTo>
                  <a:lnTo>
                    <a:pt x="334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9" y="33"/>
                  </a:lnTo>
                  <a:lnTo>
                    <a:pt x="339" y="33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9"/>
                  </a:lnTo>
                  <a:lnTo>
                    <a:pt x="344" y="39"/>
                  </a:lnTo>
                  <a:lnTo>
                    <a:pt x="347" y="39"/>
                  </a:lnTo>
                  <a:lnTo>
                    <a:pt x="347" y="41"/>
                  </a:lnTo>
                  <a:lnTo>
                    <a:pt x="347" y="41"/>
                  </a:lnTo>
                  <a:lnTo>
                    <a:pt x="344" y="41"/>
                  </a:lnTo>
                  <a:lnTo>
                    <a:pt x="344" y="44"/>
                  </a:lnTo>
                  <a:lnTo>
                    <a:pt x="347" y="44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52"/>
                  </a:lnTo>
                  <a:lnTo>
                    <a:pt x="347" y="52"/>
                  </a:lnTo>
                  <a:lnTo>
                    <a:pt x="347" y="52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4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5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91"/>
                  </a:lnTo>
                  <a:lnTo>
                    <a:pt x="349" y="91"/>
                  </a:lnTo>
                  <a:lnTo>
                    <a:pt x="349" y="93"/>
                  </a:lnTo>
                  <a:lnTo>
                    <a:pt x="349" y="96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4" y="103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9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39" y="119"/>
                  </a:lnTo>
                  <a:lnTo>
                    <a:pt x="339" y="122"/>
                  </a:lnTo>
                  <a:lnTo>
                    <a:pt x="339" y="122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7" y="124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4" y="132"/>
                  </a:lnTo>
                  <a:lnTo>
                    <a:pt x="331" y="135"/>
                  </a:lnTo>
                  <a:lnTo>
                    <a:pt x="329" y="135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40"/>
                  </a:lnTo>
                  <a:lnTo>
                    <a:pt x="329" y="142"/>
                  </a:lnTo>
                  <a:lnTo>
                    <a:pt x="329" y="142"/>
                  </a:lnTo>
                  <a:lnTo>
                    <a:pt x="329" y="145"/>
                  </a:lnTo>
                  <a:lnTo>
                    <a:pt x="326" y="145"/>
                  </a:lnTo>
                  <a:lnTo>
                    <a:pt x="326" y="145"/>
                  </a:lnTo>
                  <a:lnTo>
                    <a:pt x="326" y="148"/>
                  </a:lnTo>
                  <a:lnTo>
                    <a:pt x="326" y="148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08" y="142"/>
                  </a:lnTo>
                  <a:lnTo>
                    <a:pt x="308" y="142"/>
                  </a:lnTo>
                  <a:lnTo>
                    <a:pt x="305" y="142"/>
                  </a:lnTo>
                  <a:lnTo>
                    <a:pt x="305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11" y="135"/>
                  </a:lnTo>
                  <a:lnTo>
                    <a:pt x="311" y="129"/>
                  </a:lnTo>
                  <a:lnTo>
                    <a:pt x="308" y="129"/>
                  </a:lnTo>
                  <a:lnTo>
                    <a:pt x="305" y="132"/>
                  </a:lnTo>
                  <a:lnTo>
                    <a:pt x="303" y="132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29"/>
                  </a:lnTo>
                  <a:lnTo>
                    <a:pt x="300" y="127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3" y="114"/>
                  </a:lnTo>
                  <a:lnTo>
                    <a:pt x="293" y="111"/>
                  </a:lnTo>
                  <a:lnTo>
                    <a:pt x="295" y="111"/>
                  </a:lnTo>
                  <a:lnTo>
                    <a:pt x="295" y="109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4"/>
                  </a:lnTo>
                  <a:lnTo>
                    <a:pt x="290" y="114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7" y="111"/>
                  </a:lnTo>
                  <a:lnTo>
                    <a:pt x="285" y="114"/>
                  </a:lnTo>
                  <a:lnTo>
                    <a:pt x="285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0" y="114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77" y="111"/>
                  </a:lnTo>
                  <a:lnTo>
                    <a:pt x="277" y="111"/>
                  </a:lnTo>
                  <a:lnTo>
                    <a:pt x="274" y="111"/>
                  </a:lnTo>
                  <a:lnTo>
                    <a:pt x="274" y="109"/>
                  </a:lnTo>
                  <a:lnTo>
                    <a:pt x="274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4"/>
                  </a:lnTo>
                  <a:lnTo>
                    <a:pt x="269" y="116"/>
                  </a:lnTo>
                  <a:lnTo>
                    <a:pt x="267" y="116"/>
                  </a:lnTo>
                  <a:lnTo>
                    <a:pt x="267" y="119"/>
                  </a:lnTo>
                  <a:lnTo>
                    <a:pt x="267" y="119"/>
                  </a:lnTo>
                  <a:lnTo>
                    <a:pt x="267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72" y="119"/>
                  </a:lnTo>
                  <a:lnTo>
                    <a:pt x="272" y="119"/>
                  </a:lnTo>
                  <a:lnTo>
                    <a:pt x="274" y="119"/>
                  </a:lnTo>
                  <a:lnTo>
                    <a:pt x="274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4" y="127"/>
                  </a:lnTo>
                  <a:lnTo>
                    <a:pt x="274" y="127"/>
                  </a:lnTo>
                  <a:lnTo>
                    <a:pt x="277" y="127"/>
                  </a:lnTo>
                  <a:lnTo>
                    <a:pt x="280" y="127"/>
                  </a:lnTo>
                  <a:lnTo>
                    <a:pt x="280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0" y="132"/>
                  </a:lnTo>
                  <a:lnTo>
                    <a:pt x="280" y="132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82" y="135"/>
                  </a:lnTo>
                  <a:lnTo>
                    <a:pt x="282" y="135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4" y="137"/>
                  </a:lnTo>
                  <a:lnTo>
                    <a:pt x="274" y="135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7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4" y="140"/>
                  </a:lnTo>
                  <a:lnTo>
                    <a:pt x="261" y="142"/>
                  </a:lnTo>
                  <a:lnTo>
                    <a:pt x="259" y="142"/>
                  </a:lnTo>
                  <a:lnTo>
                    <a:pt x="256" y="145"/>
                  </a:lnTo>
                  <a:lnTo>
                    <a:pt x="254" y="145"/>
                  </a:lnTo>
                  <a:lnTo>
                    <a:pt x="251" y="148"/>
                  </a:lnTo>
                  <a:lnTo>
                    <a:pt x="249" y="148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1" y="150"/>
                  </a:lnTo>
                  <a:lnTo>
                    <a:pt x="241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6" y="150"/>
                  </a:lnTo>
                  <a:lnTo>
                    <a:pt x="233" y="150"/>
                  </a:lnTo>
                  <a:lnTo>
                    <a:pt x="233" y="150"/>
                  </a:lnTo>
                  <a:lnTo>
                    <a:pt x="233" y="153"/>
                  </a:lnTo>
                  <a:lnTo>
                    <a:pt x="230" y="153"/>
                  </a:lnTo>
                  <a:lnTo>
                    <a:pt x="230" y="155"/>
                  </a:lnTo>
                  <a:lnTo>
                    <a:pt x="228" y="155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3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17" y="166"/>
                  </a:lnTo>
                  <a:lnTo>
                    <a:pt x="217" y="166"/>
                  </a:lnTo>
                  <a:lnTo>
                    <a:pt x="215" y="163"/>
                  </a:lnTo>
                  <a:lnTo>
                    <a:pt x="210" y="166"/>
                  </a:lnTo>
                  <a:lnTo>
                    <a:pt x="207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2" y="166"/>
                  </a:lnTo>
                  <a:lnTo>
                    <a:pt x="199" y="166"/>
                  </a:lnTo>
                  <a:lnTo>
                    <a:pt x="197" y="163"/>
                  </a:lnTo>
                  <a:lnTo>
                    <a:pt x="199" y="163"/>
                  </a:lnTo>
                  <a:lnTo>
                    <a:pt x="199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6" y="179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1" y="181"/>
                  </a:lnTo>
                  <a:lnTo>
                    <a:pt x="181" y="181"/>
                  </a:lnTo>
                  <a:lnTo>
                    <a:pt x="181" y="184"/>
                  </a:lnTo>
                  <a:lnTo>
                    <a:pt x="179" y="184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6" y="186"/>
                  </a:lnTo>
                  <a:lnTo>
                    <a:pt x="173" y="186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163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58" y="192"/>
                  </a:lnTo>
                  <a:lnTo>
                    <a:pt x="158" y="192"/>
                  </a:lnTo>
                  <a:lnTo>
                    <a:pt x="158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3" y="189"/>
                  </a:lnTo>
                  <a:lnTo>
                    <a:pt x="153" y="192"/>
                  </a:lnTo>
                  <a:lnTo>
                    <a:pt x="153" y="194"/>
                  </a:lnTo>
                  <a:lnTo>
                    <a:pt x="150" y="199"/>
                  </a:lnTo>
                  <a:lnTo>
                    <a:pt x="150" y="202"/>
                  </a:lnTo>
                  <a:lnTo>
                    <a:pt x="148" y="202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7" y="202"/>
                  </a:lnTo>
                  <a:lnTo>
                    <a:pt x="137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7" y="207"/>
                  </a:lnTo>
                  <a:lnTo>
                    <a:pt x="129" y="210"/>
                  </a:lnTo>
                  <a:lnTo>
                    <a:pt x="129" y="212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8"/>
                  </a:lnTo>
                  <a:lnTo>
                    <a:pt x="124" y="218"/>
                  </a:lnTo>
                  <a:lnTo>
                    <a:pt x="124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18"/>
                  </a:lnTo>
                  <a:lnTo>
                    <a:pt x="114" y="218"/>
                  </a:lnTo>
                  <a:lnTo>
                    <a:pt x="111" y="215"/>
                  </a:lnTo>
                  <a:lnTo>
                    <a:pt x="109" y="215"/>
                  </a:lnTo>
                  <a:lnTo>
                    <a:pt x="109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5"/>
                  </a:lnTo>
                  <a:lnTo>
                    <a:pt x="104" y="215"/>
                  </a:lnTo>
                  <a:lnTo>
                    <a:pt x="104" y="218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1" y="215"/>
                  </a:lnTo>
                  <a:lnTo>
                    <a:pt x="101" y="215"/>
                  </a:lnTo>
                  <a:lnTo>
                    <a:pt x="98" y="218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91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85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0" y="223"/>
                  </a:lnTo>
                  <a:lnTo>
                    <a:pt x="78" y="223"/>
                  </a:lnTo>
                  <a:lnTo>
                    <a:pt x="75" y="223"/>
                  </a:lnTo>
                  <a:lnTo>
                    <a:pt x="73" y="223"/>
                  </a:lnTo>
                  <a:lnTo>
                    <a:pt x="73" y="225"/>
                  </a:lnTo>
                  <a:lnTo>
                    <a:pt x="70" y="225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0" y="236"/>
                  </a:lnTo>
                  <a:lnTo>
                    <a:pt x="60" y="236"/>
                  </a:lnTo>
                  <a:lnTo>
                    <a:pt x="60" y="238"/>
                  </a:lnTo>
                  <a:lnTo>
                    <a:pt x="60" y="241"/>
                  </a:lnTo>
                  <a:lnTo>
                    <a:pt x="60" y="241"/>
                  </a:lnTo>
                  <a:lnTo>
                    <a:pt x="60" y="243"/>
                  </a:lnTo>
                  <a:lnTo>
                    <a:pt x="57" y="243"/>
                  </a:lnTo>
                  <a:lnTo>
                    <a:pt x="57" y="243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4"/>
                  </a:lnTo>
                  <a:lnTo>
                    <a:pt x="52" y="254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9"/>
                  </a:lnTo>
                  <a:lnTo>
                    <a:pt x="52" y="259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4" y="251"/>
                  </a:lnTo>
                  <a:lnTo>
                    <a:pt x="44" y="251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1" y="246"/>
                  </a:lnTo>
                  <a:lnTo>
                    <a:pt x="41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36" y="246"/>
                  </a:lnTo>
                  <a:lnTo>
                    <a:pt x="36" y="243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9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4" y="236"/>
                  </a:lnTo>
                  <a:lnTo>
                    <a:pt x="31" y="238"/>
                  </a:lnTo>
                  <a:lnTo>
                    <a:pt x="29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8" y="223"/>
                  </a:lnTo>
                  <a:lnTo>
                    <a:pt x="10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5" y="220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5" y="212"/>
                  </a:lnTo>
                  <a:lnTo>
                    <a:pt x="8" y="212"/>
                  </a:lnTo>
                  <a:lnTo>
                    <a:pt x="8" y="215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8" y="205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3" y="202"/>
                  </a:lnTo>
                  <a:lnTo>
                    <a:pt x="3" y="202"/>
                  </a:lnTo>
                  <a:lnTo>
                    <a:pt x="0" y="202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29" name="Freeform 169"/>
            <p:cNvSpPr>
              <a:spLocks/>
            </p:cNvSpPr>
            <p:nvPr/>
          </p:nvSpPr>
          <p:spPr bwMode="auto">
            <a:xfrm>
              <a:off x="1424" y="2932"/>
              <a:ext cx="355" cy="262"/>
            </a:xfrm>
            <a:custGeom>
              <a:avLst/>
              <a:gdLst>
                <a:gd name="T0" fmla="*/ 16 w 355"/>
                <a:gd name="T1" fmla="*/ 184 h 262"/>
                <a:gd name="T2" fmla="*/ 29 w 355"/>
                <a:gd name="T3" fmla="*/ 194 h 262"/>
                <a:gd name="T4" fmla="*/ 39 w 355"/>
                <a:gd name="T5" fmla="*/ 181 h 262"/>
                <a:gd name="T6" fmla="*/ 44 w 355"/>
                <a:gd name="T7" fmla="*/ 168 h 262"/>
                <a:gd name="T8" fmla="*/ 41 w 355"/>
                <a:gd name="T9" fmla="*/ 155 h 262"/>
                <a:gd name="T10" fmla="*/ 49 w 355"/>
                <a:gd name="T11" fmla="*/ 150 h 262"/>
                <a:gd name="T12" fmla="*/ 65 w 355"/>
                <a:gd name="T13" fmla="*/ 140 h 262"/>
                <a:gd name="T14" fmla="*/ 85 w 355"/>
                <a:gd name="T15" fmla="*/ 129 h 262"/>
                <a:gd name="T16" fmla="*/ 75 w 355"/>
                <a:gd name="T17" fmla="*/ 114 h 262"/>
                <a:gd name="T18" fmla="*/ 60 w 355"/>
                <a:gd name="T19" fmla="*/ 103 h 262"/>
                <a:gd name="T20" fmla="*/ 47 w 355"/>
                <a:gd name="T21" fmla="*/ 101 h 262"/>
                <a:gd name="T22" fmla="*/ 34 w 355"/>
                <a:gd name="T23" fmla="*/ 85 h 262"/>
                <a:gd name="T24" fmla="*/ 31 w 355"/>
                <a:gd name="T25" fmla="*/ 67 h 262"/>
                <a:gd name="T26" fmla="*/ 34 w 355"/>
                <a:gd name="T27" fmla="*/ 52 h 262"/>
                <a:gd name="T28" fmla="*/ 31 w 355"/>
                <a:gd name="T29" fmla="*/ 41 h 262"/>
                <a:gd name="T30" fmla="*/ 41 w 355"/>
                <a:gd name="T31" fmla="*/ 20 h 262"/>
                <a:gd name="T32" fmla="*/ 65 w 355"/>
                <a:gd name="T33" fmla="*/ 13 h 262"/>
                <a:gd name="T34" fmla="*/ 83 w 355"/>
                <a:gd name="T35" fmla="*/ 8 h 262"/>
                <a:gd name="T36" fmla="*/ 106 w 355"/>
                <a:gd name="T37" fmla="*/ 0 h 262"/>
                <a:gd name="T38" fmla="*/ 122 w 355"/>
                <a:gd name="T39" fmla="*/ 5 h 262"/>
                <a:gd name="T40" fmla="*/ 137 w 355"/>
                <a:gd name="T41" fmla="*/ 10 h 262"/>
                <a:gd name="T42" fmla="*/ 145 w 355"/>
                <a:gd name="T43" fmla="*/ 20 h 262"/>
                <a:gd name="T44" fmla="*/ 145 w 355"/>
                <a:gd name="T45" fmla="*/ 41 h 262"/>
                <a:gd name="T46" fmla="*/ 158 w 355"/>
                <a:gd name="T47" fmla="*/ 46 h 262"/>
                <a:gd name="T48" fmla="*/ 176 w 355"/>
                <a:gd name="T49" fmla="*/ 41 h 262"/>
                <a:gd name="T50" fmla="*/ 192 w 355"/>
                <a:gd name="T51" fmla="*/ 52 h 262"/>
                <a:gd name="T52" fmla="*/ 205 w 355"/>
                <a:gd name="T53" fmla="*/ 54 h 262"/>
                <a:gd name="T54" fmla="*/ 228 w 355"/>
                <a:gd name="T55" fmla="*/ 52 h 262"/>
                <a:gd name="T56" fmla="*/ 243 w 355"/>
                <a:gd name="T57" fmla="*/ 46 h 262"/>
                <a:gd name="T58" fmla="*/ 246 w 355"/>
                <a:gd name="T59" fmla="*/ 36 h 262"/>
                <a:gd name="T60" fmla="*/ 264 w 355"/>
                <a:gd name="T61" fmla="*/ 26 h 262"/>
                <a:gd name="T62" fmla="*/ 282 w 355"/>
                <a:gd name="T63" fmla="*/ 23 h 262"/>
                <a:gd name="T64" fmla="*/ 305 w 355"/>
                <a:gd name="T65" fmla="*/ 20 h 262"/>
                <a:gd name="T66" fmla="*/ 318 w 355"/>
                <a:gd name="T67" fmla="*/ 20 h 262"/>
                <a:gd name="T68" fmla="*/ 347 w 355"/>
                <a:gd name="T69" fmla="*/ 41 h 262"/>
                <a:gd name="T70" fmla="*/ 347 w 355"/>
                <a:gd name="T71" fmla="*/ 59 h 262"/>
                <a:gd name="T72" fmla="*/ 352 w 355"/>
                <a:gd name="T73" fmla="*/ 72 h 262"/>
                <a:gd name="T74" fmla="*/ 349 w 355"/>
                <a:gd name="T75" fmla="*/ 88 h 262"/>
                <a:gd name="T76" fmla="*/ 344 w 355"/>
                <a:gd name="T77" fmla="*/ 106 h 262"/>
                <a:gd name="T78" fmla="*/ 337 w 355"/>
                <a:gd name="T79" fmla="*/ 129 h 262"/>
                <a:gd name="T80" fmla="*/ 318 w 355"/>
                <a:gd name="T81" fmla="*/ 148 h 262"/>
                <a:gd name="T82" fmla="*/ 305 w 355"/>
                <a:gd name="T83" fmla="*/ 132 h 262"/>
                <a:gd name="T84" fmla="*/ 295 w 355"/>
                <a:gd name="T85" fmla="*/ 114 h 262"/>
                <a:gd name="T86" fmla="*/ 280 w 355"/>
                <a:gd name="T87" fmla="*/ 114 h 262"/>
                <a:gd name="T88" fmla="*/ 272 w 355"/>
                <a:gd name="T89" fmla="*/ 119 h 262"/>
                <a:gd name="T90" fmla="*/ 282 w 355"/>
                <a:gd name="T91" fmla="*/ 135 h 262"/>
                <a:gd name="T92" fmla="*/ 246 w 355"/>
                <a:gd name="T93" fmla="*/ 148 h 262"/>
                <a:gd name="T94" fmla="*/ 225 w 355"/>
                <a:gd name="T95" fmla="*/ 158 h 262"/>
                <a:gd name="T96" fmla="*/ 199 w 355"/>
                <a:gd name="T97" fmla="*/ 166 h 262"/>
                <a:gd name="T98" fmla="*/ 184 w 355"/>
                <a:gd name="T99" fmla="*/ 181 h 262"/>
                <a:gd name="T100" fmla="*/ 163 w 355"/>
                <a:gd name="T101" fmla="*/ 186 h 262"/>
                <a:gd name="T102" fmla="*/ 145 w 355"/>
                <a:gd name="T103" fmla="*/ 205 h 262"/>
                <a:gd name="T104" fmla="*/ 127 w 355"/>
                <a:gd name="T105" fmla="*/ 215 h 262"/>
                <a:gd name="T106" fmla="*/ 98 w 355"/>
                <a:gd name="T107" fmla="*/ 218 h 262"/>
                <a:gd name="T108" fmla="*/ 67 w 355"/>
                <a:gd name="T109" fmla="*/ 233 h 262"/>
                <a:gd name="T110" fmla="*/ 52 w 355"/>
                <a:gd name="T111" fmla="*/ 251 h 262"/>
                <a:gd name="T112" fmla="*/ 47 w 355"/>
                <a:gd name="T113" fmla="*/ 256 h 262"/>
                <a:gd name="T114" fmla="*/ 36 w 355"/>
                <a:gd name="T115" fmla="*/ 241 h 262"/>
                <a:gd name="T116" fmla="*/ 21 w 355"/>
                <a:gd name="T117" fmla="*/ 236 h 262"/>
                <a:gd name="T118" fmla="*/ 16 w 355"/>
                <a:gd name="T119" fmla="*/ 233 h 262"/>
                <a:gd name="T120" fmla="*/ 13 w 355"/>
                <a:gd name="T121" fmla="*/ 228 h 262"/>
                <a:gd name="T122" fmla="*/ 8 w 355"/>
                <a:gd name="T123" fmla="*/ 212 h 262"/>
                <a:gd name="T124" fmla="*/ 3 w 355"/>
                <a:gd name="T125" fmla="*/ 20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5" h="262">
                  <a:moveTo>
                    <a:pt x="0" y="199"/>
                  </a:moveTo>
                  <a:lnTo>
                    <a:pt x="3" y="197"/>
                  </a:lnTo>
                  <a:lnTo>
                    <a:pt x="3" y="197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5" y="192"/>
                  </a:lnTo>
                  <a:lnTo>
                    <a:pt x="10" y="189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3" y="197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9" y="192"/>
                  </a:lnTo>
                  <a:lnTo>
                    <a:pt x="29" y="194"/>
                  </a:lnTo>
                  <a:lnTo>
                    <a:pt x="29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6"/>
                  </a:lnTo>
                  <a:lnTo>
                    <a:pt x="36" y="186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4" y="181"/>
                  </a:lnTo>
                  <a:lnTo>
                    <a:pt x="44" y="184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4" y="168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3"/>
                  </a:lnTo>
                  <a:lnTo>
                    <a:pt x="41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1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7" y="158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4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4" y="155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52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2" y="142"/>
                  </a:lnTo>
                  <a:lnTo>
                    <a:pt x="60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7"/>
                  </a:lnTo>
                  <a:lnTo>
                    <a:pt x="70" y="137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0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3" y="127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3" y="124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0" y="111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1" y="101"/>
                  </a:lnTo>
                  <a:lnTo>
                    <a:pt x="41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3"/>
                  </a:lnTo>
                  <a:lnTo>
                    <a:pt x="39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0"/>
                  </a:lnTo>
                  <a:lnTo>
                    <a:pt x="39" y="80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9" y="33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7" y="15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5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32" y="5"/>
                  </a:lnTo>
                  <a:lnTo>
                    <a:pt x="132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5" y="41"/>
                  </a:lnTo>
                  <a:lnTo>
                    <a:pt x="145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9"/>
                  </a:lnTo>
                  <a:lnTo>
                    <a:pt x="150" y="49"/>
                  </a:lnTo>
                  <a:lnTo>
                    <a:pt x="153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8" y="49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3" y="41"/>
                  </a:lnTo>
                  <a:lnTo>
                    <a:pt x="161" y="41"/>
                  </a:lnTo>
                  <a:lnTo>
                    <a:pt x="163" y="41"/>
                  </a:lnTo>
                  <a:lnTo>
                    <a:pt x="166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41"/>
                  </a:lnTo>
                  <a:lnTo>
                    <a:pt x="173" y="41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1"/>
                  </a:lnTo>
                  <a:lnTo>
                    <a:pt x="176" y="41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7" y="52"/>
                  </a:lnTo>
                  <a:lnTo>
                    <a:pt x="199" y="52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5" y="54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8" y="52"/>
                  </a:lnTo>
                  <a:lnTo>
                    <a:pt x="228" y="52"/>
                  </a:lnTo>
                  <a:lnTo>
                    <a:pt x="230" y="52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6" y="39"/>
                  </a:lnTo>
                  <a:lnTo>
                    <a:pt x="243" y="39"/>
                  </a:lnTo>
                  <a:lnTo>
                    <a:pt x="243" y="39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3"/>
                  </a:lnTo>
                  <a:lnTo>
                    <a:pt x="243" y="33"/>
                  </a:lnTo>
                  <a:lnTo>
                    <a:pt x="243" y="33"/>
                  </a:lnTo>
                  <a:lnTo>
                    <a:pt x="246" y="36"/>
                  </a:lnTo>
                  <a:lnTo>
                    <a:pt x="246" y="33"/>
                  </a:lnTo>
                  <a:lnTo>
                    <a:pt x="249" y="33"/>
                  </a:lnTo>
                  <a:lnTo>
                    <a:pt x="249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51" y="28"/>
                  </a:lnTo>
                  <a:lnTo>
                    <a:pt x="251" y="26"/>
                  </a:lnTo>
                  <a:lnTo>
                    <a:pt x="254" y="26"/>
                  </a:lnTo>
                  <a:lnTo>
                    <a:pt x="254" y="26"/>
                  </a:lnTo>
                  <a:lnTo>
                    <a:pt x="251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7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72" y="26"/>
                  </a:lnTo>
                  <a:lnTo>
                    <a:pt x="272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7" y="28"/>
                  </a:lnTo>
                  <a:lnTo>
                    <a:pt x="277" y="28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5" y="23"/>
                  </a:lnTo>
                  <a:lnTo>
                    <a:pt x="285" y="23"/>
                  </a:lnTo>
                  <a:lnTo>
                    <a:pt x="287" y="23"/>
                  </a:lnTo>
                  <a:lnTo>
                    <a:pt x="287" y="20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93" y="20"/>
                  </a:lnTo>
                  <a:lnTo>
                    <a:pt x="295" y="20"/>
                  </a:lnTo>
                  <a:lnTo>
                    <a:pt x="298" y="20"/>
                  </a:lnTo>
                  <a:lnTo>
                    <a:pt x="300" y="20"/>
                  </a:lnTo>
                  <a:lnTo>
                    <a:pt x="298" y="20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3"/>
                  </a:lnTo>
                  <a:lnTo>
                    <a:pt x="318" y="26"/>
                  </a:lnTo>
                  <a:lnTo>
                    <a:pt x="321" y="26"/>
                  </a:lnTo>
                  <a:lnTo>
                    <a:pt x="321" y="26"/>
                  </a:lnTo>
                  <a:lnTo>
                    <a:pt x="324" y="26"/>
                  </a:lnTo>
                  <a:lnTo>
                    <a:pt x="326" y="28"/>
                  </a:lnTo>
                  <a:lnTo>
                    <a:pt x="329" y="28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4" y="33"/>
                  </a:lnTo>
                  <a:lnTo>
                    <a:pt x="334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9" y="33"/>
                  </a:lnTo>
                  <a:lnTo>
                    <a:pt x="339" y="33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9"/>
                  </a:lnTo>
                  <a:lnTo>
                    <a:pt x="344" y="39"/>
                  </a:lnTo>
                  <a:lnTo>
                    <a:pt x="347" y="39"/>
                  </a:lnTo>
                  <a:lnTo>
                    <a:pt x="347" y="41"/>
                  </a:lnTo>
                  <a:lnTo>
                    <a:pt x="347" y="41"/>
                  </a:lnTo>
                  <a:lnTo>
                    <a:pt x="344" y="41"/>
                  </a:lnTo>
                  <a:lnTo>
                    <a:pt x="344" y="44"/>
                  </a:lnTo>
                  <a:lnTo>
                    <a:pt x="347" y="44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52"/>
                  </a:lnTo>
                  <a:lnTo>
                    <a:pt x="347" y="52"/>
                  </a:lnTo>
                  <a:lnTo>
                    <a:pt x="347" y="52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4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5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91"/>
                  </a:lnTo>
                  <a:lnTo>
                    <a:pt x="349" y="91"/>
                  </a:lnTo>
                  <a:lnTo>
                    <a:pt x="349" y="93"/>
                  </a:lnTo>
                  <a:lnTo>
                    <a:pt x="349" y="96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4" y="103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9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39" y="119"/>
                  </a:lnTo>
                  <a:lnTo>
                    <a:pt x="339" y="122"/>
                  </a:lnTo>
                  <a:lnTo>
                    <a:pt x="339" y="122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7" y="124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4" y="132"/>
                  </a:lnTo>
                  <a:lnTo>
                    <a:pt x="331" y="135"/>
                  </a:lnTo>
                  <a:lnTo>
                    <a:pt x="329" y="135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40"/>
                  </a:lnTo>
                  <a:lnTo>
                    <a:pt x="329" y="142"/>
                  </a:lnTo>
                  <a:lnTo>
                    <a:pt x="329" y="142"/>
                  </a:lnTo>
                  <a:lnTo>
                    <a:pt x="329" y="145"/>
                  </a:lnTo>
                  <a:lnTo>
                    <a:pt x="326" y="145"/>
                  </a:lnTo>
                  <a:lnTo>
                    <a:pt x="326" y="145"/>
                  </a:lnTo>
                  <a:lnTo>
                    <a:pt x="326" y="148"/>
                  </a:lnTo>
                  <a:lnTo>
                    <a:pt x="326" y="148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08" y="142"/>
                  </a:lnTo>
                  <a:lnTo>
                    <a:pt x="308" y="142"/>
                  </a:lnTo>
                  <a:lnTo>
                    <a:pt x="305" y="142"/>
                  </a:lnTo>
                  <a:lnTo>
                    <a:pt x="305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11" y="135"/>
                  </a:lnTo>
                  <a:lnTo>
                    <a:pt x="311" y="129"/>
                  </a:lnTo>
                  <a:lnTo>
                    <a:pt x="308" y="129"/>
                  </a:lnTo>
                  <a:lnTo>
                    <a:pt x="305" y="132"/>
                  </a:lnTo>
                  <a:lnTo>
                    <a:pt x="303" y="132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29"/>
                  </a:lnTo>
                  <a:lnTo>
                    <a:pt x="300" y="127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3" y="114"/>
                  </a:lnTo>
                  <a:lnTo>
                    <a:pt x="293" y="111"/>
                  </a:lnTo>
                  <a:lnTo>
                    <a:pt x="295" y="111"/>
                  </a:lnTo>
                  <a:lnTo>
                    <a:pt x="295" y="109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4"/>
                  </a:lnTo>
                  <a:lnTo>
                    <a:pt x="290" y="114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7" y="111"/>
                  </a:lnTo>
                  <a:lnTo>
                    <a:pt x="285" y="114"/>
                  </a:lnTo>
                  <a:lnTo>
                    <a:pt x="285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0" y="114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77" y="111"/>
                  </a:lnTo>
                  <a:lnTo>
                    <a:pt x="277" y="111"/>
                  </a:lnTo>
                  <a:lnTo>
                    <a:pt x="274" y="111"/>
                  </a:lnTo>
                  <a:lnTo>
                    <a:pt x="274" y="109"/>
                  </a:lnTo>
                  <a:lnTo>
                    <a:pt x="274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4"/>
                  </a:lnTo>
                  <a:lnTo>
                    <a:pt x="269" y="116"/>
                  </a:lnTo>
                  <a:lnTo>
                    <a:pt x="267" y="116"/>
                  </a:lnTo>
                  <a:lnTo>
                    <a:pt x="267" y="119"/>
                  </a:lnTo>
                  <a:lnTo>
                    <a:pt x="267" y="119"/>
                  </a:lnTo>
                  <a:lnTo>
                    <a:pt x="267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72" y="119"/>
                  </a:lnTo>
                  <a:lnTo>
                    <a:pt x="272" y="119"/>
                  </a:lnTo>
                  <a:lnTo>
                    <a:pt x="274" y="119"/>
                  </a:lnTo>
                  <a:lnTo>
                    <a:pt x="274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4" y="127"/>
                  </a:lnTo>
                  <a:lnTo>
                    <a:pt x="274" y="127"/>
                  </a:lnTo>
                  <a:lnTo>
                    <a:pt x="277" y="127"/>
                  </a:lnTo>
                  <a:lnTo>
                    <a:pt x="280" y="127"/>
                  </a:lnTo>
                  <a:lnTo>
                    <a:pt x="280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0" y="132"/>
                  </a:lnTo>
                  <a:lnTo>
                    <a:pt x="280" y="132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82" y="135"/>
                  </a:lnTo>
                  <a:lnTo>
                    <a:pt x="282" y="135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4" y="137"/>
                  </a:lnTo>
                  <a:lnTo>
                    <a:pt x="274" y="135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7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4" y="140"/>
                  </a:lnTo>
                  <a:lnTo>
                    <a:pt x="261" y="142"/>
                  </a:lnTo>
                  <a:lnTo>
                    <a:pt x="259" y="142"/>
                  </a:lnTo>
                  <a:lnTo>
                    <a:pt x="256" y="145"/>
                  </a:lnTo>
                  <a:lnTo>
                    <a:pt x="254" y="145"/>
                  </a:lnTo>
                  <a:lnTo>
                    <a:pt x="251" y="148"/>
                  </a:lnTo>
                  <a:lnTo>
                    <a:pt x="249" y="148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1" y="150"/>
                  </a:lnTo>
                  <a:lnTo>
                    <a:pt x="241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6" y="150"/>
                  </a:lnTo>
                  <a:lnTo>
                    <a:pt x="233" y="150"/>
                  </a:lnTo>
                  <a:lnTo>
                    <a:pt x="233" y="150"/>
                  </a:lnTo>
                  <a:lnTo>
                    <a:pt x="233" y="153"/>
                  </a:lnTo>
                  <a:lnTo>
                    <a:pt x="230" y="153"/>
                  </a:lnTo>
                  <a:lnTo>
                    <a:pt x="230" y="155"/>
                  </a:lnTo>
                  <a:lnTo>
                    <a:pt x="228" y="155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3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17" y="166"/>
                  </a:lnTo>
                  <a:lnTo>
                    <a:pt x="217" y="166"/>
                  </a:lnTo>
                  <a:lnTo>
                    <a:pt x="215" y="163"/>
                  </a:lnTo>
                  <a:lnTo>
                    <a:pt x="210" y="166"/>
                  </a:lnTo>
                  <a:lnTo>
                    <a:pt x="207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2" y="166"/>
                  </a:lnTo>
                  <a:lnTo>
                    <a:pt x="199" y="166"/>
                  </a:lnTo>
                  <a:lnTo>
                    <a:pt x="197" y="163"/>
                  </a:lnTo>
                  <a:lnTo>
                    <a:pt x="199" y="163"/>
                  </a:lnTo>
                  <a:lnTo>
                    <a:pt x="199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6" y="179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1" y="181"/>
                  </a:lnTo>
                  <a:lnTo>
                    <a:pt x="181" y="181"/>
                  </a:lnTo>
                  <a:lnTo>
                    <a:pt x="181" y="184"/>
                  </a:lnTo>
                  <a:lnTo>
                    <a:pt x="179" y="184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6" y="186"/>
                  </a:lnTo>
                  <a:lnTo>
                    <a:pt x="173" y="186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163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58" y="192"/>
                  </a:lnTo>
                  <a:lnTo>
                    <a:pt x="158" y="192"/>
                  </a:lnTo>
                  <a:lnTo>
                    <a:pt x="158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3" y="189"/>
                  </a:lnTo>
                  <a:lnTo>
                    <a:pt x="153" y="192"/>
                  </a:lnTo>
                  <a:lnTo>
                    <a:pt x="153" y="194"/>
                  </a:lnTo>
                  <a:lnTo>
                    <a:pt x="150" y="199"/>
                  </a:lnTo>
                  <a:lnTo>
                    <a:pt x="150" y="202"/>
                  </a:lnTo>
                  <a:lnTo>
                    <a:pt x="148" y="202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7" y="202"/>
                  </a:lnTo>
                  <a:lnTo>
                    <a:pt x="137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7" y="207"/>
                  </a:lnTo>
                  <a:lnTo>
                    <a:pt x="129" y="210"/>
                  </a:lnTo>
                  <a:lnTo>
                    <a:pt x="129" y="212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8"/>
                  </a:lnTo>
                  <a:lnTo>
                    <a:pt x="124" y="218"/>
                  </a:lnTo>
                  <a:lnTo>
                    <a:pt x="124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18"/>
                  </a:lnTo>
                  <a:lnTo>
                    <a:pt x="114" y="218"/>
                  </a:lnTo>
                  <a:lnTo>
                    <a:pt x="111" y="215"/>
                  </a:lnTo>
                  <a:lnTo>
                    <a:pt x="109" y="215"/>
                  </a:lnTo>
                  <a:lnTo>
                    <a:pt x="109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5"/>
                  </a:lnTo>
                  <a:lnTo>
                    <a:pt x="104" y="215"/>
                  </a:lnTo>
                  <a:lnTo>
                    <a:pt x="104" y="218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1" y="215"/>
                  </a:lnTo>
                  <a:lnTo>
                    <a:pt x="101" y="215"/>
                  </a:lnTo>
                  <a:lnTo>
                    <a:pt x="98" y="218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91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85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0" y="223"/>
                  </a:lnTo>
                  <a:lnTo>
                    <a:pt x="78" y="223"/>
                  </a:lnTo>
                  <a:lnTo>
                    <a:pt x="75" y="223"/>
                  </a:lnTo>
                  <a:lnTo>
                    <a:pt x="73" y="223"/>
                  </a:lnTo>
                  <a:lnTo>
                    <a:pt x="73" y="225"/>
                  </a:lnTo>
                  <a:lnTo>
                    <a:pt x="70" y="225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0" y="236"/>
                  </a:lnTo>
                  <a:lnTo>
                    <a:pt x="60" y="236"/>
                  </a:lnTo>
                  <a:lnTo>
                    <a:pt x="60" y="238"/>
                  </a:lnTo>
                  <a:lnTo>
                    <a:pt x="60" y="241"/>
                  </a:lnTo>
                  <a:lnTo>
                    <a:pt x="60" y="241"/>
                  </a:lnTo>
                  <a:lnTo>
                    <a:pt x="60" y="243"/>
                  </a:lnTo>
                  <a:lnTo>
                    <a:pt x="57" y="243"/>
                  </a:lnTo>
                  <a:lnTo>
                    <a:pt x="57" y="243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4"/>
                  </a:lnTo>
                  <a:lnTo>
                    <a:pt x="52" y="254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9"/>
                  </a:lnTo>
                  <a:lnTo>
                    <a:pt x="52" y="259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4" y="251"/>
                  </a:lnTo>
                  <a:lnTo>
                    <a:pt x="44" y="251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1" y="246"/>
                  </a:lnTo>
                  <a:lnTo>
                    <a:pt x="41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36" y="246"/>
                  </a:lnTo>
                  <a:lnTo>
                    <a:pt x="36" y="243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9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4" y="236"/>
                  </a:lnTo>
                  <a:lnTo>
                    <a:pt x="31" y="238"/>
                  </a:lnTo>
                  <a:lnTo>
                    <a:pt x="29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8" y="223"/>
                  </a:lnTo>
                  <a:lnTo>
                    <a:pt x="10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5" y="220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5" y="212"/>
                  </a:lnTo>
                  <a:lnTo>
                    <a:pt x="8" y="212"/>
                  </a:lnTo>
                  <a:lnTo>
                    <a:pt x="8" y="215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8" y="205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3" y="202"/>
                  </a:lnTo>
                  <a:lnTo>
                    <a:pt x="3" y="202"/>
                  </a:lnTo>
                  <a:lnTo>
                    <a:pt x="0" y="202"/>
                  </a:lnTo>
                  <a:lnTo>
                    <a:pt x="0" y="19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0" name="Freeform 170"/>
            <p:cNvSpPr>
              <a:spLocks/>
            </p:cNvSpPr>
            <p:nvPr/>
          </p:nvSpPr>
          <p:spPr bwMode="auto">
            <a:xfrm>
              <a:off x="1424" y="2932"/>
              <a:ext cx="355" cy="262"/>
            </a:xfrm>
            <a:custGeom>
              <a:avLst/>
              <a:gdLst>
                <a:gd name="T0" fmla="*/ 16 w 355"/>
                <a:gd name="T1" fmla="*/ 184 h 262"/>
                <a:gd name="T2" fmla="*/ 29 w 355"/>
                <a:gd name="T3" fmla="*/ 194 h 262"/>
                <a:gd name="T4" fmla="*/ 39 w 355"/>
                <a:gd name="T5" fmla="*/ 181 h 262"/>
                <a:gd name="T6" fmla="*/ 44 w 355"/>
                <a:gd name="T7" fmla="*/ 168 h 262"/>
                <a:gd name="T8" fmla="*/ 41 w 355"/>
                <a:gd name="T9" fmla="*/ 155 h 262"/>
                <a:gd name="T10" fmla="*/ 49 w 355"/>
                <a:gd name="T11" fmla="*/ 150 h 262"/>
                <a:gd name="T12" fmla="*/ 65 w 355"/>
                <a:gd name="T13" fmla="*/ 140 h 262"/>
                <a:gd name="T14" fmla="*/ 85 w 355"/>
                <a:gd name="T15" fmla="*/ 129 h 262"/>
                <a:gd name="T16" fmla="*/ 75 w 355"/>
                <a:gd name="T17" fmla="*/ 114 h 262"/>
                <a:gd name="T18" fmla="*/ 60 w 355"/>
                <a:gd name="T19" fmla="*/ 103 h 262"/>
                <a:gd name="T20" fmla="*/ 47 w 355"/>
                <a:gd name="T21" fmla="*/ 101 h 262"/>
                <a:gd name="T22" fmla="*/ 34 w 355"/>
                <a:gd name="T23" fmla="*/ 85 h 262"/>
                <a:gd name="T24" fmla="*/ 31 w 355"/>
                <a:gd name="T25" fmla="*/ 67 h 262"/>
                <a:gd name="T26" fmla="*/ 34 w 355"/>
                <a:gd name="T27" fmla="*/ 52 h 262"/>
                <a:gd name="T28" fmla="*/ 31 w 355"/>
                <a:gd name="T29" fmla="*/ 41 h 262"/>
                <a:gd name="T30" fmla="*/ 41 w 355"/>
                <a:gd name="T31" fmla="*/ 20 h 262"/>
                <a:gd name="T32" fmla="*/ 65 w 355"/>
                <a:gd name="T33" fmla="*/ 13 h 262"/>
                <a:gd name="T34" fmla="*/ 83 w 355"/>
                <a:gd name="T35" fmla="*/ 8 h 262"/>
                <a:gd name="T36" fmla="*/ 106 w 355"/>
                <a:gd name="T37" fmla="*/ 0 h 262"/>
                <a:gd name="T38" fmla="*/ 122 w 355"/>
                <a:gd name="T39" fmla="*/ 5 h 262"/>
                <a:gd name="T40" fmla="*/ 137 w 355"/>
                <a:gd name="T41" fmla="*/ 10 h 262"/>
                <a:gd name="T42" fmla="*/ 145 w 355"/>
                <a:gd name="T43" fmla="*/ 20 h 262"/>
                <a:gd name="T44" fmla="*/ 145 w 355"/>
                <a:gd name="T45" fmla="*/ 41 h 262"/>
                <a:gd name="T46" fmla="*/ 158 w 355"/>
                <a:gd name="T47" fmla="*/ 46 h 262"/>
                <a:gd name="T48" fmla="*/ 176 w 355"/>
                <a:gd name="T49" fmla="*/ 41 h 262"/>
                <a:gd name="T50" fmla="*/ 192 w 355"/>
                <a:gd name="T51" fmla="*/ 52 h 262"/>
                <a:gd name="T52" fmla="*/ 205 w 355"/>
                <a:gd name="T53" fmla="*/ 54 h 262"/>
                <a:gd name="T54" fmla="*/ 228 w 355"/>
                <a:gd name="T55" fmla="*/ 52 h 262"/>
                <a:gd name="T56" fmla="*/ 243 w 355"/>
                <a:gd name="T57" fmla="*/ 46 h 262"/>
                <a:gd name="T58" fmla="*/ 246 w 355"/>
                <a:gd name="T59" fmla="*/ 36 h 262"/>
                <a:gd name="T60" fmla="*/ 264 w 355"/>
                <a:gd name="T61" fmla="*/ 26 h 262"/>
                <a:gd name="T62" fmla="*/ 282 w 355"/>
                <a:gd name="T63" fmla="*/ 23 h 262"/>
                <a:gd name="T64" fmla="*/ 305 w 355"/>
                <a:gd name="T65" fmla="*/ 20 h 262"/>
                <a:gd name="T66" fmla="*/ 318 w 355"/>
                <a:gd name="T67" fmla="*/ 20 h 262"/>
                <a:gd name="T68" fmla="*/ 347 w 355"/>
                <a:gd name="T69" fmla="*/ 41 h 262"/>
                <a:gd name="T70" fmla="*/ 347 w 355"/>
                <a:gd name="T71" fmla="*/ 59 h 262"/>
                <a:gd name="T72" fmla="*/ 352 w 355"/>
                <a:gd name="T73" fmla="*/ 72 h 262"/>
                <a:gd name="T74" fmla="*/ 349 w 355"/>
                <a:gd name="T75" fmla="*/ 88 h 262"/>
                <a:gd name="T76" fmla="*/ 344 w 355"/>
                <a:gd name="T77" fmla="*/ 106 h 262"/>
                <a:gd name="T78" fmla="*/ 337 w 355"/>
                <a:gd name="T79" fmla="*/ 129 h 262"/>
                <a:gd name="T80" fmla="*/ 318 w 355"/>
                <a:gd name="T81" fmla="*/ 148 h 262"/>
                <a:gd name="T82" fmla="*/ 305 w 355"/>
                <a:gd name="T83" fmla="*/ 132 h 262"/>
                <a:gd name="T84" fmla="*/ 295 w 355"/>
                <a:gd name="T85" fmla="*/ 114 h 262"/>
                <a:gd name="T86" fmla="*/ 280 w 355"/>
                <a:gd name="T87" fmla="*/ 114 h 262"/>
                <a:gd name="T88" fmla="*/ 272 w 355"/>
                <a:gd name="T89" fmla="*/ 119 h 262"/>
                <a:gd name="T90" fmla="*/ 282 w 355"/>
                <a:gd name="T91" fmla="*/ 135 h 262"/>
                <a:gd name="T92" fmla="*/ 246 w 355"/>
                <a:gd name="T93" fmla="*/ 148 h 262"/>
                <a:gd name="T94" fmla="*/ 225 w 355"/>
                <a:gd name="T95" fmla="*/ 158 h 262"/>
                <a:gd name="T96" fmla="*/ 199 w 355"/>
                <a:gd name="T97" fmla="*/ 166 h 262"/>
                <a:gd name="T98" fmla="*/ 184 w 355"/>
                <a:gd name="T99" fmla="*/ 181 h 262"/>
                <a:gd name="T100" fmla="*/ 163 w 355"/>
                <a:gd name="T101" fmla="*/ 186 h 262"/>
                <a:gd name="T102" fmla="*/ 145 w 355"/>
                <a:gd name="T103" fmla="*/ 205 h 262"/>
                <a:gd name="T104" fmla="*/ 127 w 355"/>
                <a:gd name="T105" fmla="*/ 215 h 262"/>
                <a:gd name="T106" fmla="*/ 98 w 355"/>
                <a:gd name="T107" fmla="*/ 218 h 262"/>
                <a:gd name="T108" fmla="*/ 67 w 355"/>
                <a:gd name="T109" fmla="*/ 233 h 262"/>
                <a:gd name="T110" fmla="*/ 52 w 355"/>
                <a:gd name="T111" fmla="*/ 251 h 262"/>
                <a:gd name="T112" fmla="*/ 47 w 355"/>
                <a:gd name="T113" fmla="*/ 256 h 262"/>
                <a:gd name="T114" fmla="*/ 36 w 355"/>
                <a:gd name="T115" fmla="*/ 241 h 262"/>
                <a:gd name="T116" fmla="*/ 21 w 355"/>
                <a:gd name="T117" fmla="*/ 236 h 262"/>
                <a:gd name="T118" fmla="*/ 16 w 355"/>
                <a:gd name="T119" fmla="*/ 233 h 262"/>
                <a:gd name="T120" fmla="*/ 13 w 355"/>
                <a:gd name="T121" fmla="*/ 228 h 262"/>
                <a:gd name="T122" fmla="*/ 8 w 355"/>
                <a:gd name="T123" fmla="*/ 212 h 262"/>
                <a:gd name="T124" fmla="*/ 3 w 355"/>
                <a:gd name="T125" fmla="*/ 20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5" h="262">
                  <a:moveTo>
                    <a:pt x="0" y="199"/>
                  </a:moveTo>
                  <a:lnTo>
                    <a:pt x="3" y="197"/>
                  </a:lnTo>
                  <a:lnTo>
                    <a:pt x="3" y="197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5" y="192"/>
                  </a:lnTo>
                  <a:lnTo>
                    <a:pt x="10" y="189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3" y="197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9" y="192"/>
                  </a:lnTo>
                  <a:lnTo>
                    <a:pt x="29" y="194"/>
                  </a:lnTo>
                  <a:lnTo>
                    <a:pt x="29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6"/>
                  </a:lnTo>
                  <a:lnTo>
                    <a:pt x="36" y="186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4" y="181"/>
                  </a:lnTo>
                  <a:lnTo>
                    <a:pt x="44" y="184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4" y="168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3"/>
                  </a:lnTo>
                  <a:lnTo>
                    <a:pt x="41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1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7" y="158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4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4" y="155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52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2" y="142"/>
                  </a:lnTo>
                  <a:lnTo>
                    <a:pt x="60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7"/>
                  </a:lnTo>
                  <a:lnTo>
                    <a:pt x="70" y="137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0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3" y="127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3" y="124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0" y="111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1" y="101"/>
                  </a:lnTo>
                  <a:lnTo>
                    <a:pt x="41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3"/>
                  </a:lnTo>
                  <a:lnTo>
                    <a:pt x="39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0"/>
                  </a:lnTo>
                  <a:lnTo>
                    <a:pt x="39" y="80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9" y="33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7" y="15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5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32" y="5"/>
                  </a:lnTo>
                  <a:lnTo>
                    <a:pt x="132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5" y="41"/>
                  </a:lnTo>
                  <a:lnTo>
                    <a:pt x="145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9"/>
                  </a:lnTo>
                  <a:lnTo>
                    <a:pt x="150" y="49"/>
                  </a:lnTo>
                  <a:lnTo>
                    <a:pt x="153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8" y="49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3" y="41"/>
                  </a:lnTo>
                  <a:lnTo>
                    <a:pt x="161" y="41"/>
                  </a:lnTo>
                  <a:lnTo>
                    <a:pt x="163" y="41"/>
                  </a:lnTo>
                  <a:lnTo>
                    <a:pt x="166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41"/>
                  </a:lnTo>
                  <a:lnTo>
                    <a:pt x="173" y="41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1"/>
                  </a:lnTo>
                  <a:lnTo>
                    <a:pt x="176" y="41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7" y="52"/>
                  </a:lnTo>
                  <a:lnTo>
                    <a:pt x="199" y="52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5" y="54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8" y="52"/>
                  </a:lnTo>
                  <a:lnTo>
                    <a:pt x="228" y="52"/>
                  </a:lnTo>
                  <a:lnTo>
                    <a:pt x="230" y="52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6" y="39"/>
                  </a:lnTo>
                  <a:lnTo>
                    <a:pt x="243" y="39"/>
                  </a:lnTo>
                  <a:lnTo>
                    <a:pt x="243" y="39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3"/>
                  </a:lnTo>
                  <a:lnTo>
                    <a:pt x="243" y="33"/>
                  </a:lnTo>
                  <a:lnTo>
                    <a:pt x="243" y="33"/>
                  </a:lnTo>
                  <a:lnTo>
                    <a:pt x="246" y="36"/>
                  </a:lnTo>
                  <a:lnTo>
                    <a:pt x="246" y="33"/>
                  </a:lnTo>
                  <a:lnTo>
                    <a:pt x="249" y="33"/>
                  </a:lnTo>
                  <a:lnTo>
                    <a:pt x="249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51" y="28"/>
                  </a:lnTo>
                  <a:lnTo>
                    <a:pt x="251" y="26"/>
                  </a:lnTo>
                  <a:lnTo>
                    <a:pt x="254" y="26"/>
                  </a:lnTo>
                  <a:lnTo>
                    <a:pt x="254" y="26"/>
                  </a:lnTo>
                  <a:lnTo>
                    <a:pt x="251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7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72" y="26"/>
                  </a:lnTo>
                  <a:lnTo>
                    <a:pt x="272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7" y="28"/>
                  </a:lnTo>
                  <a:lnTo>
                    <a:pt x="277" y="28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5" y="23"/>
                  </a:lnTo>
                  <a:lnTo>
                    <a:pt x="285" y="23"/>
                  </a:lnTo>
                  <a:lnTo>
                    <a:pt x="287" y="23"/>
                  </a:lnTo>
                  <a:lnTo>
                    <a:pt x="287" y="20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93" y="20"/>
                  </a:lnTo>
                  <a:lnTo>
                    <a:pt x="295" y="20"/>
                  </a:lnTo>
                  <a:lnTo>
                    <a:pt x="298" y="20"/>
                  </a:lnTo>
                  <a:lnTo>
                    <a:pt x="300" y="20"/>
                  </a:lnTo>
                  <a:lnTo>
                    <a:pt x="298" y="20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3"/>
                  </a:lnTo>
                  <a:lnTo>
                    <a:pt x="318" y="26"/>
                  </a:lnTo>
                  <a:lnTo>
                    <a:pt x="321" y="26"/>
                  </a:lnTo>
                  <a:lnTo>
                    <a:pt x="321" y="26"/>
                  </a:lnTo>
                  <a:lnTo>
                    <a:pt x="324" y="26"/>
                  </a:lnTo>
                  <a:lnTo>
                    <a:pt x="326" y="28"/>
                  </a:lnTo>
                  <a:lnTo>
                    <a:pt x="329" y="28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4" y="33"/>
                  </a:lnTo>
                  <a:lnTo>
                    <a:pt x="334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9" y="33"/>
                  </a:lnTo>
                  <a:lnTo>
                    <a:pt x="339" y="33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9"/>
                  </a:lnTo>
                  <a:lnTo>
                    <a:pt x="344" y="39"/>
                  </a:lnTo>
                  <a:lnTo>
                    <a:pt x="347" y="39"/>
                  </a:lnTo>
                  <a:lnTo>
                    <a:pt x="347" y="41"/>
                  </a:lnTo>
                  <a:lnTo>
                    <a:pt x="347" y="41"/>
                  </a:lnTo>
                  <a:lnTo>
                    <a:pt x="344" y="41"/>
                  </a:lnTo>
                  <a:lnTo>
                    <a:pt x="344" y="44"/>
                  </a:lnTo>
                  <a:lnTo>
                    <a:pt x="347" y="44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52"/>
                  </a:lnTo>
                  <a:lnTo>
                    <a:pt x="347" y="52"/>
                  </a:lnTo>
                  <a:lnTo>
                    <a:pt x="347" y="52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4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5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91"/>
                  </a:lnTo>
                  <a:lnTo>
                    <a:pt x="349" y="91"/>
                  </a:lnTo>
                  <a:lnTo>
                    <a:pt x="349" y="93"/>
                  </a:lnTo>
                  <a:lnTo>
                    <a:pt x="349" y="96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4" y="103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9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39" y="119"/>
                  </a:lnTo>
                  <a:lnTo>
                    <a:pt x="339" y="122"/>
                  </a:lnTo>
                  <a:lnTo>
                    <a:pt x="339" y="122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7" y="124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4" y="132"/>
                  </a:lnTo>
                  <a:lnTo>
                    <a:pt x="331" y="135"/>
                  </a:lnTo>
                  <a:lnTo>
                    <a:pt x="329" y="135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40"/>
                  </a:lnTo>
                  <a:lnTo>
                    <a:pt x="329" y="142"/>
                  </a:lnTo>
                  <a:lnTo>
                    <a:pt x="329" y="142"/>
                  </a:lnTo>
                  <a:lnTo>
                    <a:pt x="329" y="145"/>
                  </a:lnTo>
                  <a:lnTo>
                    <a:pt x="326" y="145"/>
                  </a:lnTo>
                  <a:lnTo>
                    <a:pt x="326" y="145"/>
                  </a:lnTo>
                  <a:lnTo>
                    <a:pt x="326" y="148"/>
                  </a:lnTo>
                  <a:lnTo>
                    <a:pt x="326" y="148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08" y="142"/>
                  </a:lnTo>
                  <a:lnTo>
                    <a:pt x="308" y="142"/>
                  </a:lnTo>
                  <a:lnTo>
                    <a:pt x="305" y="142"/>
                  </a:lnTo>
                  <a:lnTo>
                    <a:pt x="305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11" y="135"/>
                  </a:lnTo>
                  <a:lnTo>
                    <a:pt x="311" y="129"/>
                  </a:lnTo>
                  <a:lnTo>
                    <a:pt x="308" y="129"/>
                  </a:lnTo>
                  <a:lnTo>
                    <a:pt x="305" y="132"/>
                  </a:lnTo>
                  <a:lnTo>
                    <a:pt x="303" y="132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29"/>
                  </a:lnTo>
                  <a:lnTo>
                    <a:pt x="300" y="127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3" y="114"/>
                  </a:lnTo>
                  <a:lnTo>
                    <a:pt x="293" y="111"/>
                  </a:lnTo>
                  <a:lnTo>
                    <a:pt x="295" y="111"/>
                  </a:lnTo>
                  <a:lnTo>
                    <a:pt x="295" y="109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4"/>
                  </a:lnTo>
                  <a:lnTo>
                    <a:pt x="290" y="114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7" y="111"/>
                  </a:lnTo>
                  <a:lnTo>
                    <a:pt x="285" y="114"/>
                  </a:lnTo>
                  <a:lnTo>
                    <a:pt x="285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0" y="114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77" y="111"/>
                  </a:lnTo>
                  <a:lnTo>
                    <a:pt x="277" y="111"/>
                  </a:lnTo>
                  <a:lnTo>
                    <a:pt x="274" y="111"/>
                  </a:lnTo>
                  <a:lnTo>
                    <a:pt x="274" y="109"/>
                  </a:lnTo>
                  <a:lnTo>
                    <a:pt x="274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4"/>
                  </a:lnTo>
                  <a:lnTo>
                    <a:pt x="269" y="116"/>
                  </a:lnTo>
                  <a:lnTo>
                    <a:pt x="267" y="116"/>
                  </a:lnTo>
                  <a:lnTo>
                    <a:pt x="267" y="119"/>
                  </a:lnTo>
                  <a:lnTo>
                    <a:pt x="267" y="119"/>
                  </a:lnTo>
                  <a:lnTo>
                    <a:pt x="267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72" y="119"/>
                  </a:lnTo>
                  <a:lnTo>
                    <a:pt x="272" y="119"/>
                  </a:lnTo>
                  <a:lnTo>
                    <a:pt x="274" y="119"/>
                  </a:lnTo>
                  <a:lnTo>
                    <a:pt x="274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4" y="127"/>
                  </a:lnTo>
                  <a:lnTo>
                    <a:pt x="274" y="127"/>
                  </a:lnTo>
                  <a:lnTo>
                    <a:pt x="277" y="127"/>
                  </a:lnTo>
                  <a:lnTo>
                    <a:pt x="280" y="127"/>
                  </a:lnTo>
                  <a:lnTo>
                    <a:pt x="280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0" y="132"/>
                  </a:lnTo>
                  <a:lnTo>
                    <a:pt x="280" y="132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82" y="135"/>
                  </a:lnTo>
                  <a:lnTo>
                    <a:pt x="282" y="135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4" y="137"/>
                  </a:lnTo>
                  <a:lnTo>
                    <a:pt x="274" y="135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7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4" y="140"/>
                  </a:lnTo>
                  <a:lnTo>
                    <a:pt x="261" y="142"/>
                  </a:lnTo>
                  <a:lnTo>
                    <a:pt x="259" y="142"/>
                  </a:lnTo>
                  <a:lnTo>
                    <a:pt x="256" y="145"/>
                  </a:lnTo>
                  <a:lnTo>
                    <a:pt x="254" y="145"/>
                  </a:lnTo>
                  <a:lnTo>
                    <a:pt x="251" y="148"/>
                  </a:lnTo>
                  <a:lnTo>
                    <a:pt x="249" y="148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1" y="150"/>
                  </a:lnTo>
                  <a:lnTo>
                    <a:pt x="241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6" y="150"/>
                  </a:lnTo>
                  <a:lnTo>
                    <a:pt x="233" y="150"/>
                  </a:lnTo>
                  <a:lnTo>
                    <a:pt x="233" y="150"/>
                  </a:lnTo>
                  <a:lnTo>
                    <a:pt x="233" y="153"/>
                  </a:lnTo>
                  <a:lnTo>
                    <a:pt x="230" y="153"/>
                  </a:lnTo>
                  <a:lnTo>
                    <a:pt x="230" y="155"/>
                  </a:lnTo>
                  <a:lnTo>
                    <a:pt x="228" y="155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3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17" y="166"/>
                  </a:lnTo>
                  <a:lnTo>
                    <a:pt x="217" y="166"/>
                  </a:lnTo>
                  <a:lnTo>
                    <a:pt x="215" y="163"/>
                  </a:lnTo>
                  <a:lnTo>
                    <a:pt x="210" y="166"/>
                  </a:lnTo>
                  <a:lnTo>
                    <a:pt x="207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2" y="166"/>
                  </a:lnTo>
                  <a:lnTo>
                    <a:pt x="199" y="166"/>
                  </a:lnTo>
                  <a:lnTo>
                    <a:pt x="197" y="163"/>
                  </a:lnTo>
                  <a:lnTo>
                    <a:pt x="199" y="163"/>
                  </a:lnTo>
                  <a:lnTo>
                    <a:pt x="199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6" y="179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1" y="181"/>
                  </a:lnTo>
                  <a:lnTo>
                    <a:pt x="181" y="181"/>
                  </a:lnTo>
                  <a:lnTo>
                    <a:pt x="181" y="184"/>
                  </a:lnTo>
                  <a:lnTo>
                    <a:pt x="179" y="184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6" y="186"/>
                  </a:lnTo>
                  <a:lnTo>
                    <a:pt x="173" y="186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163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58" y="192"/>
                  </a:lnTo>
                  <a:lnTo>
                    <a:pt x="158" y="192"/>
                  </a:lnTo>
                  <a:lnTo>
                    <a:pt x="158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3" y="189"/>
                  </a:lnTo>
                  <a:lnTo>
                    <a:pt x="153" y="192"/>
                  </a:lnTo>
                  <a:lnTo>
                    <a:pt x="153" y="194"/>
                  </a:lnTo>
                  <a:lnTo>
                    <a:pt x="150" y="199"/>
                  </a:lnTo>
                  <a:lnTo>
                    <a:pt x="150" y="202"/>
                  </a:lnTo>
                  <a:lnTo>
                    <a:pt x="148" y="202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7" y="202"/>
                  </a:lnTo>
                  <a:lnTo>
                    <a:pt x="137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7" y="207"/>
                  </a:lnTo>
                  <a:lnTo>
                    <a:pt x="129" y="210"/>
                  </a:lnTo>
                  <a:lnTo>
                    <a:pt x="129" y="212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8"/>
                  </a:lnTo>
                  <a:lnTo>
                    <a:pt x="124" y="218"/>
                  </a:lnTo>
                  <a:lnTo>
                    <a:pt x="124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18"/>
                  </a:lnTo>
                  <a:lnTo>
                    <a:pt x="114" y="218"/>
                  </a:lnTo>
                  <a:lnTo>
                    <a:pt x="111" y="215"/>
                  </a:lnTo>
                  <a:lnTo>
                    <a:pt x="109" y="215"/>
                  </a:lnTo>
                  <a:lnTo>
                    <a:pt x="109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5"/>
                  </a:lnTo>
                  <a:lnTo>
                    <a:pt x="104" y="215"/>
                  </a:lnTo>
                  <a:lnTo>
                    <a:pt x="104" y="218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1" y="215"/>
                  </a:lnTo>
                  <a:lnTo>
                    <a:pt x="101" y="215"/>
                  </a:lnTo>
                  <a:lnTo>
                    <a:pt x="98" y="218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91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85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0" y="223"/>
                  </a:lnTo>
                  <a:lnTo>
                    <a:pt x="78" y="223"/>
                  </a:lnTo>
                  <a:lnTo>
                    <a:pt x="75" y="223"/>
                  </a:lnTo>
                  <a:lnTo>
                    <a:pt x="73" y="223"/>
                  </a:lnTo>
                  <a:lnTo>
                    <a:pt x="73" y="225"/>
                  </a:lnTo>
                  <a:lnTo>
                    <a:pt x="70" y="225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0" y="236"/>
                  </a:lnTo>
                  <a:lnTo>
                    <a:pt x="60" y="236"/>
                  </a:lnTo>
                  <a:lnTo>
                    <a:pt x="60" y="238"/>
                  </a:lnTo>
                  <a:lnTo>
                    <a:pt x="60" y="241"/>
                  </a:lnTo>
                  <a:lnTo>
                    <a:pt x="60" y="241"/>
                  </a:lnTo>
                  <a:lnTo>
                    <a:pt x="60" y="243"/>
                  </a:lnTo>
                  <a:lnTo>
                    <a:pt x="57" y="243"/>
                  </a:lnTo>
                  <a:lnTo>
                    <a:pt x="57" y="243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4"/>
                  </a:lnTo>
                  <a:lnTo>
                    <a:pt x="52" y="254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9"/>
                  </a:lnTo>
                  <a:lnTo>
                    <a:pt x="52" y="259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4" y="251"/>
                  </a:lnTo>
                  <a:lnTo>
                    <a:pt x="44" y="251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1" y="246"/>
                  </a:lnTo>
                  <a:lnTo>
                    <a:pt x="41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36" y="246"/>
                  </a:lnTo>
                  <a:lnTo>
                    <a:pt x="36" y="243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9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4" y="236"/>
                  </a:lnTo>
                  <a:lnTo>
                    <a:pt x="31" y="238"/>
                  </a:lnTo>
                  <a:lnTo>
                    <a:pt x="29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8" y="223"/>
                  </a:lnTo>
                  <a:lnTo>
                    <a:pt x="10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5" y="220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5" y="212"/>
                  </a:lnTo>
                  <a:lnTo>
                    <a:pt x="8" y="212"/>
                  </a:lnTo>
                  <a:lnTo>
                    <a:pt x="8" y="215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8" y="205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3" y="202"/>
                  </a:lnTo>
                  <a:lnTo>
                    <a:pt x="3" y="202"/>
                  </a:lnTo>
                  <a:lnTo>
                    <a:pt x="0" y="202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1" name="Freeform 171"/>
            <p:cNvSpPr>
              <a:spLocks/>
            </p:cNvSpPr>
            <p:nvPr/>
          </p:nvSpPr>
          <p:spPr bwMode="auto">
            <a:xfrm>
              <a:off x="1424" y="2932"/>
              <a:ext cx="355" cy="262"/>
            </a:xfrm>
            <a:custGeom>
              <a:avLst/>
              <a:gdLst>
                <a:gd name="T0" fmla="*/ 16 w 355"/>
                <a:gd name="T1" fmla="*/ 184 h 262"/>
                <a:gd name="T2" fmla="*/ 29 w 355"/>
                <a:gd name="T3" fmla="*/ 194 h 262"/>
                <a:gd name="T4" fmla="*/ 39 w 355"/>
                <a:gd name="T5" fmla="*/ 181 h 262"/>
                <a:gd name="T6" fmla="*/ 44 w 355"/>
                <a:gd name="T7" fmla="*/ 168 h 262"/>
                <a:gd name="T8" fmla="*/ 41 w 355"/>
                <a:gd name="T9" fmla="*/ 155 h 262"/>
                <a:gd name="T10" fmla="*/ 49 w 355"/>
                <a:gd name="T11" fmla="*/ 150 h 262"/>
                <a:gd name="T12" fmla="*/ 65 w 355"/>
                <a:gd name="T13" fmla="*/ 140 h 262"/>
                <a:gd name="T14" fmla="*/ 85 w 355"/>
                <a:gd name="T15" fmla="*/ 129 h 262"/>
                <a:gd name="T16" fmla="*/ 75 w 355"/>
                <a:gd name="T17" fmla="*/ 114 h 262"/>
                <a:gd name="T18" fmla="*/ 60 w 355"/>
                <a:gd name="T19" fmla="*/ 103 h 262"/>
                <a:gd name="T20" fmla="*/ 47 w 355"/>
                <a:gd name="T21" fmla="*/ 101 h 262"/>
                <a:gd name="T22" fmla="*/ 34 w 355"/>
                <a:gd name="T23" fmla="*/ 85 h 262"/>
                <a:gd name="T24" fmla="*/ 31 w 355"/>
                <a:gd name="T25" fmla="*/ 67 h 262"/>
                <a:gd name="T26" fmla="*/ 34 w 355"/>
                <a:gd name="T27" fmla="*/ 52 h 262"/>
                <a:gd name="T28" fmla="*/ 31 w 355"/>
                <a:gd name="T29" fmla="*/ 41 h 262"/>
                <a:gd name="T30" fmla="*/ 41 w 355"/>
                <a:gd name="T31" fmla="*/ 20 h 262"/>
                <a:gd name="T32" fmla="*/ 65 w 355"/>
                <a:gd name="T33" fmla="*/ 13 h 262"/>
                <a:gd name="T34" fmla="*/ 83 w 355"/>
                <a:gd name="T35" fmla="*/ 8 h 262"/>
                <a:gd name="T36" fmla="*/ 106 w 355"/>
                <a:gd name="T37" fmla="*/ 0 h 262"/>
                <a:gd name="T38" fmla="*/ 122 w 355"/>
                <a:gd name="T39" fmla="*/ 5 h 262"/>
                <a:gd name="T40" fmla="*/ 137 w 355"/>
                <a:gd name="T41" fmla="*/ 10 h 262"/>
                <a:gd name="T42" fmla="*/ 145 w 355"/>
                <a:gd name="T43" fmla="*/ 20 h 262"/>
                <a:gd name="T44" fmla="*/ 145 w 355"/>
                <a:gd name="T45" fmla="*/ 41 h 262"/>
                <a:gd name="T46" fmla="*/ 158 w 355"/>
                <a:gd name="T47" fmla="*/ 46 h 262"/>
                <a:gd name="T48" fmla="*/ 176 w 355"/>
                <a:gd name="T49" fmla="*/ 41 h 262"/>
                <a:gd name="T50" fmla="*/ 192 w 355"/>
                <a:gd name="T51" fmla="*/ 52 h 262"/>
                <a:gd name="T52" fmla="*/ 205 w 355"/>
                <a:gd name="T53" fmla="*/ 54 h 262"/>
                <a:gd name="T54" fmla="*/ 228 w 355"/>
                <a:gd name="T55" fmla="*/ 52 h 262"/>
                <a:gd name="T56" fmla="*/ 243 w 355"/>
                <a:gd name="T57" fmla="*/ 46 h 262"/>
                <a:gd name="T58" fmla="*/ 246 w 355"/>
                <a:gd name="T59" fmla="*/ 36 h 262"/>
                <a:gd name="T60" fmla="*/ 264 w 355"/>
                <a:gd name="T61" fmla="*/ 26 h 262"/>
                <a:gd name="T62" fmla="*/ 282 w 355"/>
                <a:gd name="T63" fmla="*/ 23 h 262"/>
                <a:gd name="T64" fmla="*/ 305 w 355"/>
                <a:gd name="T65" fmla="*/ 20 h 262"/>
                <a:gd name="T66" fmla="*/ 318 w 355"/>
                <a:gd name="T67" fmla="*/ 20 h 262"/>
                <a:gd name="T68" fmla="*/ 347 w 355"/>
                <a:gd name="T69" fmla="*/ 41 h 262"/>
                <a:gd name="T70" fmla="*/ 347 w 355"/>
                <a:gd name="T71" fmla="*/ 59 h 262"/>
                <a:gd name="T72" fmla="*/ 352 w 355"/>
                <a:gd name="T73" fmla="*/ 72 h 262"/>
                <a:gd name="T74" fmla="*/ 349 w 355"/>
                <a:gd name="T75" fmla="*/ 88 h 262"/>
                <a:gd name="T76" fmla="*/ 344 w 355"/>
                <a:gd name="T77" fmla="*/ 106 h 262"/>
                <a:gd name="T78" fmla="*/ 337 w 355"/>
                <a:gd name="T79" fmla="*/ 129 h 262"/>
                <a:gd name="T80" fmla="*/ 318 w 355"/>
                <a:gd name="T81" fmla="*/ 148 h 262"/>
                <a:gd name="T82" fmla="*/ 305 w 355"/>
                <a:gd name="T83" fmla="*/ 132 h 262"/>
                <a:gd name="T84" fmla="*/ 295 w 355"/>
                <a:gd name="T85" fmla="*/ 114 h 262"/>
                <a:gd name="T86" fmla="*/ 280 w 355"/>
                <a:gd name="T87" fmla="*/ 114 h 262"/>
                <a:gd name="T88" fmla="*/ 272 w 355"/>
                <a:gd name="T89" fmla="*/ 119 h 262"/>
                <a:gd name="T90" fmla="*/ 282 w 355"/>
                <a:gd name="T91" fmla="*/ 135 h 262"/>
                <a:gd name="T92" fmla="*/ 246 w 355"/>
                <a:gd name="T93" fmla="*/ 148 h 262"/>
                <a:gd name="T94" fmla="*/ 225 w 355"/>
                <a:gd name="T95" fmla="*/ 158 h 262"/>
                <a:gd name="T96" fmla="*/ 199 w 355"/>
                <a:gd name="T97" fmla="*/ 166 h 262"/>
                <a:gd name="T98" fmla="*/ 184 w 355"/>
                <a:gd name="T99" fmla="*/ 181 h 262"/>
                <a:gd name="T100" fmla="*/ 163 w 355"/>
                <a:gd name="T101" fmla="*/ 186 h 262"/>
                <a:gd name="T102" fmla="*/ 145 w 355"/>
                <a:gd name="T103" fmla="*/ 205 h 262"/>
                <a:gd name="T104" fmla="*/ 127 w 355"/>
                <a:gd name="T105" fmla="*/ 215 h 262"/>
                <a:gd name="T106" fmla="*/ 98 w 355"/>
                <a:gd name="T107" fmla="*/ 218 h 262"/>
                <a:gd name="T108" fmla="*/ 67 w 355"/>
                <a:gd name="T109" fmla="*/ 233 h 262"/>
                <a:gd name="T110" fmla="*/ 52 w 355"/>
                <a:gd name="T111" fmla="*/ 251 h 262"/>
                <a:gd name="T112" fmla="*/ 47 w 355"/>
                <a:gd name="T113" fmla="*/ 256 h 262"/>
                <a:gd name="T114" fmla="*/ 36 w 355"/>
                <a:gd name="T115" fmla="*/ 241 h 262"/>
                <a:gd name="T116" fmla="*/ 21 w 355"/>
                <a:gd name="T117" fmla="*/ 236 h 262"/>
                <a:gd name="T118" fmla="*/ 16 w 355"/>
                <a:gd name="T119" fmla="*/ 233 h 262"/>
                <a:gd name="T120" fmla="*/ 13 w 355"/>
                <a:gd name="T121" fmla="*/ 228 h 262"/>
                <a:gd name="T122" fmla="*/ 8 w 355"/>
                <a:gd name="T123" fmla="*/ 212 h 262"/>
                <a:gd name="T124" fmla="*/ 3 w 355"/>
                <a:gd name="T125" fmla="*/ 20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5" h="262">
                  <a:moveTo>
                    <a:pt x="0" y="199"/>
                  </a:moveTo>
                  <a:lnTo>
                    <a:pt x="3" y="197"/>
                  </a:lnTo>
                  <a:lnTo>
                    <a:pt x="3" y="197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8" y="194"/>
                  </a:lnTo>
                  <a:lnTo>
                    <a:pt x="5" y="192"/>
                  </a:lnTo>
                  <a:lnTo>
                    <a:pt x="10" y="189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3" y="197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9" y="192"/>
                  </a:lnTo>
                  <a:lnTo>
                    <a:pt x="29" y="194"/>
                  </a:lnTo>
                  <a:lnTo>
                    <a:pt x="29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6"/>
                  </a:lnTo>
                  <a:lnTo>
                    <a:pt x="36" y="186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4" y="181"/>
                  </a:lnTo>
                  <a:lnTo>
                    <a:pt x="44" y="184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4" y="171"/>
                  </a:lnTo>
                  <a:lnTo>
                    <a:pt x="44" y="171"/>
                  </a:lnTo>
                  <a:lnTo>
                    <a:pt x="44" y="168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3"/>
                  </a:lnTo>
                  <a:lnTo>
                    <a:pt x="41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1"/>
                  </a:lnTo>
                  <a:lnTo>
                    <a:pt x="41" y="158"/>
                  </a:lnTo>
                  <a:lnTo>
                    <a:pt x="41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7" y="158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4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4" y="155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52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2" y="142"/>
                  </a:lnTo>
                  <a:lnTo>
                    <a:pt x="60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7" y="137"/>
                  </a:lnTo>
                  <a:lnTo>
                    <a:pt x="70" y="137"/>
                  </a:lnTo>
                  <a:lnTo>
                    <a:pt x="70" y="137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0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8" y="135"/>
                  </a:lnTo>
                  <a:lnTo>
                    <a:pt x="88" y="132"/>
                  </a:lnTo>
                  <a:lnTo>
                    <a:pt x="88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3" y="127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3" y="124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6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0" y="111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9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1" y="101"/>
                  </a:lnTo>
                  <a:lnTo>
                    <a:pt x="41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3"/>
                  </a:lnTo>
                  <a:lnTo>
                    <a:pt x="39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0"/>
                  </a:lnTo>
                  <a:lnTo>
                    <a:pt x="39" y="80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5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9" y="33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7" y="15"/>
                  </a:lnTo>
                  <a:lnTo>
                    <a:pt x="60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5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8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32" y="5"/>
                  </a:lnTo>
                  <a:lnTo>
                    <a:pt x="132" y="8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5" y="41"/>
                  </a:lnTo>
                  <a:lnTo>
                    <a:pt x="145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9"/>
                  </a:lnTo>
                  <a:lnTo>
                    <a:pt x="150" y="49"/>
                  </a:lnTo>
                  <a:lnTo>
                    <a:pt x="153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8" y="49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3" y="41"/>
                  </a:lnTo>
                  <a:lnTo>
                    <a:pt x="161" y="41"/>
                  </a:lnTo>
                  <a:lnTo>
                    <a:pt x="163" y="41"/>
                  </a:lnTo>
                  <a:lnTo>
                    <a:pt x="166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39"/>
                  </a:lnTo>
                  <a:lnTo>
                    <a:pt x="171" y="41"/>
                  </a:lnTo>
                  <a:lnTo>
                    <a:pt x="173" y="41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1"/>
                  </a:lnTo>
                  <a:lnTo>
                    <a:pt x="176" y="41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9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2" y="52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7" y="52"/>
                  </a:lnTo>
                  <a:lnTo>
                    <a:pt x="199" y="52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5" y="54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17" y="52"/>
                  </a:lnTo>
                  <a:lnTo>
                    <a:pt x="220" y="52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8" y="52"/>
                  </a:lnTo>
                  <a:lnTo>
                    <a:pt x="228" y="52"/>
                  </a:lnTo>
                  <a:lnTo>
                    <a:pt x="230" y="52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36" y="49"/>
                  </a:lnTo>
                  <a:lnTo>
                    <a:pt x="236" y="49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6" y="39"/>
                  </a:lnTo>
                  <a:lnTo>
                    <a:pt x="243" y="39"/>
                  </a:lnTo>
                  <a:lnTo>
                    <a:pt x="243" y="39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3"/>
                  </a:lnTo>
                  <a:lnTo>
                    <a:pt x="243" y="33"/>
                  </a:lnTo>
                  <a:lnTo>
                    <a:pt x="243" y="33"/>
                  </a:lnTo>
                  <a:lnTo>
                    <a:pt x="246" y="36"/>
                  </a:lnTo>
                  <a:lnTo>
                    <a:pt x="246" y="33"/>
                  </a:lnTo>
                  <a:lnTo>
                    <a:pt x="249" y="33"/>
                  </a:lnTo>
                  <a:lnTo>
                    <a:pt x="249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51" y="28"/>
                  </a:lnTo>
                  <a:lnTo>
                    <a:pt x="251" y="26"/>
                  </a:lnTo>
                  <a:lnTo>
                    <a:pt x="254" y="26"/>
                  </a:lnTo>
                  <a:lnTo>
                    <a:pt x="254" y="26"/>
                  </a:lnTo>
                  <a:lnTo>
                    <a:pt x="251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4" y="26"/>
                  </a:lnTo>
                  <a:lnTo>
                    <a:pt x="267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72" y="26"/>
                  </a:lnTo>
                  <a:lnTo>
                    <a:pt x="272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7" y="28"/>
                  </a:lnTo>
                  <a:lnTo>
                    <a:pt x="277" y="28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80" y="26"/>
                  </a:lnTo>
                  <a:lnTo>
                    <a:pt x="280" y="26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5" y="23"/>
                  </a:lnTo>
                  <a:lnTo>
                    <a:pt x="285" y="23"/>
                  </a:lnTo>
                  <a:lnTo>
                    <a:pt x="287" y="23"/>
                  </a:lnTo>
                  <a:lnTo>
                    <a:pt x="287" y="20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93" y="20"/>
                  </a:lnTo>
                  <a:lnTo>
                    <a:pt x="295" y="20"/>
                  </a:lnTo>
                  <a:lnTo>
                    <a:pt x="298" y="20"/>
                  </a:lnTo>
                  <a:lnTo>
                    <a:pt x="300" y="20"/>
                  </a:lnTo>
                  <a:lnTo>
                    <a:pt x="298" y="20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0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23"/>
                  </a:lnTo>
                  <a:lnTo>
                    <a:pt x="318" y="26"/>
                  </a:lnTo>
                  <a:lnTo>
                    <a:pt x="321" y="26"/>
                  </a:lnTo>
                  <a:lnTo>
                    <a:pt x="321" y="26"/>
                  </a:lnTo>
                  <a:lnTo>
                    <a:pt x="324" y="26"/>
                  </a:lnTo>
                  <a:lnTo>
                    <a:pt x="326" y="28"/>
                  </a:lnTo>
                  <a:lnTo>
                    <a:pt x="329" y="28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4" y="33"/>
                  </a:lnTo>
                  <a:lnTo>
                    <a:pt x="334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9" y="33"/>
                  </a:lnTo>
                  <a:lnTo>
                    <a:pt x="339" y="33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2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6"/>
                  </a:lnTo>
                  <a:lnTo>
                    <a:pt x="344" y="39"/>
                  </a:lnTo>
                  <a:lnTo>
                    <a:pt x="344" y="39"/>
                  </a:lnTo>
                  <a:lnTo>
                    <a:pt x="347" y="39"/>
                  </a:lnTo>
                  <a:lnTo>
                    <a:pt x="347" y="41"/>
                  </a:lnTo>
                  <a:lnTo>
                    <a:pt x="347" y="41"/>
                  </a:lnTo>
                  <a:lnTo>
                    <a:pt x="344" y="41"/>
                  </a:lnTo>
                  <a:lnTo>
                    <a:pt x="344" y="44"/>
                  </a:lnTo>
                  <a:lnTo>
                    <a:pt x="347" y="44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6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49"/>
                  </a:lnTo>
                  <a:lnTo>
                    <a:pt x="344" y="52"/>
                  </a:lnTo>
                  <a:lnTo>
                    <a:pt x="347" y="52"/>
                  </a:lnTo>
                  <a:lnTo>
                    <a:pt x="347" y="52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7" y="54"/>
                  </a:lnTo>
                  <a:lnTo>
                    <a:pt x="344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2" y="67"/>
                  </a:lnTo>
                  <a:lnTo>
                    <a:pt x="352" y="67"/>
                  </a:lnTo>
                  <a:lnTo>
                    <a:pt x="352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5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5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0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3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5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91"/>
                  </a:lnTo>
                  <a:lnTo>
                    <a:pt x="349" y="91"/>
                  </a:lnTo>
                  <a:lnTo>
                    <a:pt x="349" y="93"/>
                  </a:lnTo>
                  <a:lnTo>
                    <a:pt x="349" y="96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98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4" y="103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6"/>
                  </a:lnTo>
                  <a:lnTo>
                    <a:pt x="344" y="109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42" y="116"/>
                  </a:lnTo>
                  <a:lnTo>
                    <a:pt x="339" y="119"/>
                  </a:lnTo>
                  <a:lnTo>
                    <a:pt x="339" y="122"/>
                  </a:lnTo>
                  <a:lnTo>
                    <a:pt x="339" y="122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7" y="124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4" y="132"/>
                  </a:lnTo>
                  <a:lnTo>
                    <a:pt x="331" y="135"/>
                  </a:lnTo>
                  <a:lnTo>
                    <a:pt x="329" y="135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40"/>
                  </a:lnTo>
                  <a:lnTo>
                    <a:pt x="329" y="142"/>
                  </a:lnTo>
                  <a:lnTo>
                    <a:pt x="329" y="142"/>
                  </a:lnTo>
                  <a:lnTo>
                    <a:pt x="329" y="145"/>
                  </a:lnTo>
                  <a:lnTo>
                    <a:pt x="326" y="145"/>
                  </a:lnTo>
                  <a:lnTo>
                    <a:pt x="326" y="145"/>
                  </a:lnTo>
                  <a:lnTo>
                    <a:pt x="326" y="148"/>
                  </a:lnTo>
                  <a:lnTo>
                    <a:pt x="326" y="148"/>
                  </a:lnTo>
                  <a:lnTo>
                    <a:pt x="324" y="148"/>
                  </a:lnTo>
                  <a:lnTo>
                    <a:pt x="324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21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8" y="148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6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3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11" y="145"/>
                  </a:lnTo>
                  <a:lnTo>
                    <a:pt x="308" y="142"/>
                  </a:lnTo>
                  <a:lnTo>
                    <a:pt x="308" y="142"/>
                  </a:lnTo>
                  <a:lnTo>
                    <a:pt x="305" y="142"/>
                  </a:lnTo>
                  <a:lnTo>
                    <a:pt x="305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11" y="135"/>
                  </a:lnTo>
                  <a:lnTo>
                    <a:pt x="311" y="129"/>
                  </a:lnTo>
                  <a:lnTo>
                    <a:pt x="308" y="129"/>
                  </a:lnTo>
                  <a:lnTo>
                    <a:pt x="305" y="132"/>
                  </a:lnTo>
                  <a:lnTo>
                    <a:pt x="303" y="132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29"/>
                  </a:lnTo>
                  <a:lnTo>
                    <a:pt x="300" y="127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5" y="114"/>
                  </a:lnTo>
                  <a:lnTo>
                    <a:pt x="293" y="114"/>
                  </a:lnTo>
                  <a:lnTo>
                    <a:pt x="293" y="111"/>
                  </a:lnTo>
                  <a:lnTo>
                    <a:pt x="295" y="111"/>
                  </a:lnTo>
                  <a:lnTo>
                    <a:pt x="295" y="109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3" y="114"/>
                  </a:lnTo>
                  <a:lnTo>
                    <a:pt x="290" y="114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7" y="111"/>
                  </a:lnTo>
                  <a:lnTo>
                    <a:pt x="285" y="114"/>
                  </a:lnTo>
                  <a:lnTo>
                    <a:pt x="285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0" y="114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80" y="111"/>
                  </a:lnTo>
                  <a:lnTo>
                    <a:pt x="277" y="111"/>
                  </a:lnTo>
                  <a:lnTo>
                    <a:pt x="277" y="111"/>
                  </a:lnTo>
                  <a:lnTo>
                    <a:pt x="274" y="111"/>
                  </a:lnTo>
                  <a:lnTo>
                    <a:pt x="274" y="109"/>
                  </a:lnTo>
                  <a:lnTo>
                    <a:pt x="274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72" y="109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1"/>
                  </a:lnTo>
                  <a:lnTo>
                    <a:pt x="269" y="114"/>
                  </a:lnTo>
                  <a:lnTo>
                    <a:pt x="269" y="116"/>
                  </a:lnTo>
                  <a:lnTo>
                    <a:pt x="267" y="116"/>
                  </a:lnTo>
                  <a:lnTo>
                    <a:pt x="267" y="119"/>
                  </a:lnTo>
                  <a:lnTo>
                    <a:pt x="267" y="119"/>
                  </a:lnTo>
                  <a:lnTo>
                    <a:pt x="267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72" y="119"/>
                  </a:lnTo>
                  <a:lnTo>
                    <a:pt x="272" y="119"/>
                  </a:lnTo>
                  <a:lnTo>
                    <a:pt x="274" y="119"/>
                  </a:lnTo>
                  <a:lnTo>
                    <a:pt x="274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4" y="127"/>
                  </a:lnTo>
                  <a:lnTo>
                    <a:pt x="274" y="127"/>
                  </a:lnTo>
                  <a:lnTo>
                    <a:pt x="277" y="127"/>
                  </a:lnTo>
                  <a:lnTo>
                    <a:pt x="280" y="127"/>
                  </a:lnTo>
                  <a:lnTo>
                    <a:pt x="280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0" y="132"/>
                  </a:lnTo>
                  <a:lnTo>
                    <a:pt x="280" y="132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82" y="135"/>
                  </a:lnTo>
                  <a:lnTo>
                    <a:pt x="282" y="135"/>
                  </a:lnTo>
                  <a:lnTo>
                    <a:pt x="280" y="135"/>
                  </a:lnTo>
                  <a:lnTo>
                    <a:pt x="280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7" y="135"/>
                  </a:lnTo>
                  <a:lnTo>
                    <a:pt x="274" y="137"/>
                  </a:lnTo>
                  <a:lnTo>
                    <a:pt x="274" y="135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7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4" y="140"/>
                  </a:lnTo>
                  <a:lnTo>
                    <a:pt x="261" y="142"/>
                  </a:lnTo>
                  <a:lnTo>
                    <a:pt x="259" y="142"/>
                  </a:lnTo>
                  <a:lnTo>
                    <a:pt x="256" y="145"/>
                  </a:lnTo>
                  <a:lnTo>
                    <a:pt x="254" y="145"/>
                  </a:lnTo>
                  <a:lnTo>
                    <a:pt x="251" y="148"/>
                  </a:lnTo>
                  <a:lnTo>
                    <a:pt x="249" y="148"/>
                  </a:lnTo>
                  <a:lnTo>
                    <a:pt x="246" y="148"/>
                  </a:lnTo>
                  <a:lnTo>
                    <a:pt x="246" y="148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6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1" y="150"/>
                  </a:lnTo>
                  <a:lnTo>
                    <a:pt x="241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8" y="150"/>
                  </a:lnTo>
                  <a:lnTo>
                    <a:pt x="236" y="150"/>
                  </a:lnTo>
                  <a:lnTo>
                    <a:pt x="233" y="150"/>
                  </a:lnTo>
                  <a:lnTo>
                    <a:pt x="233" y="150"/>
                  </a:lnTo>
                  <a:lnTo>
                    <a:pt x="233" y="153"/>
                  </a:lnTo>
                  <a:lnTo>
                    <a:pt x="230" y="153"/>
                  </a:lnTo>
                  <a:lnTo>
                    <a:pt x="230" y="155"/>
                  </a:lnTo>
                  <a:lnTo>
                    <a:pt x="228" y="155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1"/>
                  </a:lnTo>
                  <a:lnTo>
                    <a:pt x="225" y="163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17" y="166"/>
                  </a:lnTo>
                  <a:lnTo>
                    <a:pt x="217" y="166"/>
                  </a:lnTo>
                  <a:lnTo>
                    <a:pt x="215" y="163"/>
                  </a:lnTo>
                  <a:lnTo>
                    <a:pt x="210" y="166"/>
                  </a:lnTo>
                  <a:lnTo>
                    <a:pt x="207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5" y="166"/>
                  </a:lnTo>
                  <a:lnTo>
                    <a:pt x="202" y="166"/>
                  </a:lnTo>
                  <a:lnTo>
                    <a:pt x="199" y="166"/>
                  </a:lnTo>
                  <a:lnTo>
                    <a:pt x="197" y="163"/>
                  </a:lnTo>
                  <a:lnTo>
                    <a:pt x="199" y="163"/>
                  </a:lnTo>
                  <a:lnTo>
                    <a:pt x="199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89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6"/>
                  </a:lnTo>
                  <a:lnTo>
                    <a:pt x="186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86" y="179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4" y="181"/>
                  </a:lnTo>
                  <a:lnTo>
                    <a:pt x="181" y="181"/>
                  </a:lnTo>
                  <a:lnTo>
                    <a:pt x="181" y="181"/>
                  </a:lnTo>
                  <a:lnTo>
                    <a:pt x="181" y="184"/>
                  </a:lnTo>
                  <a:lnTo>
                    <a:pt x="179" y="184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6" y="186"/>
                  </a:lnTo>
                  <a:lnTo>
                    <a:pt x="173" y="186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6"/>
                  </a:lnTo>
                  <a:lnTo>
                    <a:pt x="163" y="189"/>
                  </a:lnTo>
                  <a:lnTo>
                    <a:pt x="163" y="189"/>
                  </a:lnTo>
                  <a:lnTo>
                    <a:pt x="163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61" y="192"/>
                  </a:lnTo>
                  <a:lnTo>
                    <a:pt x="158" y="192"/>
                  </a:lnTo>
                  <a:lnTo>
                    <a:pt x="158" y="192"/>
                  </a:lnTo>
                  <a:lnTo>
                    <a:pt x="158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3" y="189"/>
                  </a:lnTo>
                  <a:lnTo>
                    <a:pt x="153" y="192"/>
                  </a:lnTo>
                  <a:lnTo>
                    <a:pt x="153" y="194"/>
                  </a:lnTo>
                  <a:lnTo>
                    <a:pt x="150" y="199"/>
                  </a:lnTo>
                  <a:lnTo>
                    <a:pt x="150" y="202"/>
                  </a:lnTo>
                  <a:lnTo>
                    <a:pt x="148" y="202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5" y="205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7" y="202"/>
                  </a:lnTo>
                  <a:lnTo>
                    <a:pt x="137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7" y="207"/>
                  </a:lnTo>
                  <a:lnTo>
                    <a:pt x="129" y="210"/>
                  </a:lnTo>
                  <a:lnTo>
                    <a:pt x="129" y="212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5"/>
                  </a:lnTo>
                  <a:lnTo>
                    <a:pt x="127" y="218"/>
                  </a:lnTo>
                  <a:lnTo>
                    <a:pt x="124" y="218"/>
                  </a:lnTo>
                  <a:lnTo>
                    <a:pt x="124" y="220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18"/>
                  </a:lnTo>
                  <a:lnTo>
                    <a:pt x="114" y="218"/>
                  </a:lnTo>
                  <a:lnTo>
                    <a:pt x="111" y="215"/>
                  </a:lnTo>
                  <a:lnTo>
                    <a:pt x="109" y="215"/>
                  </a:lnTo>
                  <a:lnTo>
                    <a:pt x="109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5"/>
                  </a:lnTo>
                  <a:lnTo>
                    <a:pt x="104" y="215"/>
                  </a:lnTo>
                  <a:lnTo>
                    <a:pt x="104" y="218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1" y="215"/>
                  </a:lnTo>
                  <a:lnTo>
                    <a:pt x="101" y="215"/>
                  </a:lnTo>
                  <a:lnTo>
                    <a:pt x="98" y="218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91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85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0" y="223"/>
                  </a:lnTo>
                  <a:lnTo>
                    <a:pt x="78" y="223"/>
                  </a:lnTo>
                  <a:lnTo>
                    <a:pt x="75" y="223"/>
                  </a:lnTo>
                  <a:lnTo>
                    <a:pt x="73" y="223"/>
                  </a:lnTo>
                  <a:lnTo>
                    <a:pt x="73" y="225"/>
                  </a:lnTo>
                  <a:lnTo>
                    <a:pt x="70" y="225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0" y="236"/>
                  </a:lnTo>
                  <a:lnTo>
                    <a:pt x="60" y="236"/>
                  </a:lnTo>
                  <a:lnTo>
                    <a:pt x="60" y="238"/>
                  </a:lnTo>
                  <a:lnTo>
                    <a:pt x="60" y="241"/>
                  </a:lnTo>
                  <a:lnTo>
                    <a:pt x="60" y="241"/>
                  </a:lnTo>
                  <a:lnTo>
                    <a:pt x="60" y="243"/>
                  </a:lnTo>
                  <a:lnTo>
                    <a:pt x="57" y="243"/>
                  </a:lnTo>
                  <a:lnTo>
                    <a:pt x="57" y="243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4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1"/>
                  </a:lnTo>
                  <a:lnTo>
                    <a:pt x="52" y="254"/>
                  </a:lnTo>
                  <a:lnTo>
                    <a:pt x="52" y="254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9"/>
                  </a:lnTo>
                  <a:lnTo>
                    <a:pt x="52" y="259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4" y="251"/>
                  </a:lnTo>
                  <a:lnTo>
                    <a:pt x="44" y="251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1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1" y="246"/>
                  </a:lnTo>
                  <a:lnTo>
                    <a:pt x="41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36" y="246"/>
                  </a:lnTo>
                  <a:lnTo>
                    <a:pt x="36" y="243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9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4" y="236"/>
                  </a:lnTo>
                  <a:lnTo>
                    <a:pt x="31" y="238"/>
                  </a:lnTo>
                  <a:lnTo>
                    <a:pt x="29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6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0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10" y="223"/>
                  </a:lnTo>
                  <a:lnTo>
                    <a:pt x="8" y="223"/>
                  </a:lnTo>
                  <a:lnTo>
                    <a:pt x="10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8" y="220"/>
                  </a:lnTo>
                  <a:lnTo>
                    <a:pt x="5" y="220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5" y="212"/>
                  </a:lnTo>
                  <a:lnTo>
                    <a:pt x="8" y="212"/>
                  </a:lnTo>
                  <a:lnTo>
                    <a:pt x="8" y="215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2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7"/>
                  </a:lnTo>
                  <a:lnTo>
                    <a:pt x="10" y="207"/>
                  </a:lnTo>
                  <a:lnTo>
                    <a:pt x="8" y="205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5" y="202"/>
                  </a:lnTo>
                  <a:lnTo>
                    <a:pt x="3" y="202"/>
                  </a:lnTo>
                  <a:lnTo>
                    <a:pt x="3" y="202"/>
                  </a:lnTo>
                  <a:lnTo>
                    <a:pt x="0" y="202"/>
                  </a:lnTo>
                  <a:lnTo>
                    <a:pt x="0" y="19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2" name="Freeform 172"/>
            <p:cNvSpPr>
              <a:spLocks/>
            </p:cNvSpPr>
            <p:nvPr/>
          </p:nvSpPr>
          <p:spPr bwMode="auto">
            <a:xfrm>
              <a:off x="1276" y="2693"/>
              <a:ext cx="293" cy="368"/>
            </a:xfrm>
            <a:custGeom>
              <a:avLst/>
              <a:gdLst>
                <a:gd name="T0" fmla="*/ 29 w 293"/>
                <a:gd name="T1" fmla="*/ 174 h 368"/>
                <a:gd name="T2" fmla="*/ 50 w 293"/>
                <a:gd name="T3" fmla="*/ 164 h 368"/>
                <a:gd name="T4" fmla="*/ 55 w 293"/>
                <a:gd name="T5" fmla="*/ 145 h 368"/>
                <a:gd name="T6" fmla="*/ 55 w 293"/>
                <a:gd name="T7" fmla="*/ 130 h 368"/>
                <a:gd name="T8" fmla="*/ 57 w 293"/>
                <a:gd name="T9" fmla="*/ 119 h 368"/>
                <a:gd name="T10" fmla="*/ 44 w 293"/>
                <a:gd name="T11" fmla="*/ 101 h 368"/>
                <a:gd name="T12" fmla="*/ 47 w 293"/>
                <a:gd name="T13" fmla="*/ 75 h 368"/>
                <a:gd name="T14" fmla="*/ 29 w 293"/>
                <a:gd name="T15" fmla="*/ 57 h 368"/>
                <a:gd name="T16" fmla="*/ 24 w 293"/>
                <a:gd name="T17" fmla="*/ 37 h 368"/>
                <a:gd name="T18" fmla="*/ 39 w 293"/>
                <a:gd name="T19" fmla="*/ 31 h 368"/>
                <a:gd name="T20" fmla="*/ 63 w 293"/>
                <a:gd name="T21" fmla="*/ 26 h 368"/>
                <a:gd name="T22" fmla="*/ 96 w 293"/>
                <a:gd name="T23" fmla="*/ 24 h 368"/>
                <a:gd name="T24" fmla="*/ 112 w 293"/>
                <a:gd name="T25" fmla="*/ 5 h 368"/>
                <a:gd name="T26" fmla="*/ 127 w 293"/>
                <a:gd name="T27" fmla="*/ 11 h 368"/>
                <a:gd name="T28" fmla="*/ 145 w 293"/>
                <a:gd name="T29" fmla="*/ 24 h 368"/>
                <a:gd name="T30" fmla="*/ 174 w 293"/>
                <a:gd name="T31" fmla="*/ 29 h 368"/>
                <a:gd name="T32" fmla="*/ 189 w 293"/>
                <a:gd name="T33" fmla="*/ 34 h 368"/>
                <a:gd name="T34" fmla="*/ 187 w 293"/>
                <a:gd name="T35" fmla="*/ 55 h 368"/>
                <a:gd name="T36" fmla="*/ 189 w 293"/>
                <a:gd name="T37" fmla="*/ 65 h 368"/>
                <a:gd name="T38" fmla="*/ 182 w 293"/>
                <a:gd name="T39" fmla="*/ 75 h 368"/>
                <a:gd name="T40" fmla="*/ 184 w 293"/>
                <a:gd name="T41" fmla="*/ 96 h 368"/>
                <a:gd name="T42" fmla="*/ 200 w 293"/>
                <a:gd name="T43" fmla="*/ 96 h 368"/>
                <a:gd name="T44" fmla="*/ 195 w 293"/>
                <a:gd name="T45" fmla="*/ 107 h 368"/>
                <a:gd name="T46" fmla="*/ 195 w 293"/>
                <a:gd name="T47" fmla="*/ 119 h 368"/>
                <a:gd name="T48" fmla="*/ 192 w 293"/>
                <a:gd name="T49" fmla="*/ 140 h 368"/>
                <a:gd name="T50" fmla="*/ 187 w 293"/>
                <a:gd name="T51" fmla="*/ 151 h 368"/>
                <a:gd name="T52" fmla="*/ 202 w 293"/>
                <a:gd name="T53" fmla="*/ 174 h 368"/>
                <a:gd name="T54" fmla="*/ 223 w 293"/>
                <a:gd name="T55" fmla="*/ 184 h 368"/>
                <a:gd name="T56" fmla="*/ 241 w 293"/>
                <a:gd name="T57" fmla="*/ 182 h 368"/>
                <a:gd name="T58" fmla="*/ 257 w 293"/>
                <a:gd name="T59" fmla="*/ 195 h 368"/>
                <a:gd name="T60" fmla="*/ 277 w 293"/>
                <a:gd name="T61" fmla="*/ 200 h 368"/>
                <a:gd name="T62" fmla="*/ 288 w 293"/>
                <a:gd name="T63" fmla="*/ 208 h 368"/>
                <a:gd name="T64" fmla="*/ 290 w 293"/>
                <a:gd name="T65" fmla="*/ 226 h 368"/>
                <a:gd name="T66" fmla="*/ 288 w 293"/>
                <a:gd name="T67" fmla="*/ 239 h 368"/>
                <a:gd name="T68" fmla="*/ 267 w 293"/>
                <a:gd name="T69" fmla="*/ 247 h 368"/>
                <a:gd name="T70" fmla="*/ 257 w 293"/>
                <a:gd name="T71" fmla="*/ 239 h 368"/>
                <a:gd name="T72" fmla="*/ 233 w 293"/>
                <a:gd name="T73" fmla="*/ 249 h 368"/>
                <a:gd name="T74" fmla="*/ 215 w 293"/>
                <a:gd name="T75" fmla="*/ 254 h 368"/>
                <a:gd name="T76" fmla="*/ 208 w 293"/>
                <a:gd name="T77" fmla="*/ 254 h 368"/>
                <a:gd name="T78" fmla="*/ 184 w 293"/>
                <a:gd name="T79" fmla="*/ 270 h 368"/>
                <a:gd name="T80" fmla="*/ 182 w 293"/>
                <a:gd name="T81" fmla="*/ 283 h 368"/>
                <a:gd name="T82" fmla="*/ 182 w 293"/>
                <a:gd name="T83" fmla="*/ 291 h 368"/>
                <a:gd name="T84" fmla="*/ 179 w 293"/>
                <a:gd name="T85" fmla="*/ 306 h 368"/>
                <a:gd name="T86" fmla="*/ 184 w 293"/>
                <a:gd name="T87" fmla="*/ 324 h 368"/>
                <a:gd name="T88" fmla="*/ 187 w 293"/>
                <a:gd name="T89" fmla="*/ 337 h 368"/>
                <a:gd name="T90" fmla="*/ 195 w 293"/>
                <a:gd name="T91" fmla="*/ 350 h 368"/>
                <a:gd name="T92" fmla="*/ 184 w 293"/>
                <a:gd name="T93" fmla="*/ 363 h 368"/>
                <a:gd name="T94" fmla="*/ 164 w 293"/>
                <a:gd name="T95" fmla="*/ 361 h 368"/>
                <a:gd name="T96" fmla="*/ 153 w 293"/>
                <a:gd name="T97" fmla="*/ 350 h 368"/>
                <a:gd name="T98" fmla="*/ 135 w 293"/>
                <a:gd name="T99" fmla="*/ 348 h 368"/>
                <a:gd name="T100" fmla="*/ 120 w 293"/>
                <a:gd name="T101" fmla="*/ 340 h 368"/>
                <a:gd name="T102" fmla="*/ 101 w 293"/>
                <a:gd name="T103" fmla="*/ 332 h 368"/>
                <a:gd name="T104" fmla="*/ 94 w 293"/>
                <a:gd name="T105" fmla="*/ 319 h 368"/>
                <a:gd name="T106" fmla="*/ 104 w 293"/>
                <a:gd name="T107" fmla="*/ 306 h 368"/>
                <a:gd name="T108" fmla="*/ 91 w 293"/>
                <a:gd name="T109" fmla="*/ 291 h 368"/>
                <a:gd name="T110" fmla="*/ 78 w 293"/>
                <a:gd name="T111" fmla="*/ 288 h 368"/>
                <a:gd name="T112" fmla="*/ 57 w 293"/>
                <a:gd name="T113" fmla="*/ 283 h 368"/>
                <a:gd name="T114" fmla="*/ 47 w 293"/>
                <a:gd name="T115" fmla="*/ 280 h 368"/>
                <a:gd name="T116" fmla="*/ 42 w 293"/>
                <a:gd name="T117" fmla="*/ 262 h 368"/>
                <a:gd name="T118" fmla="*/ 42 w 293"/>
                <a:gd name="T119" fmla="*/ 249 h 368"/>
                <a:gd name="T120" fmla="*/ 21 w 293"/>
                <a:gd name="T121" fmla="*/ 244 h 368"/>
                <a:gd name="T122" fmla="*/ 6 w 293"/>
                <a:gd name="T123" fmla="*/ 221 h 368"/>
                <a:gd name="T124" fmla="*/ 8 w 293"/>
                <a:gd name="T125" fmla="*/ 19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" h="368">
                  <a:moveTo>
                    <a:pt x="0" y="182"/>
                  </a:move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6" y="182"/>
                  </a:lnTo>
                  <a:lnTo>
                    <a:pt x="6" y="179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6" y="174"/>
                  </a:lnTo>
                  <a:lnTo>
                    <a:pt x="19" y="174"/>
                  </a:lnTo>
                  <a:lnTo>
                    <a:pt x="24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9" y="171"/>
                  </a:lnTo>
                  <a:lnTo>
                    <a:pt x="42" y="171"/>
                  </a:lnTo>
                  <a:lnTo>
                    <a:pt x="44" y="171"/>
                  </a:lnTo>
                  <a:lnTo>
                    <a:pt x="47" y="171"/>
                  </a:lnTo>
                  <a:lnTo>
                    <a:pt x="47" y="171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5" y="153"/>
                  </a:lnTo>
                  <a:lnTo>
                    <a:pt x="52" y="151"/>
                  </a:lnTo>
                  <a:lnTo>
                    <a:pt x="52" y="151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57" y="140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2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5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5" y="117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4" y="107"/>
                  </a:lnTo>
                  <a:lnTo>
                    <a:pt x="44" y="104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2" y="96"/>
                  </a:lnTo>
                  <a:lnTo>
                    <a:pt x="50" y="94"/>
                  </a:lnTo>
                  <a:lnTo>
                    <a:pt x="47" y="91"/>
                  </a:lnTo>
                  <a:lnTo>
                    <a:pt x="44" y="88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39" y="73"/>
                  </a:lnTo>
                  <a:lnTo>
                    <a:pt x="39" y="70"/>
                  </a:lnTo>
                  <a:lnTo>
                    <a:pt x="37" y="70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4" y="65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9" y="34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5" y="24"/>
                  </a:lnTo>
                  <a:lnTo>
                    <a:pt x="57" y="24"/>
                  </a:lnTo>
                  <a:lnTo>
                    <a:pt x="63" y="24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8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8" y="29"/>
                  </a:lnTo>
                  <a:lnTo>
                    <a:pt x="91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4"/>
                  </a:lnTo>
                  <a:lnTo>
                    <a:pt x="96" y="24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3"/>
                  </a:lnTo>
                  <a:lnTo>
                    <a:pt x="107" y="11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7" y="3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8" y="13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8" y="26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3" y="26"/>
                  </a:lnTo>
                  <a:lnTo>
                    <a:pt x="156" y="26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7" y="29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1"/>
                  </a:lnTo>
                  <a:lnTo>
                    <a:pt x="179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7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9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84" y="55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7" y="68"/>
                  </a:lnTo>
                  <a:lnTo>
                    <a:pt x="187" y="70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9" y="73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8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79" y="86"/>
                  </a:lnTo>
                  <a:lnTo>
                    <a:pt x="179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1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94"/>
                  </a:lnTo>
                  <a:lnTo>
                    <a:pt x="192" y="94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200" y="99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5"/>
                  </a:lnTo>
                  <a:lnTo>
                    <a:pt x="192" y="130"/>
                  </a:lnTo>
                  <a:lnTo>
                    <a:pt x="192" y="130"/>
                  </a:lnTo>
                  <a:lnTo>
                    <a:pt x="189" y="132"/>
                  </a:lnTo>
                  <a:lnTo>
                    <a:pt x="189" y="135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7" y="151"/>
                  </a:lnTo>
                  <a:lnTo>
                    <a:pt x="187" y="151"/>
                  </a:lnTo>
                  <a:lnTo>
                    <a:pt x="187" y="153"/>
                  </a:lnTo>
                  <a:lnTo>
                    <a:pt x="189" y="156"/>
                  </a:lnTo>
                  <a:lnTo>
                    <a:pt x="189" y="156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2" y="158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5" y="164"/>
                  </a:lnTo>
                  <a:lnTo>
                    <a:pt x="195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5" y="174"/>
                  </a:lnTo>
                  <a:lnTo>
                    <a:pt x="205" y="177"/>
                  </a:lnTo>
                  <a:lnTo>
                    <a:pt x="208" y="177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6" y="184"/>
                  </a:lnTo>
                  <a:lnTo>
                    <a:pt x="228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44" y="184"/>
                  </a:lnTo>
                  <a:lnTo>
                    <a:pt x="246" y="184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4" y="189"/>
                  </a:lnTo>
                  <a:lnTo>
                    <a:pt x="254" y="189"/>
                  </a:lnTo>
                  <a:lnTo>
                    <a:pt x="257" y="187"/>
                  </a:lnTo>
                  <a:lnTo>
                    <a:pt x="257" y="189"/>
                  </a:lnTo>
                  <a:lnTo>
                    <a:pt x="257" y="192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9" y="195"/>
                  </a:lnTo>
                  <a:lnTo>
                    <a:pt x="259" y="195"/>
                  </a:lnTo>
                  <a:lnTo>
                    <a:pt x="262" y="195"/>
                  </a:lnTo>
                  <a:lnTo>
                    <a:pt x="262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7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7"/>
                  </a:lnTo>
                  <a:lnTo>
                    <a:pt x="270" y="200"/>
                  </a:lnTo>
                  <a:lnTo>
                    <a:pt x="272" y="200"/>
                  </a:lnTo>
                  <a:lnTo>
                    <a:pt x="272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80" y="205"/>
                  </a:lnTo>
                  <a:lnTo>
                    <a:pt x="280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8" y="205"/>
                  </a:lnTo>
                  <a:lnTo>
                    <a:pt x="288" y="202"/>
                  </a:lnTo>
                  <a:lnTo>
                    <a:pt x="288" y="202"/>
                  </a:lnTo>
                  <a:lnTo>
                    <a:pt x="290" y="205"/>
                  </a:lnTo>
                  <a:lnTo>
                    <a:pt x="290" y="205"/>
                  </a:lnTo>
                  <a:lnTo>
                    <a:pt x="290" y="208"/>
                  </a:lnTo>
                  <a:lnTo>
                    <a:pt x="288" y="208"/>
                  </a:lnTo>
                  <a:lnTo>
                    <a:pt x="288" y="208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90" y="215"/>
                  </a:lnTo>
                  <a:lnTo>
                    <a:pt x="290" y="218"/>
                  </a:lnTo>
                  <a:lnTo>
                    <a:pt x="290" y="221"/>
                  </a:lnTo>
                  <a:lnTo>
                    <a:pt x="290" y="221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8"/>
                  </a:lnTo>
                  <a:lnTo>
                    <a:pt x="290" y="228"/>
                  </a:lnTo>
                  <a:lnTo>
                    <a:pt x="293" y="228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88" y="239"/>
                  </a:lnTo>
                  <a:lnTo>
                    <a:pt x="283" y="241"/>
                  </a:lnTo>
                  <a:lnTo>
                    <a:pt x="283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5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5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67" y="247"/>
                  </a:lnTo>
                  <a:lnTo>
                    <a:pt x="267" y="244"/>
                  </a:lnTo>
                  <a:lnTo>
                    <a:pt x="265" y="244"/>
                  </a:lnTo>
                  <a:lnTo>
                    <a:pt x="265" y="244"/>
                  </a:lnTo>
                  <a:lnTo>
                    <a:pt x="262" y="244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39"/>
                  </a:lnTo>
                  <a:lnTo>
                    <a:pt x="259" y="239"/>
                  </a:lnTo>
                  <a:lnTo>
                    <a:pt x="257" y="239"/>
                  </a:lnTo>
                  <a:lnTo>
                    <a:pt x="257" y="241"/>
                  </a:lnTo>
                  <a:lnTo>
                    <a:pt x="257" y="241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49" y="244"/>
                  </a:lnTo>
                  <a:lnTo>
                    <a:pt x="249" y="244"/>
                  </a:lnTo>
                  <a:lnTo>
                    <a:pt x="246" y="244"/>
                  </a:lnTo>
                  <a:lnTo>
                    <a:pt x="246" y="244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39" y="241"/>
                  </a:lnTo>
                  <a:lnTo>
                    <a:pt x="239" y="244"/>
                  </a:lnTo>
                  <a:lnTo>
                    <a:pt x="236" y="247"/>
                  </a:lnTo>
                  <a:lnTo>
                    <a:pt x="236" y="247"/>
                  </a:lnTo>
                  <a:lnTo>
                    <a:pt x="236" y="249"/>
                  </a:lnTo>
                  <a:lnTo>
                    <a:pt x="233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3" y="247"/>
                  </a:lnTo>
                  <a:lnTo>
                    <a:pt x="231" y="247"/>
                  </a:lnTo>
                  <a:lnTo>
                    <a:pt x="231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6" y="249"/>
                  </a:lnTo>
                  <a:lnTo>
                    <a:pt x="226" y="249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1" y="252"/>
                  </a:lnTo>
                  <a:lnTo>
                    <a:pt x="221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2"/>
                  </a:lnTo>
                  <a:lnTo>
                    <a:pt x="215" y="252"/>
                  </a:lnTo>
                  <a:lnTo>
                    <a:pt x="213" y="252"/>
                  </a:lnTo>
                  <a:lnTo>
                    <a:pt x="213" y="249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2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7"/>
                  </a:lnTo>
                  <a:lnTo>
                    <a:pt x="200" y="257"/>
                  </a:lnTo>
                  <a:lnTo>
                    <a:pt x="197" y="257"/>
                  </a:lnTo>
                  <a:lnTo>
                    <a:pt x="195" y="259"/>
                  </a:lnTo>
                  <a:lnTo>
                    <a:pt x="195" y="259"/>
                  </a:lnTo>
                  <a:lnTo>
                    <a:pt x="192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62"/>
                  </a:lnTo>
                  <a:lnTo>
                    <a:pt x="189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5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9" y="275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4" y="288"/>
                  </a:lnTo>
                  <a:lnTo>
                    <a:pt x="184" y="288"/>
                  </a:lnTo>
                  <a:lnTo>
                    <a:pt x="182" y="288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6"/>
                  </a:lnTo>
                  <a:lnTo>
                    <a:pt x="184" y="296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4"/>
                  </a:lnTo>
                  <a:lnTo>
                    <a:pt x="179" y="306"/>
                  </a:lnTo>
                  <a:lnTo>
                    <a:pt x="179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11"/>
                  </a:lnTo>
                  <a:lnTo>
                    <a:pt x="182" y="311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9"/>
                  </a:lnTo>
                  <a:lnTo>
                    <a:pt x="184" y="319"/>
                  </a:lnTo>
                  <a:lnTo>
                    <a:pt x="184" y="322"/>
                  </a:lnTo>
                  <a:lnTo>
                    <a:pt x="184" y="322"/>
                  </a:lnTo>
                  <a:lnTo>
                    <a:pt x="182" y="322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4" y="330"/>
                  </a:lnTo>
                  <a:lnTo>
                    <a:pt x="184" y="330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2"/>
                  </a:lnTo>
                  <a:lnTo>
                    <a:pt x="187" y="332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7" y="335"/>
                  </a:lnTo>
                  <a:lnTo>
                    <a:pt x="187" y="335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9" y="340"/>
                  </a:lnTo>
                  <a:lnTo>
                    <a:pt x="189" y="340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40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8"/>
                  </a:lnTo>
                  <a:lnTo>
                    <a:pt x="189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3"/>
                  </a:lnTo>
                  <a:lnTo>
                    <a:pt x="195" y="353"/>
                  </a:lnTo>
                  <a:lnTo>
                    <a:pt x="195" y="355"/>
                  </a:lnTo>
                  <a:lnTo>
                    <a:pt x="192" y="355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2" y="361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7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2" y="361"/>
                  </a:lnTo>
                  <a:lnTo>
                    <a:pt x="182" y="361"/>
                  </a:lnTo>
                  <a:lnTo>
                    <a:pt x="182" y="363"/>
                  </a:lnTo>
                  <a:lnTo>
                    <a:pt x="182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1" y="361"/>
                  </a:lnTo>
                  <a:lnTo>
                    <a:pt x="171" y="361"/>
                  </a:lnTo>
                  <a:lnTo>
                    <a:pt x="169" y="363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3"/>
                  </a:lnTo>
                  <a:lnTo>
                    <a:pt x="164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4" y="361"/>
                  </a:lnTo>
                  <a:lnTo>
                    <a:pt x="164" y="358"/>
                  </a:lnTo>
                  <a:lnTo>
                    <a:pt x="161" y="358"/>
                  </a:lnTo>
                  <a:lnTo>
                    <a:pt x="158" y="358"/>
                  </a:lnTo>
                  <a:lnTo>
                    <a:pt x="158" y="358"/>
                  </a:lnTo>
                  <a:lnTo>
                    <a:pt x="161" y="358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58" y="355"/>
                  </a:lnTo>
                  <a:lnTo>
                    <a:pt x="158" y="353"/>
                  </a:lnTo>
                  <a:lnTo>
                    <a:pt x="158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5" y="348"/>
                  </a:lnTo>
                  <a:lnTo>
                    <a:pt x="145" y="348"/>
                  </a:lnTo>
                  <a:lnTo>
                    <a:pt x="143" y="348"/>
                  </a:lnTo>
                  <a:lnTo>
                    <a:pt x="143" y="348"/>
                  </a:lnTo>
                  <a:lnTo>
                    <a:pt x="140" y="348"/>
                  </a:lnTo>
                  <a:lnTo>
                    <a:pt x="140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50"/>
                  </a:lnTo>
                  <a:lnTo>
                    <a:pt x="135" y="350"/>
                  </a:lnTo>
                  <a:lnTo>
                    <a:pt x="135" y="350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0" y="345"/>
                  </a:lnTo>
                  <a:lnTo>
                    <a:pt x="130" y="345"/>
                  </a:lnTo>
                  <a:lnTo>
                    <a:pt x="130" y="342"/>
                  </a:lnTo>
                  <a:lnTo>
                    <a:pt x="130" y="342"/>
                  </a:lnTo>
                  <a:lnTo>
                    <a:pt x="127" y="340"/>
                  </a:lnTo>
                  <a:lnTo>
                    <a:pt x="127" y="340"/>
                  </a:lnTo>
                  <a:lnTo>
                    <a:pt x="127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17" y="337"/>
                  </a:lnTo>
                  <a:lnTo>
                    <a:pt x="117" y="337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2" y="337"/>
                  </a:lnTo>
                  <a:lnTo>
                    <a:pt x="112" y="337"/>
                  </a:lnTo>
                  <a:lnTo>
                    <a:pt x="112" y="340"/>
                  </a:lnTo>
                  <a:lnTo>
                    <a:pt x="112" y="340"/>
                  </a:lnTo>
                  <a:lnTo>
                    <a:pt x="109" y="340"/>
                  </a:lnTo>
                  <a:lnTo>
                    <a:pt x="109" y="337"/>
                  </a:lnTo>
                  <a:lnTo>
                    <a:pt x="107" y="337"/>
                  </a:lnTo>
                  <a:lnTo>
                    <a:pt x="107" y="340"/>
                  </a:lnTo>
                  <a:lnTo>
                    <a:pt x="107" y="340"/>
                  </a:lnTo>
                  <a:lnTo>
                    <a:pt x="104" y="340"/>
                  </a:lnTo>
                  <a:lnTo>
                    <a:pt x="104" y="340"/>
                  </a:lnTo>
                  <a:lnTo>
                    <a:pt x="104" y="337"/>
                  </a:lnTo>
                  <a:lnTo>
                    <a:pt x="101" y="337"/>
                  </a:lnTo>
                  <a:lnTo>
                    <a:pt x="101" y="335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0"/>
                  </a:lnTo>
                  <a:lnTo>
                    <a:pt x="104" y="330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99" y="322"/>
                  </a:lnTo>
                  <a:lnTo>
                    <a:pt x="96" y="322"/>
                  </a:lnTo>
                  <a:lnTo>
                    <a:pt x="96" y="322"/>
                  </a:lnTo>
                  <a:lnTo>
                    <a:pt x="94" y="322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1" y="319"/>
                  </a:lnTo>
                  <a:lnTo>
                    <a:pt x="91" y="317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6" y="314"/>
                  </a:lnTo>
                  <a:lnTo>
                    <a:pt x="96" y="317"/>
                  </a:lnTo>
                  <a:lnTo>
                    <a:pt x="96" y="314"/>
                  </a:lnTo>
                  <a:lnTo>
                    <a:pt x="99" y="314"/>
                  </a:lnTo>
                  <a:lnTo>
                    <a:pt x="99" y="311"/>
                  </a:lnTo>
                  <a:lnTo>
                    <a:pt x="101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4" y="306"/>
                  </a:lnTo>
                  <a:lnTo>
                    <a:pt x="104" y="306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6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6"/>
                  </a:lnTo>
                  <a:lnTo>
                    <a:pt x="96" y="296"/>
                  </a:lnTo>
                  <a:lnTo>
                    <a:pt x="94" y="296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8"/>
                  </a:lnTo>
                  <a:lnTo>
                    <a:pt x="83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5"/>
                  </a:lnTo>
                  <a:lnTo>
                    <a:pt x="73" y="285"/>
                  </a:lnTo>
                  <a:lnTo>
                    <a:pt x="68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3" y="285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5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7" y="285"/>
                  </a:lnTo>
                  <a:lnTo>
                    <a:pt x="55" y="283"/>
                  </a:lnTo>
                  <a:lnTo>
                    <a:pt x="55" y="283"/>
                  </a:lnTo>
                  <a:lnTo>
                    <a:pt x="52" y="283"/>
                  </a:lnTo>
                  <a:lnTo>
                    <a:pt x="50" y="285"/>
                  </a:lnTo>
                  <a:lnTo>
                    <a:pt x="50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78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67"/>
                  </a:lnTo>
                  <a:lnTo>
                    <a:pt x="42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2"/>
                  </a:lnTo>
                  <a:lnTo>
                    <a:pt x="42" y="262"/>
                  </a:lnTo>
                  <a:lnTo>
                    <a:pt x="42" y="262"/>
                  </a:lnTo>
                  <a:lnTo>
                    <a:pt x="42" y="259"/>
                  </a:lnTo>
                  <a:lnTo>
                    <a:pt x="42" y="259"/>
                  </a:lnTo>
                  <a:lnTo>
                    <a:pt x="39" y="259"/>
                  </a:lnTo>
                  <a:lnTo>
                    <a:pt x="39" y="262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7" y="257"/>
                  </a:lnTo>
                  <a:lnTo>
                    <a:pt x="39" y="254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39" y="249"/>
                  </a:lnTo>
                  <a:lnTo>
                    <a:pt x="39" y="252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2" y="247"/>
                  </a:lnTo>
                  <a:lnTo>
                    <a:pt x="32" y="249"/>
                  </a:lnTo>
                  <a:lnTo>
                    <a:pt x="32" y="249"/>
                  </a:lnTo>
                  <a:lnTo>
                    <a:pt x="32" y="247"/>
                  </a:lnTo>
                  <a:lnTo>
                    <a:pt x="29" y="247"/>
                  </a:lnTo>
                  <a:lnTo>
                    <a:pt x="29" y="244"/>
                  </a:lnTo>
                  <a:lnTo>
                    <a:pt x="26" y="244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1" y="244"/>
                  </a:lnTo>
                  <a:lnTo>
                    <a:pt x="21" y="244"/>
                  </a:lnTo>
                  <a:lnTo>
                    <a:pt x="19" y="244"/>
                  </a:lnTo>
                  <a:lnTo>
                    <a:pt x="16" y="244"/>
                  </a:lnTo>
                  <a:lnTo>
                    <a:pt x="16" y="244"/>
                  </a:lnTo>
                  <a:lnTo>
                    <a:pt x="13" y="241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1" y="231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3" y="223"/>
                  </a:lnTo>
                  <a:lnTo>
                    <a:pt x="6" y="221"/>
                  </a:lnTo>
                  <a:lnTo>
                    <a:pt x="6" y="221"/>
                  </a:lnTo>
                  <a:lnTo>
                    <a:pt x="6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3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3" y="210"/>
                  </a:lnTo>
                  <a:lnTo>
                    <a:pt x="6" y="210"/>
                  </a:lnTo>
                  <a:lnTo>
                    <a:pt x="6" y="208"/>
                  </a:lnTo>
                  <a:lnTo>
                    <a:pt x="6" y="208"/>
                  </a:lnTo>
                  <a:lnTo>
                    <a:pt x="8" y="208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11" y="205"/>
                  </a:lnTo>
                  <a:lnTo>
                    <a:pt x="11" y="202"/>
                  </a:lnTo>
                  <a:lnTo>
                    <a:pt x="11" y="202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197"/>
                  </a:lnTo>
                  <a:lnTo>
                    <a:pt x="8" y="197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11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8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4"/>
                  </a:lnTo>
                  <a:lnTo>
                    <a:pt x="3" y="184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3" name="Freeform 173"/>
            <p:cNvSpPr>
              <a:spLocks/>
            </p:cNvSpPr>
            <p:nvPr/>
          </p:nvSpPr>
          <p:spPr bwMode="auto">
            <a:xfrm>
              <a:off x="1276" y="2693"/>
              <a:ext cx="293" cy="368"/>
            </a:xfrm>
            <a:custGeom>
              <a:avLst/>
              <a:gdLst>
                <a:gd name="T0" fmla="*/ 29 w 293"/>
                <a:gd name="T1" fmla="*/ 174 h 368"/>
                <a:gd name="T2" fmla="*/ 50 w 293"/>
                <a:gd name="T3" fmla="*/ 164 h 368"/>
                <a:gd name="T4" fmla="*/ 55 w 293"/>
                <a:gd name="T5" fmla="*/ 145 h 368"/>
                <a:gd name="T6" fmla="*/ 55 w 293"/>
                <a:gd name="T7" fmla="*/ 130 h 368"/>
                <a:gd name="T8" fmla="*/ 57 w 293"/>
                <a:gd name="T9" fmla="*/ 119 h 368"/>
                <a:gd name="T10" fmla="*/ 44 w 293"/>
                <a:gd name="T11" fmla="*/ 101 h 368"/>
                <a:gd name="T12" fmla="*/ 47 w 293"/>
                <a:gd name="T13" fmla="*/ 75 h 368"/>
                <a:gd name="T14" fmla="*/ 29 w 293"/>
                <a:gd name="T15" fmla="*/ 57 h 368"/>
                <a:gd name="T16" fmla="*/ 24 w 293"/>
                <a:gd name="T17" fmla="*/ 37 h 368"/>
                <a:gd name="T18" fmla="*/ 39 w 293"/>
                <a:gd name="T19" fmla="*/ 31 h 368"/>
                <a:gd name="T20" fmla="*/ 63 w 293"/>
                <a:gd name="T21" fmla="*/ 26 h 368"/>
                <a:gd name="T22" fmla="*/ 96 w 293"/>
                <a:gd name="T23" fmla="*/ 24 h 368"/>
                <a:gd name="T24" fmla="*/ 112 w 293"/>
                <a:gd name="T25" fmla="*/ 5 h 368"/>
                <a:gd name="T26" fmla="*/ 127 w 293"/>
                <a:gd name="T27" fmla="*/ 11 h 368"/>
                <a:gd name="T28" fmla="*/ 145 w 293"/>
                <a:gd name="T29" fmla="*/ 24 h 368"/>
                <a:gd name="T30" fmla="*/ 174 w 293"/>
                <a:gd name="T31" fmla="*/ 29 h 368"/>
                <a:gd name="T32" fmla="*/ 189 w 293"/>
                <a:gd name="T33" fmla="*/ 34 h 368"/>
                <a:gd name="T34" fmla="*/ 187 w 293"/>
                <a:gd name="T35" fmla="*/ 55 h 368"/>
                <a:gd name="T36" fmla="*/ 189 w 293"/>
                <a:gd name="T37" fmla="*/ 65 h 368"/>
                <a:gd name="T38" fmla="*/ 182 w 293"/>
                <a:gd name="T39" fmla="*/ 75 h 368"/>
                <a:gd name="T40" fmla="*/ 184 w 293"/>
                <a:gd name="T41" fmla="*/ 96 h 368"/>
                <a:gd name="T42" fmla="*/ 200 w 293"/>
                <a:gd name="T43" fmla="*/ 96 h 368"/>
                <a:gd name="T44" fmla="*/ 195 w 293"/>
                <a:gd name="T45" fmla="*/ 107 h 368"/>
                <a:gd name="T46" fmla="*/ 195 w 293"/>
                <a:gd name="T47" fmla="*/ 119 h 368"/>
                <a:gd name="T48" fmla="*/ 192 w 293"/>
                <a:gd name="T49" fmla="*/ 140 h 368"/>
                <a:gd name="T50" fmla="*/ 187 w 293"/>
                <a:gd name="T51" fmla="*/ 151 h 368"/>
                <a:gd name="T52" fmla="*/ 202 w 293"/>
                <a:gd name="T53" fmla="*/ 174 h 368"/>
                <a:gd name="T54" fmla="*/ 223 w 293"/>
                <a:gd name="T55" fmla="*/ 184 h 368"/>
                <a:gd name="T56" fmla="*/ 241 w 293"/>
                <a:gd name="T57" fmla="*/ 182 h 368"/>
                <a:gd name="T58" fmla="*/ 257 w 293"/>
                <a:gd name="T59" fmla="*/ 195 h 368"/>
                <a:gd name="T60" fmla="*/ 277 w 293"/>
                <a:gd name="T61" fmla="*/ 200 h 368"/>
                <a:gd name="T62" fmla="*/ 288 w 293"/>
                <a:gd name="T63" fmla="*/ 208 h 368"/>
                <a:gd name="T64" fmla="*/ 290 w 293"/>
                <a:gd name="T65" fmla="*/ 226 h 368"/>
                <a:gd name="T66" fmla="*/ 288 w 293"/>
                <a:gd name="T67" fmla="*/ 239 h 368"/>
                <a:gd name="T68" fmla="*/ 267 w 293"/>
                <a:gd name="T69" fmla="*/ 247 h 368"/>
                <a:gd name="T70" fmla="*/ 257 w 293"/>
                <a:gd name="T71" fmla="*/ 239 h 368"/>
                <a:gd name="T72" fmla="*/ 233 w 293"/>
                <a:gd name="T73" fmla="*/ 249 h 368"/>
                <a:gd name="T74" fmla="*/ 215 w 293"/>
                <a:gd name="T75" fmla="*/ 254 h 368"/>
                <a:gd name="T76" fmla="*/ 208 w 293"/>
                <a:gd name="T77" fmla="*/ 254 h 368"/>
                <a:gd name="T78" fmla="*/ 184 w 293"/>
                <a:gd name="T79" fmla="*/ 270 h 368"/>
                <a:gd name="T80" fmla="*/ 182 w 293"/>
                <a:gd name="T81" fmla="*/ 283 h 368"/>
                <a:gd name="T82" fmla="*/ 182 w 293"/>
                <a:gd name="T83" fmla="*/ 291 h 368"/>
                <a:gd name="T84" fmla="*/ 179 w 293"/>
                <a:gd name="T85" fmla="*/ 306 h 368"/>
                <a:gd name="T86" fmla="*/ 184 w 293"/>
                <a:gd name="T87" fmla="*/ 324 h 368"/>
                <a:gd name="T88" fmla="*/ 187 w 293"/>
                <a:gd name="T89" fmla="*/ 337 h 368"/>
                <a:gd name="T90" fmla="*/ 195 w 293"/>
                <a:gd name="T91" fmla="*/ 350 h 368"/>
                <a:gd name="T92" fmla="*/ 184 w 293"/>
                <a:gd name="T93" fmla="*/ 363 h 368"/>
                <a:gd name="T94" fmla="*/ 164 w 293"/>
                <a:gd name="T95" fmla="*/ 361 h 368"/>
                <a:gd name="T96" fmla="*/ 153 w 293"/>
                <a:gd name="T97" fmla="*/ 350 h 368"/>
                <a:gd name="T98" fmla="*/ 135 w 293"/>
                <a:gd name="T99" fmla="*/ 348 h 368"/>
                <a:gd name="T100" fmla="*/ 120 w 293"/>
                <a:gd name="T101" fmla="*/ 340 h 368"/>
                <a:gd name="T102" fmla="*/ 101 w 293"/>
                <a:gd name="T103" fmla="*/ 332 h 368"/>
                <a:gd name="T104" fmla="*/ 94 w 293"/>
                <a:gd name="T105" fmla="*/ 319 h 368"/>
                <a:gd name="T106" fmla="*/ 104 w 293"/>
                <a:gd name="T107" fmla="*/ 306 h 368"/>
                <a:gd name="T108" fmla="*/ 91 w 293"/>
                <a:gd name="T109" fmla="*/ 291 h 368"/>
                <a:gd name="T110" fmla="*/ 78 w 293"/>
                <a:gd name="T111" fmla="*/ 288 h 368"/>
                <a:gd name="T112" fmla="*/ 57 w 293"/>
                <a:gd name="T113" fmla="*/ 283 h 368"/>
                <a:gd name="T114" fmla="*/ 47 w 293"/>
                <a:gd name="T115" fmla="*/ 280 h 368"/>
                <a:gd name="T116" fmla="*/ 42 w 293"/>
                <a:gd name="T117" fmla="*/ 262 h 368"/>
                <a:gd name="T118" fmla="*/ 42 w 293"/>
                <a:gd name="T119" fmla="*/ 249 h 368"/>
                <a:gd name="T120" fmla="*/ 21 w 293"/>
                <a:gd name="T121" fmla="*/ 244 h 368"/>
                <a:gd name="T122" fmla="*/ 6 w 293"/>
                <a:gd name="T123" fmla="*/ 221 h 368"/>
                <a:gd name="T124" fmla="*/ 8 w 293"/>
                <a:gd name="T125" fmla="*/ 19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" h="368">
                  <a:moveTo>
                    <a:pt x="0" y="182"/>
                  </a:move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6" y="182"/>
                  </a:lnTo>
                  <a:lnTo>
                    <a:pt x="6" y="179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6" y="174"/>
                  </a:lnTo>
                  <a:lnTo>
                    <a:pt x="19" y="174"/>
                  </a:lnTo>
                  <a:lnTo>
                    <a:pt x="24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9" y="171"/>
                  </a:lnTo>
                  <a:lnTo>
                    <a:pt x="42" y="171"/>
                  </a:lnTo>
                  <a:lnTo>
                    <a:pt x="44" y="171"/>
                  </a:lnTo>
                  <a:lnTo>
                    <a:pt x="47" y="171"/>
                  </a:lnTo>
                  <a:lnTo>
                    <a:pt x="47" y="171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5" y="153"/>
                  </a:lnTo>
                  <a:lnTo>
                    <a:pt x="52" y="151"/>
                  </a:lnTo>
                  <a:lnTo>
                    <a:pt x="52" y="151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57" y="140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2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5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5" y="117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4" y="107"/>
                  </a:lnTo>
                  <a:lnTo>
                    <a:pt x="44" y="104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2" y="96"/>
                  </a:lnTo>
                  <a:lnTo>
                    <a:pt x="50" y="94"/>
                  </a:lnTo>
                  <a:lnTo>
                    <a:pt x="47" y="91"/>
                  </a:lnTo>
                  <a:lnTo>
                    <a:pt x="44" y="88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39" y="73"/>
                  </a:lnTo>
                  <a:lnTo>
                    <a:pt x="39" y="70"/>
                  </a:lnTo>
                  <a:lnTo>
                    <a:pt x="37" y="70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4" y="65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9" y="34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5" y="24"/>
                  </a:lnTo>
                  <a:lnTo>
                    <a:pt x="57" y="24"/>
                  </a:lnTo>
                  <a:lnTo>
                    <a:pt x="63" y="24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8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8" y="29"/>
                  </a:lnTo>
                  <a:lnTo>
                    <a:pt x="91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4"/>
                  </a:lnTo>
                  <a:lnTo>
                    <a:pt x="96" y="24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3"/>
                  </a:lnTo>
                  <a:lnTo>
                    <a:pt x="107" y="11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7" y="3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8" y="13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8" y="26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3" y="26"/>
                  </a:lnTo>
                  <a:lnTo>
                    <a:pt x="156" y="26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7" y="29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1"/>
                  </a:lnTo>
                  <a:lnTo>
                    <a:pt x="179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7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9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84" y="55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7" y="68"/>
                  </a:lnTo>
                  <a:lnTo>
                    <a:pt x="187" y="70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9" y="73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8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79" y="86"/>
                  </a:lnTo>
                  <a:lnTo>
                    <a:pt x="179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1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94"/>
                  </a:lnTo>
                  <a:lnTo>
                    <a:pt x="192" y="94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200" y="99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5"/>
                  </a:lnTo>
                  <a:lnTo>
                    <a:pt x="192" y="130"/>
                  </a:lnTo>
                  <a:lnTo>
                    <a:pt x="192" y="130"/>
                  </a:lnTo>
                  <a:lnTo>
                    <a:pt x="189" y="132"/>
                  </a:lnTo>
                  <a:lnTo>
                    <a:pt x="189" y="135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7" y="151"/>
                  </a:lnTo>
                  <a:lnTo>
                    <a:pt x="187" y="151"/>
                  </a:lnTo>
                  <a:lnTo>
                    <a:pt x="187" y="153"/>
                  </a:lnTo>
                  <a:lnTo>
                    <a:pt x="189" y="156"/>
                  </a:lnTo>
                  <a:lnTo>
                    <a:pt x="189" y="156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2" y="158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5" y="164"/>
                  </a:lnTo>
                  <a:lnTo>
                    <a:pt x="195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5" y="174"/>
                  </a:lnTo>
                  <a:lnTo>
                    <a:pt x="205" y="177"/>
                  </a:lnTo>
                  <a:lnTo>
                    <a:pt x="208" y="177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6" y="184"/>
                  </a:lnTo>
                  <a:lnTo>
                    <a:pt x="228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44" y="184"/>
                  </a:lnTo>
                  <a:lnTo>
                    <a:pt x="246" y="184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4" y="189"/>
                  </a:lnTo>
                  <a:lnTo>
                    <a:pt x="254" y="189"/>
                  </a:lnTo>
                  <a:lnTo>
                    <a:pt x="257" y="187"/>
                  </a:lnTo>
                  <a:lnTo>
                    <a:pt x="257" y="189"/>
                  </a:lnTo>
                  <a:lnTo>
                    <a:pt x="257" y="192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9" y="195"/>
                  </a:lnTo>
                  <a:lnTo>
                    <a:pt x="259" y="195"/>
                  </a:lnTo>
                  <a:lnTo>
                    <a:pt x="262" y="195"/>
                  </a:lnTo>
                  <a:lnTo>
                    <a:pt x="262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7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7"/>
                  </a:lnTo>
                  <a:lnTo>
                    <a:pt x="270" y="200"/>
                  </a:lnTo>
                  <a:lnTo>
                    <a:pt x="272" y="200"/>
                  </a:lnTo>
                  <a:lnTo>
                    <a:pt x="272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80" y="205"/>
                  </a:lnTo>
                  <a:lnTo>
                    <a:pt x="280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8" y="205"/>
                  </a:lnTo>
                  <a:lnTo>
                    <a:pt x="288" y="202"/>
                  </a:lnTo>
                  <a:lnTo>
                    <a:pt x="288" y="202"/>
                  </a:lnTo>
                  <a:lnTo>
                    <a:pt x="290" y="205"/>
                  </a:lnTo>
                  <a:lnTo>
                    <a:pt x="290" y="205"/>
                  </a:lnTo>
                  <a:lnTo>
                    <a:pt x="290" y="208"/>
                  </a:lnTo>
                  <a:lnTo>
                    <a:pt x="288" y="208"/>
                  </a:lnTo>
                  <a:lnTo>
                    <a:pt x="288" y="208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90" y="215"/>
                  </a:lnTo>
                  <a:lnTo>
                    <a:pt x="290" y="218"/>
                  </a:lnTo>
                  <a:lnTo>
                    <a:pt x="290" y="221"/>
                  </a:lnTo>
                  <a:lnTo>
                    <a:pt x="290" y="221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8"/>
                  </a:lnTo>
                  <a:lnTo>
                    <a:pt x="290" y="228"/>
                  </a:lnTo>
                  <a:lnTo>
                    <a:pt x="293" y="228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88" y="239"/>
                  </a:lnTo>
                  <a:lnTo>
                    <a:pt x="283" y="241"/>
                  </a:lnTo>
                  <a:lnTo>
                    <a:pt x="283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5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5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67" y="247"/>
                  </a:lnTo>
                  <a:lnTo>
                    <a:pt x="267" y="244"/>
                  </a:lnTo>
                  <a:lnTo>
                    <a:pt x="265" y="244"/>
                  </a:lnTo>
                  <a:lnTo>
                    <a:pt x="265" y="244"/>
                  </a:lnTo>
                  <a:lnTo>
                    <a:pt x="262" y="244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39"/>
                  </a:lnTo>
                  <a:lnTo>
                    <a:pt x="259" y="239"/>
                  </a:lnTo>
                  <a:lnTo>
                    <a:pt x="257" y="239"/>
                  </a:lnTo>
                  <a:lnTo>
                    <a:pt x="257" y="241"/>
                  </a:lnTo>
                  <a:lnTo>
                    <a:pt x="257" y="241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49" y="244"/>
                  </a:lnTo>
                  <a:lnTo>
                    <a:pt x="249" y="244"/>
                  </a:lnTo>
                  <a:lnTo>
                    <a:pt x="246" y="244"/>
                  </a:lnTo>
                  <a:lnTo>
                    <a:pt x="246" y="244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39" y="241"/>
                  </a:lnTo>
                  <a:lnTo>
                    <a:pt x="239" y="244"/>
                  </a:lnTo>
                  <a:lnTo>
                    <a:pt x="236" y="247"/>
                  </a:lnTo>
                  <a:lnTo>
                    <a:pt x="236" y="247"/>
                  </a:lnTo>
                  <a:lnTo>
                    <a:pt x="236" y="249"/>
                  </a:lnTo>
                  <a:lnTo>
                    <a:pt x="233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3" y="247"/>
                  </a:lnTo>
                  <a:lnTo>
                    <a:pt x="231" y="247"/>
                  </a:lnTo>
                  <a:lnTo>
                    <a:pt x="231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6" y="249"/>
                  </a:lnTo>
                  <a:lnTo>
                    <a:pt x="226" y="249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1" y="252"/>
                  </a:lnTo>
                  <a:lnTo>
                    <a:pt x="221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2"/>
                  </a:lnTo>
                  <a:lnTo>
                    <a:pt x="215" y="252"/>
                  </a:lnTo>
                  <a:lnTo>
                    <a:pt x="213" y="252"/>
                  </a:lnTo>
                  <a:lnTo>
                    <a:pt x="213" y="249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2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7"/>
                  </a:lnTo>
                  <a:lnTo>
                    <a:pt x="200" y="257"/>
                  </a:lnTo>
                  <a:lnTo>
                    <a:pt x="197" y="257"/>
                  </a:lnTo>
                  <a:lnTo>
                    <a:pt x="195" y="259"/>
                  </a:lnTo>
                  <a:lnTo>
                    <a:pt x="195" y="259"/>
                  </a:lnTo>
                  <a:lnTo>
                    <a:pt x="192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62"/>
                  </a:lnTo>
                  <a:lnTo>
                    <a:pt x="189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5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9" y="275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4" y="288"/>
                  </a:lnTo>
                  <a:lnTo>
                    <a:pt x="184" y="288"/>
                  </a:lnTo>
                  <a:lnTo>
                    <a:pt x="182" y="288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6"/>
                  </a:lnTo>
                  <a:lnTo>
                    <a:pt x="184" y="296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4"/>
                  </a:lnTo>
                  <a:lnTo>
                    <a:pt x="179" y="306"/>
                  </a:lnTo>
                  <a:lnTo>
                    <a:pt x="179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11"/>
                  </a:lnTo>
                  <a:lnTo>
                    <a:pt x="182" y="311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9"/>
                  </a:lnTo>
                  <a:lnTo>
                    <a:pt x="184" y="319"/>
                  </a:lnTo>
                  <a:lnTo>
                    <a:pt x="184" y="322"/>
                  </a:lnTo>
                  <a:lnTo>
                    <a:pt x="184" y="322"/>
                  </a:lnTo>
                  <a:lnTo>
                    <a:pt x="182" y="322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4" y="330"/>
                  </a:lnTo>
                  <a:lnTo>
                    <a:pt x="184" y="330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2"/>
                  </a:lnTo>
                  <a:lnTo>
                    <a:pt x="187" y="332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7" y="335"/>
                  </a:lnTo>
                  <a:lnTo>
                    <a:pt x="187" y="335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9" y="340"/>
                  </a:lnTo>
                  <a:lnTo>
                    <a:pt x="189" y="340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40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8"/>
                  </a:lnTo>
                  <a:lnTo>
                    <a:pt x="189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3"/>
                  </a:lnTo>
                  <a:lnTo>
                    <a:pt x="195" y="353"/>
                  </a:lnTo>
                  <a:lnTo>
                    <a:pt x="195" y="355"/>
                  </a:lnTo>
                  <a:lnTo>
                    <a:pt x="192" y="355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2" y="361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7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2" y="361"/>
                  </a:lnTo>
                  <a:lnTo>
                    <a:pt x="182" y="361"/>
                  </a:lnTo>
                  <a:lnTo>
                    <a:pt x="182" y="363"/>
                  </a:lnTo>
                  <a:lnTo>
                    <a:pt x="182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1" y="361"/>
                  </a:lnTo>
                  <a:lnTo>
                    <a:pt x="171" y="361"/>
                  </a:lnTo>
                  <a:lnTo>
                    <a:pt x="169" y="363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3"/>
                  </a:lnTo>
                  <a:lnTo>
                    <a:pt x="164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4" y="361"/>
                  </a:lnTo>
                  <a:lnTo>
                    <a:pt x="164" y="358"/>
                  </a:lnTo>
                  <a:lnTo>
                    <a:pt x="161" y="358"/>
                  </a:lnTo>
                  <a:lnTo>
                    <a:pt x="158" y="358"/>
                  </a:lnTo>
                  <a:lnTo>
                    <a:pt x="158" y="358"/>
                  </a:lnTo>
                  <a:lnTo>
                    <a:pt x="161" y="358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58" y="355"/>
                  </a:lnTo>
                  <a:lnTo>
                    <a:pt x="158" y="353"/>
                  </a:lnTo>
                  <a:lnTo>
                    <a:pt x="158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5" y="348"/>
                  </a:lnTo>
                  <a:lnTo>
                    <a:pt x="145" y="348"/>
                  </a:lnTo>
                  <a:lnTo>
                    <a:pt x="143" y="348"/>
                  </a:lnTo>
                  <a:lnTo>
                    <a:pt x="143" y="348"/>
                  </a:lnTo>
                  <a:lnTo>
                    <a:pt x="140" y="348"/>
                  </a:lnTo>
                  <a:lnTo>
                    <a:pt x="140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50"/>
                  </a:lnTo>
                  <a:lnTo>
                    <a:pt x="135" y="350"/>
                  </a:lnTo>
                  <a:lnTo>
                    <a:pt x="135" y="350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0" y="345"/>
                  </a:lnTo>
                  <a:lnTo>
                    <a:pt x="130" y="345"/>
                  </a:lnTo>
                  <a:lnTo>
                    <a:pt x="130" y="342"/>
                  </a:lnTo>
                  <a:lnTo>
                    <a:pt x="130" y="342"/>
                  </a:lnTo>
                  <a:lnTo>
                    <a:pt x="127" y="340"/>
                  </a:lnTo>
                  <a:lnTo>
                    <a:pt x="127" y="340"/>
                  </a:lnTo>
                  <a:lnTo>
                    <a:pt x="127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17" y="337"/>
                  </a:lnTo>
                  <a:lnTo>
                    <a:pt x="117" y="337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2" y="337"/>
                  </a:lnTo>
                  <a:lnTo>
                    <a:pt x="112" y="337"/>
                  </a:lnTo>
                  <a:lnTo>
                    <a:pt x="112" y="340"/>
                  </a:lnTo>
                  <a:lnTo>
                    <a:pt x="112" y="340"/>
                  </a:lnTo>
                  <a:lnTo>
                    <a:pt x="109" y="340"/>
                  </a:lnTo>
                  <a:lnTo>
                    <a:pt x="109" y="337"/>
                  </a:lnTo>
                  <a:lnTo>
                    <a:pt x="107" y="337"/>
                  </a:lnTo>
                  <a:lnTo>
                    <a:pt x="107" y="340"/>
                  </a:lnTo>
                  <a:lnTo>
                    <a:pt x="107" y="340"/>
                  </a:lnTo>
                  <a:lnTo>
                    <a:pt x="104" y="340"/>
                  </a:lnTo>
                  <a:lnTo>
                    <a:pt x="104" y="340"/>
                  </a:lnTo>
                  <a:lnTo>
                    <a:pt x="104" y="337"/>
                  </a:lnTo>
                  <a:lnTo>
                    <a:pt x="101" y="337"/>
                  </a:lnTo>
                  <a:lnTo>
                    <a:pt x="101" y="335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0"/>
                  </a:lnTo>
                  <a:lnTo>
                    <a:pt x="104" y="330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99" y="322"/>
                  </a:lnTo>
                  <a:lnTo>
                    <a:pt x="96" y="322"/>
                  </a:lnTo>
                  <a:lnTo>
                    <a:pt x="96" y="322"/>
                  </a:lnTo>
                  <a:lnTo>
                    <a:pt x="94" y="322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1" y="319"/>
                  </a:lnTo>
                  <a:lnTo>
                    <a:pt x="91" y="317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6" y="314"/>
                  </a:lnTo>
                  <a:lnTo>
                    <a:pt x="96" y="317"/>
                  </a:lnTo>
                  <a:lnTo>
                    <a:pt x="96" y="314"/>
                  </a:lnTo>
                  <a:lnTo>
                    <a:pt x="99" y="314"/>
                  </a:lnTo>
                  <a:lnTo>
                    <a:pt x="99" y="311"/>
                  </a:lnTo>
                  <a:lnTo>
                    <a:pt x="101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4" y="306"/>
                  </a:lnTo>
                  <a:lnTo>
                    <a:pt x="104" y="306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6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6"/>
                  </a:lnTo>
                  <a:lnTo>
                    <a:pt x="96" y="296"/>
                  </a:lnTo>
                  <a:lnTo>
                    <a:pt x="94" y="296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8"/>
                  </a:lnTo>
                  <a:lnTo>
                    <a:pt x="83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5"/>
                  </a:lnTo>
                  <a:lnTo>
                    <a:pt x="73" y="285"/>
                  </a:lnTo>
                  <a:lnTo>
                    <a:pt x="68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3" y="285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5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7" y="285"/>
                  </a:lnTo>
                  <a:lnTo>
                    <a:pt x="55" y="283"/>
                  </a:lnTo>
                  <a:lnTo>
                    <a:pt x="55" y="283"/>
                  </a:lnTo>
                  <a:lnTo>
                    <a:pt x="52" y="283"/>
                  </a:lnTo>
                  <a:lnTo>
                    <a:pt x="50" y="285"/>
                  </a:lnTo>
                  <a:lnTo>
                    <a:pt x="50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78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67"/>
                  </a:lnTo>
                  <a:lnTo>
                    <a:pt x="42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2"/>
                  </a:lnTo>
                  <a:lnTo>
                    <a:pt x="42" y="262"/>
                  </a:lnTo>
                  <a:lnTo>
                    <a:pt x="42" y="262"/>
                  </a:lnTo>
                  <a:lnTo>
                    <a:pt x="42" y="259"/>
                  </a:lnTo>
                  <a:lnTo>
                    <a:pt x="42" y="259"/>
                  </a:lnTo>
                  <a:lnTo>
                    <a:pt x="39" y="259"/>
                  </a:lnTo>
                  <a:lnTo>
                    <a:pt x="39" y="262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7" y="257"/>
                  </a:lnTo>
                  <a:lnTo>
                    <a:pt x="39" y="254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39" y="249"/>
                  </a:lnTo>
                  <a:lnTo>
                    <a:pt x="39" y="252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2" y="247"/>
                  </a:lnTo>
                  <a:lnTo>
                    <a:pt x="32" y="249"/>
                  </a:lnTo>
                  <a:lnTo>
                    <a:pt x="32" y="249"/>
                  </a:lnTo>
                  <a:lnTo>
                    <a:pt x="32" y="247"/>
                  </a:lnTo>
                  <a:lnTo>
                    <a:pt x="29" y="247"/>
                  </a:lnTo>
                  <a:lnTo>
                    <a:pt x="29" y="244"/>
                  </a:lnTo>
                  <a:lnTo>
                    <a:pt x="26" y="244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1" y="244"/>
                  </a:lnTo>
                  <a:lnTo>
                    <a:pt x="21" y="244"/>
                  </a:lnTo>
                  <a:lnTo>
                    <a:pt x="19" y="244"/>
                  </a:lnTo>
                  <a:lnTo>
                    <a:pt x="16" y="244"/>
                  </a:lnTo>
                  <a:lnTo>
                    <a:pt x="16" y="244"/>
                  </a:lnTo>
                  <a:lnTo>
                    <a:pt x="13" y="241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1" y="231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3" y="223"/>
                  </a:lnTo>
                  <a:lnTo>
                    <a:pt x="6" y="221"/>
                  </a:lnTo>
                  <a:lnTo>
                    <a:pt x="6" y="221"/>
                  </a:lnTo>
                  <a:lnTo>
                    <a:pt x="6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3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3" y="210"/>
                  </a:lnTo>
                  <a:lnTo>
                    <a:pt x="6" y="210"/>
                  </a:lnTo>
                  <a:lnTo>
                    <a:pt x="6" y="208"/>
                  </a:lnTo>
                  <a:lnTo>
                    <a:pt x="6" y="208"/>
                  </a:lnTo>
                  <a:lnTo>
                    <a:pt x="8" y="208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11" y="205"/>
                  </a:lnTo>
                  <a:lnTo>
                    <a:pt x="11" y="202"/>
                  </a:lnTo>
                  <a:lnTo>
                    <a:pt x="11" y="202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197"/>
                  </a:lnTo>
                  <a:lnTo>
                    <a:pt x="8" y="197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11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8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4"/>
                  </a:lnTo>
                  <a:lnTo>
                    <a:pt x="3" y="184"/>
                  </a:lnTo>
                  <a:lnTo>
                    <a:pt x="0" y="18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4" name="Freeform 174"/>
            <p:cNvSpPr>
              <a:spLocks/>
            </p:cNvSpPr>
            <p:nvPr/>
          </p:nvSpPr>
          <p:spPr bwMode="auto">
            <a:xfrm>
              <a:off x="1276" y="2693"/>
              <a:ext cx="293" cy="368"/>
            </a:xfrm>
            <a:custGeom>
              <a:avLst/>
              <a:gdLst>
                <a:gd name="T0" fmla="*/ 29 w 293"/>
                <a:gd name="T1" fmla="*/ 174 h 368"/>
                <a:gd name="T2" fmla="*/ 50 w 293"/>
                <a:gd name="T3" fmla="*/ 164 h 368"/>
                <a:gd name="T4" fmla="*/ 55 w 293"/>
                <a:gd name="T5" fmla="*/ 145 h 368"/>
                <a:gd name="T6" fmla="*/ 55 w 293"/>
                <a:gd name="T7" fmla="*/ 130 h 368"/>
                <a:gd name="T8" fmla="*/ 57 w 293"/>
                <a:gd name="T9" fmla="*/ 119 h 368"/>
                <a:gd name="T10" fmla="*/ 44 w 293"/>
                <a:gd name="T11" fmla="*/ 101 h 368"/>
                <a:gd name="T12" fmla="*/ 47 w 293"/>
                <a:gd name="T13" fmla="*/ 75 h 368"/>
                <a:gd name="T14" fmla="*/ 29 w 293"/>
                <a:gd name="T15" fmla="*/ 57 h 368"/>
                <a:gd name="T16" fmla="*/ 24 w 293"/>
                <a:gd name="T17" fmla="*/ 37 h 368"/>
                <a:gd name="T18" fmla="*/ 39 w 293"/>
                <a:gd name="T19" fmla="*/ 31 h 368"/>
                <a:gd name="T20" fmla="*/ 63 w 293"/>
                <a:gd name="T21" fmla="*/ 26 h 368"/>
                <a:gd name="T22" fmla="*/ 96 w 293"/>
                <a:gd name="T23" fmla="*/ 24 h 368"/>
                <a:gd name="T24" fmla="*/ 112 w 293"/>
                <a:gd name="T25" fmla="*/ 5 h 368"/>
                <a:gd name="T26" fmla="*/ 127 w 293"/>
                <a:gd name="T27" fmla="*/ 11 h 368"/>
                <a:gd name="T28" fmla="*/ 145 w 293"/>
                <a:gd name="T29" fmla="*/ 24 h 368"/>
                <a:gd name="T30" fmla="*/ 174 w 293"/>
                <a:gd name="T31" fmla="*/ 29 h 368"/>
                <a:gd name="T32" fmla="*/ 189 w 293"/>
                <a:gd name="T33" fmla="*/ 34 h 368"/>
                <a:gd name="T34" fmla="*/ 187 w 293"/>
                <a:gd name="T35" fmla="*/ 55 h 368"/>
                <a:gd name="T36" fmla="*/ 189 w 293"/>
                <a:gd name="T37" fmla="*/ 65 h 368"/>
                <a:gd name="T38" fmla="*/ 182 w 293"/>
                <a:gd name="T39" fmla="*/ 75 h 368"/>
                <a:gd name="T40" fmla="*/ 184 w 293"/>
                <a:gd name="T41" fmla="*/ 96 h 368"/>
                <a:gd name="T42" fmla="*/ 200 w 293"/>
                <a:gd name="T43" fmla="*/ 96 h 368"/>
                <a:gd name="T44" fmla="*/ 195 w 293"/>
                <a:gd name="T45" fmla="*/ 107 h 368"/>
                <a:gd name="T46" fmla="*/ 195 w 293"/>
                <a:gd name="T47" fmla="*/ 119 h 368"/>
                <a:gd name="T48" fmla="*/ 192 w 293"/>
                <a:gd name="T49" fmla="*/ 140 h 368"/>
                <a:gd name="T50" fmla="*/ 187 w 293"/>
                <a:gd name="T51" fmla="*/ 151 h 368"/>
                <a:gd name="T52" fmla="*/ 202 w 293"/>
                <a:gd name="T53" fmla="*/ 174 h 368"/>
                <a:gd name="T54" fmla="*/ 223 w 293"/>
                <a:gd name="T55" fmla="*/ 184 h 368"/>
                <a:gd name="T56" fmla="*/ 241 w 293"/>
                <a:gd name="T57" fmla="*/ 182 h 368"/>
                <a:gd name="T58" fmla="*/ 257 w 293"/>
                <a:gd name="T59" fmla="*/ 195 h 368"/>
                <a:gd name="T60" fmla="*/ 277 w 293"/>
                <a:gd name="T61" fmla="*/ 200 h 368"/>
                <a:gd name="T62" fmla="*/ 288 w 293"/>
                <a:gd name="T63" fmla="*/ 208 h 368"/>
                <a:gd name="T64" fmla="*/ 290 w 293"/>
                <a:gd name="T65" fmla="*/ 226 h 368"/>
                <a:gd name="T66" fmla="*/ 288 w 293"/>
                <a:gd name="T67" fmla="*/ 239 h 368"/>
                <a:gd name="T68" fmla="*/ 267 w 293"/>
                <a:gd name="T69" fmla="*/ 247 h 368"/>
                <a:gd name="T70" fmla="*/ 257 w 293"/>
                <a:gd name="T71" fmla="*/ 239 h 368"/>
                <a:gd name="T72" fmla="*/ 233 w 293"/>
                <a:gd name="T73" fmla="*/ 249 h 368"/>
                <a:gd name="T74" fmla="*/ 215 w 293"/>
                <a:gd name="T75" fmla="*/ 254 h 368"/>
                <a:gd name="T76" fmla="*/ 208 w 293"/>
                <a:gd name="T77" fmla="*/ 254 h 368"/>
                <a:gd name="T78" fmla="*/ 184 w 293"/>
                <a:gd name="T79" fmla="*/ 270 h 368"/>
                <a:gd name="T80" fmla="*/ 182 w 293"/>
                <a:gd name="T81" fmla="*/ 283 h 368"/>
                <a:gd name="T82" fmla="*/ 182 w 293"/>
                <a:gd name="T83" fmla="*/ 291 h 368"/>
                <a:gd name="T84" fmla="*/ 179 w 293"/>
                <a:gd name="T85" fmla="*/ 306 h 368"/>
                <a:gd name="T86" fmla="*/ 184 w 293"/>
                <a:gd name="T87" fmla="*/ 324 h 368"/>
                <a:gd name="T88" fmla="*/ 187 w 293"/>
                <a:gd name="T89" fmla="*/ 337 h 368"/>
                <a:gd name="T90" fmla="*/ 195 w 293"/>
                <a:gd name="T91" fmla="*/ 350 h 368"/>
                <a:gd name="T92" fmla="*/ 184 w 293"/>
                <a:gd name="T93" fmla="*/ 363 h 368"/>
                <a:gd name="T94" fmla="*/ 164 w 293"/>
                <a:gd name="T95" fmla="*/ 361 h 368"/>
                <a:gd name="T96" fmla="*/ 153 w 293"/>
                <a:gd name="T97" fmla="*/ 350 h 368"/>
                <a:gd name="T98" fmla="*/ 135 w 293"/>
                <a:gd name="T99" fmla="*/ 348 h 368"/>
                <a:gd name="T100" fmla="*/ 120 w 293"/>
                <a:gd name="T101" fmla="*/ 340 h 368"/>
                <a:gd name="T102" fmla="*/ 101 w 293"/>
                <a:gd name="T103" fmla="*/ 332 h 368"/>
                <a:gd name="T104" fmla="*/ 94 w 293"/>
                <a:gd name="T105" fmla="*/ 319 h 368"/>
                <a:gd name="T106" fmla="*/ 104 w 293"/>
                <a:gd name="T107" fmla="*/ 306 h 368"/>
                <a:gd name="T108" fmla="*/ 91 w 293"/>
                <a:gd name="T109" fmla="*/ 291 h 368"/>
                <a:gd name="T110" fmla="*/ 78 w 293"/>
                <a:gd name="T111" fmla="*/ 288 h 368"/>
                <a:gd name="T112" fmla="*/ 57 w 293"/>
                <a:gd name="T113" fmla="*/ 283 h 368"/>
                <a:gd name="T114" fmla="*/ 47 w 293"/>
                <a:gd name="T115" fmla="*/ 280 h 368"/>
                <a:gd name="T116" fmla="*/ 42 w 293"/>
                <a:gd name="T117" fmla="*/ 262 h 368"/>
                <a:gd name="T118" fmla="*/ 42 w 293"/>
                <a:gd name="T119" fmla="*/ 249 h 368"/>
                <a:gd name="T120" fmla="*/ 21 w 293"/>
                <a:gd name="T121" fmla="*/ 244 h 368"/>
                <a:gd name="T122" fmla="*/ 6 w 293"/>
                <a:gd name="T123" fmla="*/ 221 h 368"/>
                <a:gd name="T124" fmla="*/ 8 w 293"/>
                <a:gd name="T125" fmla="*/ 19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" h="368">
                  <a:moveTo>
                    <a:pt x="0" y="182"/>
                  </a:move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6" y="182"/>
                  </a:lnTo>
                  <a:lnTo>
                    <a:pt x="6" y="179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6" y="174"/>
                  </a:lnTo>
                  <a:lnTo>
                    <a:pt x="19" y="174"/>
                  </a:lnTo>
                  <a:lnTo>
                    <a:pt x="24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9" y="171"/>
                  </a:lnTo>
                  <a:lnTo>
                    <a:pt x="42" y="171"/>
                  </a:lnTo>
                  <a:lnTo>
                    <a:pt x="44" y="171"/>
                  </a:lnTo>
                  <a:lnTo>
                    <a:pt x="47" y="171"/>
                  </a:lnTo>
                  <a:lnTo>
                    <a:pt x="47" y="171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5" y="153"/>
                  </a:lnTo>
                  <a:lnTo>
                    <a:pt x="52" y="151"/>
                  </a:lnTo>
                  <a:lnTo>
                    <a:pt x="52" y="151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57" y="140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2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5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5" y="117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4" y="107"/>
                  </a:lnTo>
                  <a:lnTo>
                    <a:pt x="44" y="104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2" y="96"/>
                  </a:lnTo>
                  <a:lnTo>
                    <a:pt x="50" y="94"/>
                  </a:lnTo>
                  <a:lnTo>
                    <a:pt x="47" y="91"/>
                  </a:lnTo>
                  <a:lnTo>
                    <a:pt x="44" y="88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39" y="73"/>
                  </a:lnTo>
                  <a:lnTo>
                    <a:pt x="39" y="70"/>
                  </a:lnTo>
                  <a:lnTo>
                    <a:pt x="37" y="70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4" y="65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9" y="34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5" y="24"/>
                  </a:lnTo>
                  <a:lnTo>
                    <a:pt x="57" y="24"/>
                  </a:lnTo>
                  <a:lnTo>
                    <a:pt x="63" y="24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8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8" y="29"/>
                  </a:lnTo>
                  <a:lnTo>
                    <a:pt x="91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4"/>
                  </a:lnTo>
                  <a:lnTo>
                    <a:pt x="96" y="24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3"/>
                  </a:lnTo>
                  <a:lnTo>
                    <a:pt x="107" y="11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7" y="3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8" y="13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8" y="26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3" y="26"/>
                  </a:lnTo>
                  <a:lnTo>
                    <a:pt x="156" y="26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7" y="29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1"/>
                  </a:lnTo>
                  <a:lnTo>
                    <a:pt x="179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7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9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84" y="55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7" y="68"/>
                  </a:lnTo>
                  <a:lnTo>
                    <a:pt x="187" y="70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9" y="73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8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79" y="86"/>
                  </a:lnTo>
                  <a:lnTo>
                    <a:pt x="179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1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94"/>
                  </a:lnTo>
                  <a:lnTo>
                    <a:pt x="192" y="94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200" y="99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5"/>
                  </a:lnTo>
                  <a:lnTo>
                    <a:pt x="192" y="130"/>
                  </a:lnTo>
                  <a:lnTo>
                    <a:pt x="192" y="130"/>
                  </a:lnTo>
                  <a:lnTo>
                    <a:pt x="189" y="132"/>
                  </a:lnTo>
                  <a:lnTo>
                    <a:pt x="189" y="135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7" y="151"/>
                  </a:lnTo>
                  <a:lnTo>
                    <a:pt x="187" y="151"/>
                  </a:lnTo>
                  <a:lnTo>
                    <a:pt x="187" y="153"/>
                  </a:lnTo>
                  <a:lnTo>
                    <a:pt x="189" y="156"/>
                  </a:lnTo>
                  <a:lnTo>
                    <a:pt x="189" y="156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2" y="158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5" y="164"/>
                  </a:lnTo>
                  <a:lnTo>
                    <a:pt x="195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5" y="174"/>
                  </a:lnTo>
                  <a:lnTo>
                    <a:pt x="205" y="177"/>
                  </a:lnTo>
                  <a:lnTo>
                    <a:pt x="208" y="177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6" y="184"/>
                  </a:lnTo>
                  <a:lnTo>
                    <a:pt x="228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44" y="184"/>
                  </a:lnTo>
                  <a:lnTo>
                    <a:pt x="246" y="184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4" y="189"/>
                  </a:lnTo>
                  <a:lnTo>
                    <a:pt x="254" y="189"/>
                  </a:lnTo>
                  <a:lnTo>
                    <a:pt x="257" y="187"/>
                  </a:lnTo>
                  <a:lnTo>
                    <a:pt x="257" y="189"/>
                  </a:lnTo>
                  <a:lnTo>
                    <a:pt x="257" y="192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9" y="195"/>
                  </a:lnTo>
                  <a:lnTo>
                    <a:pt x="259" y="195"/>
                  </a:lnTo>
                  <a:lnTo>
                    <a:pt x="262" y="195"/>
                  </a:lnTo>
                  <a:lnTo>
                    <a:pt x="262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7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7"/>
                  </a:lnTo>
                  <a:lnTo>
                    <a:pt x="270" y="200"/>
                  </a:lnTo>
                  <a:lnTo>
                    <a:pt x="272" y="200"/>
                  </a:lnTo>
                  <a:lnTo>
                    <a:pt x="272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80" y="205"/>
                  </a:lnTo>
                  <a:lnTo>
                    <a:pt x="280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8" y="205"/>
                  </a:lnTo>
                  <a:lnTo>
                    <a:pt x="288" y="202"/>
                  </a:lnTo>
                  <a:lnTo>
                    <a:pt x="288" y="202"/>
                  </a:lnTo>
                  <a:lnTo>
                    <a:pt x="290" y="205"/>
                  </a:lnTo>
                  <a:lnTo>
                    <a:pt x="290" y="205"/>
                  </a:lnTo>
                  <a:lnTo>
                    <a:pt x="290" y="208"/>
                  </a:lnTo>
                  <a:lnTo>
                    <a:pt x="288" y="208"/>
                  </a:lnTo>
                  <a:lnTo>
                    <a:pt x="288" y="208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90" y="215"/>
                  </a:lnTo>
                  <a:lnTo>
                    <a:pt x="290" y="218"/>
                  </a:lnTo>
                  <a:lnTo>
                    <a:pt x="290" y="221"/>
                  </a:lnTo>
                  <a:lnTo>
                    <a:pt x="290" y="221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8"/>
                  </a:lnTo>
                  <a:lnTo>
                    <a:pt x="290" y="228"/>
                  </a:lnTo>
                  <a:lnTo>
                    <a:pt x="293" y="228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88" y="239"/>
                  </a:lnTo>
                  <a:lnTo>
                    <a:pt x="283" y="241"/>
                  </a:lnTo>
                  <a:lnTo>
                    <a:pt x="283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5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5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67" y="247"/>
                  </a:lnTo>
                  <a:lnTo>
                    <a:pt x="267" y="244"/>
                  </a:lnTo>
                  <a:lnTo>
                    <a:pt x="265" y="244"/>
                  </a:lnTo>
                  <a:lnTo>
                    <a:pt x="265" y="244"/>
                  </a:lnTo>
                  <a:lnTo>
                    <a:pt x="262" y="244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39"/>
                  </a:lnTo>
                  <a:lnTo>
                    <a:pt x="259" y="239"/>
                  </a:lnTo>
                  <a:lnTo>
                    <a:pt x="257" y="239"/>
                  </a:lnTo>
                  <a:lnTo>
                    <a:pt x="257" y="241"/>
                  </a:lnTo>
                  <a:lnTo>
                    <a:pt x="257" y="241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49" y="244"/>
                  </a:lnTo>
                  <a:lnTo>
                    <a:pt x="249" y="244"/>
                  </a:lnTo>
                  <a:lnTo>
                    <a:pt x="246" y="244"/>
                  </a:lnTo>
                  <a:lnTo>
                    <a:pt x="246" y="244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39" y="241"/>
                  </a:lnTo>
                  <a:lnTo>
                    <a:pt x="239" y="244"/>
                  </a:lnTo>
                  <a:lnTo>
                    <a:pt x="236" y="247"/>
                  </a:lnTo>
                  <a:lnTo>
                    <a:pt x="236" y="247"/>
                  </a:lnTo>
                  <a:lnTo>
                    <a:pt x="236" y="249"/>
                  </a:lnTo>
                  <a:lnTo>
                    <a:pt x="233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3" y="247"/>
                  </a:lnTo>
                  <a:lnTo>
                    <a:pt x="231" y="247"/>
                  </a:lnTo>
                  <a:lnTo>
                    <a:pt x="231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6" y="249"/>
                  </a:lnTo>
                  <a:lnTo>
                    <a:pt x="226" y="249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1" y="252"/>
                  </a:lnTo>
                  <a:lnTo>
                    <a:pt x="221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2"/>
                  </a:lnTo>
                  <a:lnTo>
                    <a:pt x="215" y="252"/>
                  </a:lnTo>
                  <a:lnTo>
                    <a:pt x="213" y="252"/>
                  </a:lnTo>
                  <a:lnTo>
                    <a:pt x="213" y="249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2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7"/>
                  </a:lnTo>
                  <a:lnTo>
                    <a:pt x="200" y="257"/>
                  </a:lnTo>
                  <a:lnTo>
                    <a:pt x="197" y="257"/>
                  </a:lnTo>
                  <a:lnTo>
                    <a:pt x="195" y="259"/>
                  </a:lnTo>
                  <a:lnTo>
                    <a:pt x="195" y="259"/>
                  </a:lnTo>
                  <a:lnTo>
                    <a:pt x="192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62"/>
                  </a:lnTo>
                  <a:lnTo>
                    <a:pt x="189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5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9" y="275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4" y="288"/>
                  </a:lnTo>
                  <a:lnTo>
                    <a:pt x="184" y="288"/>
                  </a:lnTo>
                  <a:lnTo>
                    <a:pt x="182" y="288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6"/>
                  </a:lnTo>
                  <a:lnTo>
                    <a:pt x="184" y="296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4"/>
                  </a:lnTo>
                  <a:lnTo>
                    <a:pt x="179" y="306"/>
                  </a:lnTo>
                  <a:lnTo>
                    <a:pt x="179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11"/>
                  </a:lnTo>
                  <a:lnTo>
                    <a:pt x="182" y="311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9"/>
                  </a:lnTo>
                  <a:lnTo>
                    <a:pt x="184" y="319"/>
                  </a:lnTo>
                  <a:lnTo>
                    <a:pt x="184" y="322"/>
                  </a:lnTo>
                  <a:lnTo>
                    <a:pt x="184" y="322"/>
                  </a:lnTo>
                  <a:lnTo>
                    <a:pt x="182" y="322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4" y="330"/>
                  </a:lnTo>
                  <a:lnTo>
                    <a:pt x="184" y="330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2"/>
                  </a:lnTo>
                  <a:lnTo>
                    <a:pt x="187" y="332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7" y="335"/>
                  </a:lnTo>
                  <a:lnTo>
                    <a:pt x="187" y="335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9" y="340"/>
                  </a:lnTo>
                  <a:lnTo>
                    <a:pt x="189" y="340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40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8"/>
                  </a:lnTo>
                  <a:lnTo>
                    <a:pt x="189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3"/>
                  </a:lnTo>
                  <a:lnTo>
                    <a:pt x="195" y="353"/>
                  </a:lnTo>
                  <a:lnTo>
                    <a:pt x="195" y="355"/>
                  </a:lnTo>
                  <a:lnTo>
                    <a:pt x="192" y="355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2" y="361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7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2" y="361"/>
                  </a:lnTo>
                  <a:lnTo>
                    <a:pt x="182" y="361"/>
                  </a:lnTo>
                  <a:lnTo>
                    <a:pt x="182" y="363"/>
                  </a:lnTo>
                  <a:lnTo>
                    <a:pt x="182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1" y="361"/>
                  </a:lnTo>
                  <a:lnTo>
                    <a:pt x="171" y="361"/>
                  </a:lnTo>
                  <a:lnTo>
                    <a:pt x="169" y="363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3"/>
                  </a:lnTo>
                  <a:lnTo>
                    <a:pt x="164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4" y="361"/>
                  </a:lnTo>
                  <a:lnTo>
                    <a:pt x="164" y="358"/>
                  </a:lnTo>
                  <a:lnTo>
                    <a:pt x="161" y="358"/>
                  </a:lnTo>
                  <a:lnTo>
                    <a:pt x="158" y="358"/>
                  </a:lnTo>
                  <a:lnTo>
                    <a:pt x="158" y="358"/>
                  </a:lnTo>
                  <a:lnTo>
                    <a:pt x="161" y="358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58" y="355"/>
                  </a:lnTo>
                  <a:lnTo>
                    <a:pt x="158" y="353"/>
                  </a:lnTo>
                  <a:lnTo>
                    <a:pt x="158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5" y="348"/>
                  </a:lnTo>
                  <a:lnTo>
                    <a:pt x="145" y="348"/>
                  </a:lnTo>
                  <a:lnTo>
                    <a:pt x="143" y="348"/>
                  </a:lnTo>
                  <a:lnTo>
                    <a:pt x="143" y="348"/>
                  </a:lnTo>
                  <a:lnTo>
                    <a:pt x="140" y="348"/>
                  </a:lnTo>
                  <a:lnTo>
                    <a:pt x="140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50"/>
                  </a:lnTo>
                  <a:lnTo>
                    <a:pt x="135" y="350"/>
                  </a:lnTo>
                  <a:lnTo>
                    <a:pt x="135" y="350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0" y="345"/>
                  </a:lnTo>
                  <a:lnTo>
                    <a:pt x="130" y="345"/>
                  </a:lnTo>
                  <a:lnTo>
                    <a:pt x="130" y="342"/>
                  </a:lnTo>
                  <a:lnTo>
                    <a:pt x="130" y="342"/>
                  </a:lnTo>
                  <a:lnTo>
                    <a:pt x="127" y="340"/>
                  </a:lnTo>
                  <a:lnTo>
                    <a:pt x="127" y="340"/>
                  </a:lnTo>
                  <a:lnTo>
                    <a:pt x="127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17" y="337"/>
                  </a:lnTo>
                  <a:lnTo>
                    <a:pt x="117" y="337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2" y="337"/>
                  </a:lnTo>
                  <a:lnTo>
                    <a:pt x="112" y="337"/>
                  </a:lnTo>
                  <a:lnTo>
                    <a:pt x="112" y="340"/>
                  </a:lnTo>
                  <a:lnTo>
                    <a:pt x="112" y="340"/>
                  </a:lnTo>
                  <a:lnTo>
                    <a:pt x="109" y="340"/>
                  </a:lnTo>
                  <a:lnTo>
                    <a:pt x="109" y="337"/>
                  </a:lnTo>
                  <a:lnTo>
                    <a:pt x="107" y="337"/>
                  </a:lnTo>
                  <a:lnTo>
                    <a:pt x="107" y="340"/>
                  </a:lnTo>
                  <a:lnTo>
                    <a:pt x="107" y="340"/>
                  </a:lnTo>
                  <a:lnTo>
                    <a:pt x="104" y="340"/>
                  </a:lnTo>
                  <a:lnTo>
                    <a:pt x="104" y="340"/>
                  </a:lnTo>
                  <a:lnTo>
                    <a:pt x="104" y="337"/>
                  </a:lnTo>
                  <a:lnTo>
                    <a:pt x="101" y="337"/>
                  </a:lnTo>
                  <a:lnTo>
                    <a:pt x="101" y="335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0"/>
                  </a:lnTo>
                  <a:lnTo>
                    <a:pt x="104" y="330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99" y="322"/>
                  </a:lnTo>
                  <a:lnTo>
                    <a:pt x="96" y="322"/>
                  </a:lnTo>
                  <a:lnTo>
                    <a:pt x="96" y="322"/>
                  </a:lnTo>
                  <a:lnTo>
                    <a:pt x="94" y="322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1" y="319"/>
                  </a:lnTo>
                  <a:lnTo>
                    <a:pt x="91" y="317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6" y="314"/>
                  </a:lnTo>
                  <a:lnTo>
                    <a:pt x="96" y="317"/>
                  </a:lnTo>
                  <a:lnTo>
                    <a:pt x="96" y="314"/>
                  </a:lnTo>
                  <a:lnTo>
                    <a:pt x="99" y="314"/>
                  </a:lnTo>
                  <a:lnTo>
                    <a:pt x="99" y="311"/>
                  </a:lnTo>
                  <a:lnTo>
                    <a:pt x="101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4" y="306"/>
                  </a:lnTo>
                  <a:lnTo>
                    <a:pt x="104" y="306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6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6"/>
                  </a:lnTo>
                  <a:lnTo>
                    <a:pt x="96" y="296"/>
                  </a:lnTo>
                  <a:lnTo>
                    <a:pt x="94" y="296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8"/>
                  </a:lnTo>
                  <a:lnTo>
                    <a:pt x="83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5"/>
                  </a:lnTo>
                  <a:lnTo>
                    <a:pt x="73" y="285"/>
                  </a:lnTo>
                  <a:lnTo>
                    <a:pt x="68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3" y="285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5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7" y="285"/>
                  </a:lnTo>
                  <a:lnTo>
                    <a:pt x="55" y="283"/>
                  </a:lnTo>
                  <a:lnTo>
                    <a:pt x="55" y="283"/>
                  </a:lnTo>
                  <a:lnTo>
                    <a:pt x="52" y="283"/>
                  </a:lnTo>
                  <a:lnTo>
                    <a:pt x="50" y="285"/>
                  </a:lnTo>
                  <a:lnTo>
                    <a:pt x="50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78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67"/>
                  </a:lnTo>
                  <a:lnTo>
                    <a:pt x="42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2"/>
                  </a:lnTo>
                  <a:lnTo>
                    <a:pt x="42" y="262"/>
                  </a:lnTo>
                  <a:lnTo>
                    <a:pt x="42" y="262"/>
                  </a:lnTo>
                  <a:lnTo>
                    <a:pt x="42" y="259"/>
                  </a:lnTo>
                  <a:lnTo>
                    <a:pt x="42" y="259"/>
                  </a:lnTo>
                  <a:lnTo>
                    <a:pt x="39" y="259"/>
                  </a:lnTo>
                  <a:lnTo>
                    <a:pt x="39" y="262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7" y="257"/>
                  </a:lnTo>
                  <a:lnTo>
                    <a:pt x="39" y="254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39" y="249"/>
                  </a:lnTo>
                  <a:lnTo>
                    <a:pt x="39" y="252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2" y="247"/>
                  </a:lnTo>
                  <a:lnTo>
                    <a:pt x="32" y="249"/>
                  </a:lnTo>
                  <a:lnTo>
                    <a:pt x="32" y="249"/>
                  </a:lnTo>
                  <a:lnTo>
                    <a:pt x="32" y="247"/>
                  </a:lnTo>
                  <a:lnTo>
                    <a:pt x="29" y="247"/>
                  </a:lnTo>
                  <a:lnTo>
                    <a:pt x="29" y="244"/>
                  </a:lnTo>
                  <a:lnTo>
                    <a:pt x="26" y="244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1" y="244"/>
                  </a:lnTo>
                  <a:lnTo>
                    <a:pt x="21" y="244"/>
                  </a:lnTo>
                  <a:lnTo>
                    <a:pt x="19" y="244"/>
                  </a:lnTo>
                  <a:lnTo>
                    <a:pt x="16" y="244"/>
                  </a:lnTo>
                  <a:lnTo>
                    <a:pt x="16" y="244"/>
                  </a:lnTo>
                  <a:lnTo>
                    <a:pt x="13" y="241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1" y="231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3" y="223"/>
                  </a:lnTo>
                  <a:lnTo>
                    <a:pt x="6" y="221"/>
                  </a:lnTo>
                  <a:lnTo>
                    <a:pt x="6" y="221"/>
                  </a:lnTo>
                  <a:lnTo>
                    <a:pt x="6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3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3" y="210"/>
                  </a:lnTo>
                  <a:lnTo>
                    <a:pt x="6" y="210"/>
                  </a:lnTo>
                  <a:lnTo>
                    <a:pt x="6" y="208"/>
                  </a:lnTo>
                  <a:lnTo>
                    <a:pt x="6" y="208"/>
                  </a:lnTo>
                  <a:lnTo>
                    <a:pt x="8" y="208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11" y="205"/>
                  </a:lnTo>
                  <a:lnTo>
                    <a:pt x="11" y="202"/>
                  </a:lnTo>
                  <a:lnTo>
                    <a:pt x="11" y="202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197"/>
                  </a:lnTo>
                  <a:lnTo>
                    <a:pt x="8" y="197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11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8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4"/>
                  </a:lnTo>
                  <a:lnTo>
                    <a:pt x="3" y="184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5" name="Freeform 175"/>
            <p:cNvSpPr>
              <a:spLocks/>
            </p:cNvSpPr>
            <p:nvPr/>
          </p:nvSpPr>
          <p:spPr bwMode="auto">
            <a:xfrm>
              <a:off x="1276" y="2693"/>
              <a:ext cx="293" cy="368"/>
            </a:xfrm>
            <a:custGeom>
              <a:avLst/>
              <a:gdLst>
                <a:gd name="T0" fmla="*/ 29 w 293"/>
                <a:gd name="T1" fmla="*/ 174 h 368"/>
                <a:gd name="T2" fmla="*/ 50 w 293"/>
                <a:gd name="T3" fmla="*/ 164 h 368"/>
                <a:gd name="T4" fmla="*/ 55 w 293"/>
                <a:gd name="T5" fmla="*/ 145 h 368"/>
                <a:gd name="T6" fmla="*/ 55 w 293"/>
                <a:gd name="T7" fmla="*/ 130 h 368"/>
                <a:gd name="T8" fmla="*/ 57 w 293"/>
                <a:gd name="T9" fmla="*/ 119 h 368"/>
                <a:gd name="T10" fmla="*/ 44 w 293"/>
                <a:gd name="T11" fmla="*/ 101 h 368"/>
                <a:gd name="T12" fmla="*/ 47 w 293"/>
                <a:gd name="T13" fmla="*/ 75 h 368"/>
                <a:gd name="T14" fmla="*/ 29 w 293"/>
                <a:gd name="T15" fmla="*/ 57 h 368"/>
                <a:gd name="T16" fmla="*/ 24 w 293"/>
                <a:gd name="T17" fmla="*/ 37 h 368"/>
                <a:gd name="T18" fmla="*/ 39 w 293"/>
                <a:gd name="T19" fmla="*/ 31 h 368"/>
                <a:gd name="T20" fmla="*/ 63 w 293"/>
                <a:gd name="T21" fmla="*/ 26 h 368"/>
                <a:gd name="T22" fmla="*/ 96 w 293"/>
                <a:gd name="T23" fmla="*/ 24 h 368"/>
                <a:gd name="T24" fmla="*/ 112 w 293"/>
                <a:gd name="T25" fmla="*/ 5 h 368"/>
                <a:gd name="T26" fmla="*/ 127 w 293"/>
                <a:gd name="T27" fmla="*/ 11 h 368"/>
                <a:gd name="T28" fmla="*/ 145 w 293"/>
                <a:gd name="T29" fmla="*/ 24 h 368"/>
                <a:gd name="T30" fmla="*/ 174 w 293"/>
                <a:gd name="T31" fmla="*/ 29 h 368"/>
                <a:gd name="T32" fmla="*/ 189 w 293"/>
                <a:gd name="T33" fmla="*/ 34 h 368"/>
                <a:gd name="T34" fmla="*/ 187 w 293"/>
                <a:gd name="T35" fmla="*/ 55 h 368"/>
                <a:gd name="T36" fmla="*/ 189 w 293"/>
                <a:gd name="T37" fmla="*/ 65 h 368"/>
                <a:gd name="T38" fmla="*/ 182 w 293"/>
                <a:gd name="T39" fmla="*/ 75 h 368"/>
                <a:gd name="T40" fmla="*/ 184 w 293"/>
                <a:gd name="T41" fmla="*/ 96 h 368"/>
                <a:gd name="T42" fmla="*/ 200 w 293"/>
                <a:gd name="T43" fmla="*/ 96 h 368"/>
                <a:gd name="T44" fmla="*/ 195 w 293"/>
                <a:gd name="T45" fmla="*/ 107 h 368"/>
                <a:gd name="T46" fmla="*/ 195 w 293"/>
                <a:gd name="T47" fmla="*/ 119 h 368"/>
                <a:gd name="T48" fmla="*/ 192 w 293"/>
                <a:gd name="T49" fmla="*/ 140 h 368"/>
                <a:gd name="T50" fmla="*/ 187 w 293"/>
                <a:gd name="T51" fmla="*/ 151 h 368"/>
                <a:gd name="T52" fmla="*/ 202 w 293"/>
                <a:gd name="T53" fmla="*/ 174 h 368"/>
                <a:gd name="T54" fmla="*/ 223 w 293"/>
                <a:gd name="T55" fmla="*/ 184 h 368"/>
                <a:gd name="T56" fmla="*/ 241 w 293"/>
                <a:gd name="T57" fmla="*/ 182 h 368"/>
                <a:gd name="T58" fmla="*/ 257 w 293"/>
                <a:gd name="T59" fmla="*/ 195 h 368"/>
                <a:gd name="T60" fmla="*/ 277 w 293"/>
                <a:gd name="T61" fmla="*/ 200 h 368"/>
                <a:gd name="T62" fmla="*/ 288 w 293"/>
                <a:gd name="T63" fmla="*/ 208 h 368"/>
                <a:gd name="T64" fmla="*/ 290 w 293"/>
                <a:gd name="T65" fmla="*/ 226 h 368"/>
                <a:gd name="T66" fmla="*/ 288 w 293"/>
                <a:gd name="T67" fmla="*/ 239 h 368"/>
                <a:gd name="T68" fmla="*/ 267 w 293"/>
                <a:gd name="T69" fmla="*/ 247 h 368"/>
                <a:gd name="T70" fmla="*/ 257 w 293"/>
                <a:gd name="T71" fmla="*/ 239 h 368"/>
                <a:gd name="T72" fmla="*/ 233 w 293"/>
                <a:gd name="T73" fmla="*/ 249 h 368"/>
                <a:gd name="T74" fmla="*/ 215 w 293"/>
                <a:gd name="T75" fmla="*/ 254 h 368"/>
                <a:gd name="T76" fmla="*/ 208 w 293"/>
                <a:gd name="T77" fmla="*/ 254 h 368"/>
                <a:gd name="T78" fmla="*/ 184 w 293"/>
                <a:gd name="T79" fmla="*/ 270 h 368"/>
                <a:gd name="T80" fmla="*/ 182 w 293"/>
                <a:gd name="T81" fmla="*/ 283 h 368"/>
                <a:gd name="T82" fmla="*/ 182 w 293"/>
                <a:gd name="T83" fmla="*/ 291 h 368"/>
                <a:gd name="T84" fmla="*/ 179 w 293"/>
                <a:gd name="T85" fmla="*/ 306 h 368"/>
                <a:gd name="T86" fmla="*/ 184 w 293"/>
                <a:gd name="T87" fmla="*/ 324 h 368"/>
                <a:gd name="T88" fmla="*/ 187 w 293"/>
                <a:gd name="T89" fmla="*/ 337 h 368"/>
                <a:gd name="T90" fmla="*/ 195 w 293"/>
                <a:gd name="T91" fmla="*/ 350 h 368"/>
                <a:gd name="T92" fmla="*/ 184 w 293"/>
                <a:gd name="T93" fmla="*/ 363 h 368"/>
                <a:gd name="T94" fmla="*/ 164 w 293"/>
                <a:gd name="T95" fmla="*/ 361 h 368"/>
                <a:gd name="T96" fmla="*/ 153 w 293"/>
                <a:gd name="T97" fmla="*/ 350 h 368"/>
                <a:gd name="T98" fmla="*/ 135 w 293"/>
                <a:gd name="T99" fmla="*/ 348 h 368"/>
                <a:gd name="T100" fmla="*/ 120 w 293"/>
                <a:gd name="T101" fmla="*/ 340 h 368"/>
                <a:gd name="T102" fmla="*/ 101 w 293"/>
                <a:gd name="T103" fmla="*/ 332 h 368"/>
                <a:gd name="T104" fmla="*/ 94 w 293"/>
                <a:gd name="T105" fmla="*/ 319 h 368"/>
                <a:gd name="T106" fmla="*/ 104 w 293"/>
                <a:gd name="T107" fmla="*/ 306 h 368"/>
                <a:gd name="T108" fmla="*/ 91 w 293"/>
                <a:gd name="T109" fmla="*/ 291 h 368"/>
                <a:gd name="T110" fmla="*/ 78 w 293"/>
                <a:gd name="T111" fmla="*/ 288 h 368"/>
                <a:gd name="T112" fmla="*/ 57 w 293"/>
                <a:gd name="T113" fmla="*/ 283 h 368"/>
                <a:gd name="T114" fmla="*/ 47 w 293"/>
                <a:gd name="T115" fmla="*/ 280 h 368"/>
                <a:gd name="T116" fmla="*/ 42 w 293"/>
                <a:gd name="T117" fmla="*/ 262 h 368"/>
                <a:gd name="T118" fmla="*/ 42 w 293"/>
                <a:gd name="T119" fmla="*/ 249 h 368"/>
                <a:gd name="T120" fmla="*/ 21 w 293"/>
                <a:gd name="T121" fmla="*/ 244 h 368"/>
                <a:gd name="T122" fmla="*/ 6 w 293"/>
                <a:gd name="T123" fmla="*/ 221 h 368"/>
                <a:gd name="T124" fmla="*/ 8 w 293"/>
                <a:gd name="T125" fmla="*/ 19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3" h="368">
                  <a:moveTo>
                    <a:pt x="0" y="182"/>
                  </a:move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6" y="182"/>
                  </a:lnTo>
                  <a:lnTo>
                    <a:pt x="6" y="179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6" y="174"/>
                  </a:lnTo>
                  <a:lnTo>
                    <a:pt x="19" y="174"/>
                  </a:lnTo>
                  <a:lnTo>
                    <a:pt x="24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9" y="171"/>
                  </a:lnTo>
                  <a:lnTo>
                    <a:pt x="42" y="171"/>
                  </a:lnTo>
                  <a:lnTo>
                    <a:pt x="44" y="171"/>
                  </a:lnTo>
                  <a:lnTo>
                    <a:pt x="47" y="171"/>
                  </a:lnTo>
                  <a:lnTo>
                    <a:pt x="47" y="171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6"/>
                  </a:lnTo>
                  <a:lnTo>
                    <a:pt x="44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61"/>
                  </a:lnTo>
                  <a:lnTo>
                    <a:pt x="52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5" y="158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5" y="153"/>
                  </a:lnTo>
                  <a:lnTo>
                    <a:pt x="52" y="151"/>
                  </a:lnTo>
                  <a:lnTo>
                    <a:pt x="52" y="151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0" y="145"/>
                  </a:lnTo>
                  <a:lnTo>
                    <a:pt x="60" y="143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57" y="140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2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5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5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5" y="117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4" y="107"/>
                  </a:lnTo>
                  <a:lnTo>
                    <a:pt x="44" y="104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2" y="96"/>
                  </a:lnTo>
                  <a:lnTo>
                    <a:pt x="50" y="94"/>
                  </a:lnTo>
                  <a:lnTo>
                    <a:pt x="47" y="91"/>
                  </a:lnTo>
                  <a:lnTo>
                    <a:pt x="44" y="88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78"/>
                  </a:lnTo>
                  <a:lnTo>
                    <a:pt x="47" y="78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39" y="73"/>
                  </a:lnTo>
                  <a:lnTo>
                    <a:pt x="39" y="70"/>
                  </a:lnTo>
                  <a:lnTo>
                    <a:pt x="37" y="70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4" y="65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9" y="34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5" y="24"/>
                  </a:lnTo>
                  <a:lnTo>
                    <a:pt x="57" y="24"/>
                  </a:lnTo>
                  <a:lnTo>
                    <a:pt x="63" y="24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8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8" y="29"/>
                  </a:lnTo>
                  <a:lnTo>
                    <a:pt x="91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4"/>
                  </a:lnTo>
                  <a:lnTo>
                    <a:pt x="96" y="24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3"/>
                  </a:lnTo>
                  <a:lnTo>
                    <a:pt x="107" y="11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7" y="3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8" y="13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3" y="16"/>
                  </a:lnTo>
                  <a:lnTo>
                    <a:pt x="145" y="16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3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8" y="26"/>
                  </a:lnTo>
                  <a:lnTo>
                    <a:pt x="151" y="26"/>
                  </a:lnTo>
                  <a:lnTo>
                    <a:pt x="151" y="26"/>
                  </a:lnTo>
                  <a:lnTo>
                    <a:pt x="153" y="26"/>
                  </a:lnTo>
                  <a:lnTo>
                    <a:pt x="156" y="26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61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7" y="29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1"/>
                  </a:lnTo>
                  <a:lnTo>
                    <a:pt x="179" y="31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7"/>
                  </a:lnTo>
                  <a:lnTo>
                    <a:pt x="189" y="39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9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84" y="55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7" y="68"/>
                  </a:lnTo>
                  <a:lnTo>
                    <a:pt x="187" y="70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9" y="73"/>
                  </a:lnTo>
                  <a:lnTo>
                    <a:pt x="187" y="73"/>
                  </a:lnTo>
                  <a:lnTo>
                    <a:pt x="187" y="73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3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8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79" y="86"/>
                  </a:lnTo>
                  <a:lnTo>
                    <a:pt x="179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1"/>
                  </a:lnTo>
                  <a:lnTo>
                    <a:pt x="189" y="91"/>
                  </a:lnTo>
                  <a:lnTo>
                    <a:pt x="189" y="91"/>
                  </a:lnTo>
                  <a:lnTo>
                    <a:pt x="189" y="94"/>
                  </a:lnTo>
                  <a:lnTo>
                    <a:pt x="192" y="94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197" y="99"/>
                  </a:lnTo>
                  <a:lnTo>
                    <a:pt x="200" y="99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5"/>
                  </a:lnTo>
                  <a:lnTo>
                    <a:pt x="192" y="130"/>
                  </a:lnTo>
                  <a:lnTo>
                    <a:pt x="192" y="130"/>
                  </a:lnTo>
                  <a:lnTo>
                    <a:pt x="189" y="132"/>
                  </a:lnTo>
                  <a:lnTo>
                    <a:pt x="189" y="135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38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2" y="143"/>
                  </a:lnTo>
                  <a:lnTo>
                    <a:pt x="192" y="143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7" y="151"/>
                  </a:lnTo>
                  <a:lnTo>
                    <a:pt x="187" y="151"/>
                  </a:lnTo>
                  <a:lnTo>
                    <a:pt x="187" y="153"/>
                  </a:lnTo>
                  <a:lnTo>
                    <a:pt x="189" y="156"/>
                  </a:lnTo>
                  <a:lnTo>
                    <a:pt x="189" y="156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2" y="158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5" y="164"/>
                  </a:lnTo>
                  <a:lnTo>
                    <a:pt x="195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5" y="174"/>
                  </a:lnTo>
                  <a:lnTo>
                    <a:pt x="205" y="177"/>
                  </a:lnTo>
                  <a:lnTo>
                    <a:pt x="208" y="177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3" y="184"/>
                  </a:lnTo>
                  <a:lnTo>
                    <a:pt x="226" y="184"/>
                  </a:lnTo>
                  <a:lnTo>
                    <a:pt x="228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2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44" y="184"/>
                  </a:lnTo>
                  <a:lnTo>
                    <a:pt x="246" y="184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4" y="189"/>
                  </a:lnTo>
                  <a:lnTo>
                    <a:pt x="254" y="189"/>
                  </a:lnTo>
                  <a:lnTo>
                    <a:pt x="257" y="187"/>
                  </a:lnTo>
                  <a:lnTo>
                    <a:pt x="257" y="189"/>
                  </a:lnTo>
                  <a:lnTo>
                    <a:pt x="257" y="192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9" y="195"/>
                  </a:lnTo>
                  <a:lnTo>
                    <a:pt x="259" y="195"/>
                  </a:lnTo>
                  <a:lnTo>
                    <a:pt x="262" y="195"/>
                  </a:lnTo>
                  <a:lnTo>
                    <a:pt x="262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5" y="195"/>
                  </a:lnTo>
                  <a:lnTo>
                    <a:pt x="267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5"/>
                  </a:lnTo>
                  <a:lnTo>
                    <a:pt x="270" y="197"/>
                  </a:lnTo>
                  <a:lnTo>
                    <a:pt x="270" y="197"/>
                  </a:lnTo>
                  <a:lnTo>
                    <a:pt x="270" y="200"/>
                  </a:lnTo>
                  <a:lnTo>
                    <a:pt x="272" y="200"/>
                  </a:lnTo>
                  <a:lnTo>
                    <a:pt x="272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0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80" y="205"/>
                  </a:lnTo>
                  <a:lnTo>
                    <a:pt x="280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3" y="205"/>
                  </a:lnTo>
                  <a:lnTo>
                    <a:pt x="285" y="205"/>
                  </a:lnTo>
                  <a:lnTo>
                    <a:pt x="285" y="205"/>
                  </a:lnTo>
                  <a:lnTo>
                    <a:pt x="288" y="205"/>
                  </a:lnTo>
                  <a:lnTo>
                    <a:pt x="288" y="202"/>
                  </a:lnTo>
                  <a:lnTo>
                    <a:pt x="288" y="202"/>
                  </a:lnTo>
                  <a:lnTo>
                    <a:pt x="290" y="205"/>
                  </a:lnTo>
                  <a:lnTo>
                    <a:pt x="290" y="205"/>
                  </a:lnTo>
                  <a:lnTo>
                    <a:pt x="290" y="208"/>
                  </a:lnTo>
                  <a:lnTo>
                    <a:pt x="288" y="208"/>
                  </a:lnTo>
                  <a:lnTo>
                    <a:pt x="288" y="208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90" y="215"/>
                  </a:lnTo>
                  <a:lnTo>
                    <a:pt x="290" y="218"/>
                  </a:lnTo>
                  <a:lnTo>
                    <a:pt x="290" y="221"/>
                  </a:lnTo>
                  <a:lnTo>
                    <a:pt x="290" y="221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3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290" y="228"/>
                  </a:lnTo>
                  <a:lnTo>
                    <a:pt x="290" y="228"/>
                  </a:lnTo>
                  <a:lnTo>
                    <a:pt x="293" y="228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1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3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90" y="236"/>
                  </a:lnTo>
                  <a:lnTo>
                    <a:pt x="288" y="239"/>
                  </a:lnTo>
                  <a:lnTo>
                    <a:pt x="283" y="241"/>
                  </a:lnTo>
                  <a:lnTo>
                    <a:pt x="283" y="244"/>
                  </a:lnTo>
                  <a:lnTo>
                    <a:pt x="280" y="244"/>
                  </a:lnTo>
                  <a:lnTo>
                    <a:pt x="277" y="244"/>
                  </a:lnTo>
                  <a:lnTo>
                    <a:pt x="275" y="244"/>
                  </a:lnTo>
                  <a:lnTo>
                    <a:pt x="277" y="244"/>
                  </a:lnTo>
                  <a:lnTo>
                    <a:pt x="277" y="244"/>
                  </a:lnTo>
                  <a:lnTo>
                    <a:pt x="275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2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1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70" y="244"/>
                  </a:lnTo>
                  <a:lnTo>
                    <a:pt x="267" y="247"/>
                  </a:lnTo>
                  <a:lnTo>
                    <a:pt x="267" y="244"/>
                  </a:lnTo>
                  <a:lnTo>
                    <a:pt x="265" y="244"/>
                  </a:lnTo>
                  <a:lnTo>
                    <a:pt x="265" y="244"/>
                  </a:lnTo>
                  <a:lnTo>
                    <a:pt x="262" y="244"/>
                  </a:lnTo>
                  <a:lnTo>
                    <a:pt x="262" y="244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41"/>
                  </a:lnTo>
                  <a:lnTo>
                    <a:pt x="259" y="239"/>
                  </a:lnTo>
                  <a:lnTo>
                    <a:pt x="259" y="239"/>
                  </a:lnTo>
                  <a:lnTo>
                    <a:pt x="257" y="239"/>
                  </a:lnTo>
                  <a:lnTo>
                    <a:pt x="257" y="241"/>
                  </a:lnTo>
                  <a:lnTo>
                    <a:pt x="257" y="241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49" y="244"/>
                  </a:lnTo>
                  <a:lnTo>
                    <a:pt x="249" y="244"/>
                  </a:lnTo>
                  <a:lnTo>
                    <a:pt x="246" y="244"/>
                  </a:lnTo>
                  <a:lnTo>
                    <a:pt x="246" y="244"/>
                  </a:lnTo>
                  <a:lnTo>
                    <a:pt x="241" y="241"/>
                  </a:lnTo>
                  <a:lnTo>
                    <a:pt x="241" y="241"/>
                  </a:lnTo>
                  <a:lnTo>
                    <a:pt x="239" y="241"/>
                  </a:lnTo>
                  <a:lnTo>
                    <a:pt x="239" y="244"/>
                  </a:lnTo>
                  <a:lnTo>
                    <a:pt x="236" y="247"/>
                  </a:lnTo>
                  <a:lnTo>
                    <a:pt x="236" y="247"/>
                  </a:lnTo>
                  <a:lnTo>
                    <a:pt x="236" y="249"/>
                  </a:lnTo>
                  <a:lnTo>
                    <a:pt x="233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1" y="249"/>
                  </a:lnTo>
                  <a:lnTo>
                    <a:pt x="233" y="247"/>
                  </a:lnTo>
                  <a:lnTo>
                    <a:pt x="231" y="247"/>
                  </a:lnTo>
                  <a:lnTo>
                    <a:pt x="231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26" y="249"/>
                  </a:lnTo>
                  <a:lnTo>
                    <a:pt x="226" y="249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1" y="252"/>
                  </a:lnTo>
                  <a:lnTo>
                    <a:pt x="221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5" y="252"/>
                  </a:lnTo>
                  <a:lnTo>
                    <a:pt x="215" y="252"/>
                  </a:lnTo>
                  <a:lnTo>
                    <a:pt x="213" y="252"/>
                  </a:lnTo>
                  <a:lnTo>
                    <a:pt x="213" y="249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10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2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200" y="257"/>
                  </a:lnTo>
                  <a:lnTo>
                    <a:pt x="200" y="257"/>
                  </a:lnTo>
                  <a:lnTo>
                    <a:pt x="197" y="257"/>
                  </a:lnTo>
                  <a:lnTo>
                    <a:pt x="195" y="259"/>
                  </a:lnTo>
                  <a:lnTo>
                    <a:pt x="195" y="259"/>
                  </a:lnTo>
                  <a:lnTo>
                    <a:pt x="192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59"/>
                  </a:lnTo>
                  <a:lnTo>
                    <a:pt x="189" y="262"/>
                  </a:lnTo>
                  <a:lnTo>
                    <a:pt x="189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5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9" y="275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78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79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4" y="288"/>
                  </a:lnTo>
                  <a:lnTo>
                    <a:pt x="184" y="288"/>
                  </a:lnTo>
                  <a:lnTo>
                    <a:pt x="182" y="288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3"/>
                  </a:lnTo>
                  <a:lnTo>
                    <a:pt x="184" y="296"/>
                  </a:lnTo>
                  <a:lnTo>
                    <a:pt x="184" y="296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4"/>
                  </a:lnTo>
                  <a:lnTo>
                    <a:pt x="179" y="306"/>
                  </a:lnTo>
                  <a:lnTo>
                    <a:pt x="179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11"/>
                  </a:lnTo>
                  <a:lnTo>
                    <a:pt x="182" y="311"/>
                  </a:lnTo>
                  <a:lnTo>
                    <a:pt x="184" y="314"/>
                  </a:lnTo>
                  <a:lnTo>
                    <a:pt x="184" y="314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7"/>
                  </a:lnTo>
                  <a:lnTo>
                    <a:pt x="184" y="319"/>
                  </a:lnTo>
                  <a:lnTo>
                    <a:pt x="184" y="319"/>
                  </a:lnTo>
                  <a:lnTo>
                    <a:pt x="184" y="322"/>
                  </a:lnTo>
                  <a:lnTo>
                    <a:pt x="184" y="322"/>
                  </a:lnTo>
                  <a:lnTo>
                    <a:pt x="182" y="322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7" y="327"/>
                  </a:lnTo>
                  <a:lnTo>
                    <a:pt x="184" y="330"/>
                  </a:lnTo>
                  <a:lnTo>
                    <a:pt x="184" y="330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2"/>
                  </a:lnTo>
                  <a:lnTo>
                    <a:pt x="187" y="332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7" y="335"/>
                  </a:lnTo>
                  <a:lnTo>
                    <a:pt x="187" y="335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9" y="340"/>
                  </a:lnTo>
                  <a:lnTo>
                    <a:pt x="189" y="340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40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89" y="348"/>
                  </a:lnTo>
                  <a:lnTo>
                    <a:pt x="189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95" y="353"/>
                  </a:lnTo>
                  <a:lnTo>
                    <a:pt x="195" y="353"/>
                  </a:lnTo>
                  <a:lnTo>
                    <a:pt x="195" y="355"/>
                  </a:lnTo>
                  <a:lnTo>
                    <a:pt x="192" y="355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2" y="361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3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87" y="366"/>
                  </a:lnTo>
                  <a:lnTo>
                    <a:pt x="187" y="368"/>
                  </a:lnTo>
                  <a:lnTo>
                    <a:pt x="187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4" y="363"/>
                  </a:lnTo>
                  <a:lnTo>
                    <a:pt x="182" y="361"/>
                  </a:lnTo>
                  <a:lnTo>
                    <a:pt x="182" y="361"/>
                  </a:lnTo>
                  <a:lnTo>
                    <a:pt x="182" y="363"/>
                  </a:lnTo>
                  <a:lnTo>
                    <a:pt x="182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7" y="363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1" y="361"/>
                  </a:lnTo>
                  <a:lnTo>
                    <a:pt x="171" y="361"/>
                  </a:lnTo>
                  <a:lnTo>
                    <a:pt x="169" y="363"/>
                  </a:lnTo>
                  <a:lnTo>
                    <a:pt x="169" y="363"/>
                  </a:lnTo>
                  <a:lnTo>
                    <a:pt x="166" y="363"/>
                  </a:lnTo>
                  <a:lnTo>
                    <a:pt x="166" y="363"/>
                  </a:lnTo>
                  <a:lnTo>
                    <a:pt x="164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4" y="361"/>
                  </a:lnTo>
                  <a:lnTo>
                    <a:pt x="164" y="358"/>
                  </a:lnTo>
                  <a:lnTo>
                    <a:pt x="161" y="358"/>
                  </a:lnTo>
                  <a:lnTo>
                    <a:pt x="158" y="358"/>
                  </a:lnTo>
                  <a:lnTo>
                    <a:pt x="158" y="358"/>
                  </a:lnTo>
                  <a:lnTo>
                    <a:pt x="161" y="358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61" y="355"/>
                  </a:lnTo>
                  <a:lnTo>
                    <a:pt x="158" y="355"/>
                  </a:lnTo>
                  <a:lnTo>
                    <a:pt x="158" y="353"/>
                  </a:lnTo>
                  <a:lnTo>
                    <a:pt x="158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1" y="348"/>
                  </a:lnTo>
                  <a:lnTo>
                    <a:pt x="151" y="348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5" y="348"/>
                  </a:lnTo>
                  <a:lnTo>
                    <a:pt x="145" y="348"/>
                  </a:lnTo>
                  <a:lnTo>
                    <a:pt x="143" y="348"/>
                  </a:lnTo>
                  <a:lnTo>
                    <a:pt x="143" y="348"/>
                  </a:lnTo>
                  <a:lnTo>
                    <a:pt x="140" y="348"/>
                  </a:lnTo>
                  <a:lnTo>
                    <a:pt x="140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48"/>
                  </a:lnTo>
                  <a:lnTo>
                    <a:pt x="138" y="350"/>
                  </a:lnTo>
                  <a:lnTo>
                    <a:pt x="135" y="350"/>
                  </a:lnTo>
                  <a:lnTo>
                    <a:pt x="135" y="350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5" y="348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0" y="345"/>
                  </a:lnTo>
                  <a:lnTo>
                    <a:pt x="130" y="345"/>
                  </a:lnTo>
                  <a:lnTo>
                    <a:pt x="130" y="342"/>
                  </a:lnTo>
                  <a:lnTo>
                    <a:pt x="130" y="342"/>
                  </a:lnTo>
                  <a:lnTo>
                    <a:pt x="127" y="340"/>
                  </a:lnTo>
                  <a:lnTo>
                    <a:pt x="127" y="340"/>
                  </a:lnTo>
                  <a:lnTo>
                    <a:pt x="127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17" y="337"/>
                  </a:lnTo>
                  <a:lnTo>
                    <a:pt x="117" y="337"/>
                  </a:lnTo>
                  <a:lnTo>
                    <a:pt x="114" y="337"/>
                  </a:lnTo>
                  <a:lnTo>
                    <a:pt x="114" y="337"/>
                  </a:lnTo>
                  <a:lnTo>
                    <a:pt x="112" y="337"/>
                  </a:lnTo>
                  <a:lnTo>
                    <a:pt x="112" y="337"/>
                  </a:lnTo>
                  <a:lnTo>
                    <a:pt x="112" y="340"/>
                  </a:lnTo>
                  <a:lnTo>
                    <a:pt x="112" y="340"/>
                  </a:lnTo>
                  <a:lnTo>
                    <a:pt x="109" y="340"/>
                  </a:lnTo>
                  <a:lnTo>
                    <a:pt x="109" y="337"/>
                  </a:lnTo>
                  <a:lnTo>
                    <a:pt x="107" y="337"/>
                  </a:lnTo>
                  <a:lnTo>
                    <a:pt x="107" y="340"/>
                  </a:lnTo>
                  <a:lnTo>
                    <a:pt x="107" y="340"/>
                  </a:lnTo>
                  <a:lnTo>
                    <a:pt x="104" y="340"/>
                  </a:lnTo>
                  <a:lnTo>
                    <a:pt x="104" y="340"/>
                  </a:lnTo>
                  <a:lnTo>
                    <a:pt x="104" y="337"/>
                  </a:lnTo>
                  <a:lnTo>
                    <a:pt x="101" y="337"/>
                  </a:lnTo>
                  <a:lnTo>
                    <a:pt x="101" y="335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0"/>
                  </a:lnTo>
                  <a:lnTo>
                    <a:pt x="104" y="330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7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4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99" y="322"/>
                  </a:lnTo>
                  <a:lnTo>
                    <a:pt x="96" y="322"/>
                  </a:lnTo>
                  <a:lnTo>
                    <a:pt x="96" y="322"/>
                  </a:lnTo>
                  <a:lnTo>
                    <a:pt x="94" y="322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4" y="319"/>
                  </a:lnTo>
                  <a:lnTo>
                    <a:pt x="91" y="319"/>
                  </a:lnTo>
                  <a:lnTo>
                    <a:pt x="91" y="317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6" y="314"/>
                  </a:lnTo>
                  <a:lnTo>
                    <a:pt x="96" y="317"/>
                  </a:lnTo>
                  <a:lnTo>
                    <a:pt x="96" y="314"/>
                  </a:lnTo>
                  <a:lnTo>
                    <a:pt x="99" y="314"/>
                  </a:lnTo>
                  <a:lnTo>
                    <a:pt x="99" y="311"/>
                  </a:lnTo>
                  <a:lnTo>
                    <a:pt x="101" y="309"/>
                  </a:lnTo>
                  <a:lnTo>
                    <a:pt x="99" y="309"/>
                  </a:lnTo>
                  <a:lnTo>
                    <a:pt x="99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4" y="306"/>
                  </a:lnTo>
                  <a:lnTo>
                    <a:pt x="104" y="306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101" y="304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8"/>
                  </a:lnTo>
                  <a:lnTo>
                    <a:pt x="99" y="296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8"/>
                  </a:lnTo>
                  <a:lnTo>
                    <a:pt x="96" y="296"/>
                  </a:lnTo>
                  <a:lnTo>
                    <a:pt x="96" y="296"/>
                  </a:lnTo>
                  <a:lnTo>
                    <a:pt x="94" y="296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4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86" y="288"/>
                  </a:lnTo>
                  <a:lnTo>
                    <a:pt x="83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5"/>
                  </a:lnTo>
                  <a:lnTo>
                    <a:pt x="73" y="285"/>
                  </a:lnTo>
                  <a:lnTo>
                    <a:pt x="68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5" y="285"/>
                  </a:lnTo>
                  <a:lnTo>
                    <a:pt x="63" y="285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5" y="283"/>
                  </a:lnTo>
                  <a:lnTo>
                    <a:pt x="57" y="283"/>
                  </a:lnTo>
                  <a:lnTo>
                    <a:pt x="57" y="283"/>
                  </a:lnTo>
                  <a:lnTo>
                    <a:pt x="57" y="285"/>
                  </a:lnTo>
                  <a:lnTo>
                    <a:pt x="55" y="283"/>
                  </a:lnTo>
                  <a:lnTo>
                    <a:pt x="55" y="283"/>
                  </a:lnTo>
                  <a:lnTo>
                    <a:pt x="52" y="283"/>
                  </a:lnTo>
                  <a:lnTo>
                    <a:pt x="50" y="285"/>
                  </a:lnTo>
                  <a:lnTo>
                    <a:pt x="50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3"/>
                  </a:lnTo>
                  <a:lnTo>
                    <a:pt x="50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80"/>
                  </a:lnTo>
                  <a:lnTo>
                    <a:pt x="47" y="278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2"/>
                  </a:lnTo>
                  <a:lnTo>
                    <a:pt x="47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44" y="267"/>
                  </a:lnTo>
                  <a:lnTo>
                    <a:pt x="42" y="265"/>
                  </a:lnTo>
                  <a:lnTo>
                    <a:pt x="42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5"/>
                  </a:lnTo>
                  <a:lnTo>
                    <a:pt x="44" y="262"/>
                  </a:lnTo>
                  <a:lnTo>
                    <a:pt x="42" y="262"/>
                  </a:lnTo>
                  <a:lnTo>
                    <a:pt x="42" y="262"/>
                  </a:lnTo>
                  <a:lnTo>
                    <a:pt x="42" y="259"/>
                  </a:lnTo>
                  <a:lnTo>
                    <a:pt x="42" y="259"/>
                  </a:lnTo>
                  <a:lnTo>
                    <a:pt x="39" y="259"/>
                  </a:lnTo>
                  <a:lnTo>
                    <a:pt x="39" y="262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9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7" y="257"/>
                  </a:lnTo>
                  <a:lnTo>
                    <a:pt x="39" y="254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39" y="249"/>
                  </a:lnTo>
                  <a:lnTo>
                    <a:pt x="39" y="252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2" y="247"/>
                  </a:lnTo>
                  <a:lnTo>
                    <a:pt x="32" y="249"/>
                  </a:lnTo>
                  <a:lnTo>
                    <a:pt x="32" y="249"/>
                  </a:lnTo>
                  <a:lnTo>
                    <a:pt x="32" y="247"/>
                  </a:lnTo>
                  <a:lnTo>
                    <a:pt x="29" y="247"/>
                  </a:lnTo>
                  <a:lnTo>
                    <a:pt x="29" y="244"/>
                  </a:lnTo>
                  <a:lnTo>
                    <a:pt x="26" y="244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1" y="244"/>
                  </a:lnTo>
                  <a:lnTo>
                    <a:pt x="21" y="244"/>
                  </a:lnTo>
                  <a:lnTo>
                    <a:pt x="19" y="244"/>
                  </a:lnTo>
                  <a:lnTo>
                    <a:pt x="16" y="244"/>
                  </a:lnTo>
                  <a:lnTo>
                    <a:pt x="16" y="244"/>
                  </a:lnTo>
                  <a:lnTo>
                    <a:pt x="13" y="241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1"/>
                  </a:lnTo>
                  <a:lnTo>
                    <a:pt x="13" y="231"/>
                  </a:lnTo>
                  <a:lnTo>
                    <a:pt x="11" y="231"/>
                  </a:lnTo>
                  <a:lnTo>
                    <a:pt x="11" y="228"/>
                  </a:lnTo>
                  <a:lnTo>
                    <a:pt x="11" y="22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3" y="223"/>
                  </a:lnTo>
                  <a:lnTo>
                    <a:pt x="6" y="221"/>
                  </a:lnTo>
                  <a:lnTo>
                    <a:pt x="6" y="221"/>
                  </a:lnTo>
                  <a:lnTo>
                    <a:pt x="6" y="218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5"/>
                  </a:lnTo>
                  <a:lnTo>
                    <a:pt x="3" y="213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3" y="210"/>
                  </a:lnTo>
                  <a:lnTo>
                    <a:pt x="6" y="210"/>
                  </a:lnTo>
                  <a:lnTo>
                    <a:pt x="6" y="208"/>
                  </a:lnTo>
                  <a:lnTo>
                    <a:pt x="6" y="208"/>
                  </a:lnTo>
                  <a:lnTo>
                    <a:pt x="8" y="208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11" y="205"/>
                  </a:lnTo>
                  <a:lnTo>
                    <a:pt x="11" y="202"/>
                  </a:lnTo>
                  <a:lnTo>
                    <a:pt x="11" y="202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197"/>
                  </a:lnTo>
                  <a:lnTo>
                    <a:pt x="8" y="197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11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8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4"/>
                  </a:lnTo>
                  <a:lnTo>
                    <a:pt x="3" y="184"/>
                  </a:lnTo>
                  <a:lnTo>
                    <a:pt x="0" y="18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6" name="Freeform 176"/>
            <p:cNvSpPr>
              <a:spLocks/>
            </p:cNvSpPr>
            <p:nvPr/>
          </p:nvSpPr>
          <p:spPr bwMode="auto">
            <a:xfrm>
              <a:off x="1201" y="2937"/>
              <a:ext cx="311" cy="251"/>
            </a:xfrm>
            <a:custGeom>
              <a:avLst/>
              <a:gdLst>
                <a:gd name="T0" fmla="*/ 8 w 311"/>
                <a:gd name="T1" fmla="*/ 153 h 251"/>
                <a:gd name="T2" fmla="*/ 19 w 311"/>
                <a:gd name="T3" fmla="*/ 140 h 251"/>
                <a:gd name="T4" fmla="*/ 11 w 311"/>
                <a:gd name="T5" fmla="*/ 127 h 251"/>
                <a:gd name="T6" fmla="*/ 16 w 311"/>
                <a:gd name="T7" fmla="*/ 124 h 251"/>
                <a:gd name="T8" fmla="*/ 21 w 311"/>
                <a:gd name="T9" fmla="*/ 111 h 251"/>
                <a:gd name="T10" fmla="*/ 31 w 311"/>
                <a:gd name="T11" fmla="*/ 104 h 251"/>
                <a:gd name="T12" fmla="*/ 34 w 311"/>
                <a:gd name="T13" fmla="*/ 91 h 251"/>
                <a:gd name="T14" fmla="*/ 37 w 311"/>
                <a:gd name="T15" fmla="*/ 80 h 251"/>
                <a:gd name="T16" fmla="*/ 21 w 311"/>
                <a:gd name="T17" fmla="*/ 70 h 251"/>
                <a:gd name="T18" fmla="*/ 8 w 311"/>
                <a:gd name="T19" fmla="*/ 57 h 251"/>
                <a:gd name="T20" fmla="*/ 24 w 311"/>
                <a:gd name="T21" fmla="*/ 39 h 251"/>
                <a:gd name="T22" fmla="*/ 39 w 311"/>
                <a:gd name="T23" fmla="*/ 31 h 251"/>
                <a:gd name="T24" fmla="*/ 55 w 311"/>
                <a:gd name="T25" fmla="*/ 10 h 251"/>
                <a:gd name="T26" fmla="*/ 86 w 311"/>
                <a:gd name="T27" fmla="*/ 15 h 251"/>
                <a:gd name="T28" fmla="*/ 99 w 311"/>
                <a:gd name="T29" fmla="*/ 0 h 251"/>
                <a:gd name="T30" fmla="*/ 117 w 311"/>
                <a:gd name="T31" fmla="*/ 5 h 251"/>
                <a:gd name="T32" fmla="*/ 117 w 311"/>
                <a:gd name="T33" fmla="*/ 18 h 251"/>
                <a:gd name="T34" fmla="*/ 125 w 311"/>
                <a:gd name="T35" fmla="*/ 36 h 251"/>
                <a:gd name="T36" fmla="*/ 138 w 311"/>
                <a:gd name="T37" fmla="*/ 41 h 251"/>
                <a:gd name="T38" fmla="*/ 161 w 311"/>
                <a:gd name="T39" fmla="*/ 44 h 251"/>
                <a:gd name="T40" fmla="*/ 171 w 311"/>
                <a:gd name="T41" fmla="*/ 52 h 251"/>
                <a:gd name="T42" fmla="*/ 171 w 311"/>
                <a:gd name="T43" fmla="*/ 70 h 251"/>
                <a:gd name="T44" fmla="*/ 179 w 311"/>
                <a:gd name="T45" fmla="*/ 83 h 251"/>
                <a:gd name="T46" fmla="*/ 184 w 311"/>
                <a:gd name="T47" fmla="*/ 96 h 251"/>
                <a:gd name="T48" fmla="*/ 205 w 311"/>
                <a:gd name="T49" fmla="*/ 101 h 251"/>
                <a:gd name="T50" fmla="*/ 226 w 311"/>
                <a:gd name="T51" fmla="*/ 104 h 251"/>
                <a:gd name="T52" fmla="*/ 239 w 311"/>
                <a:gd name="T53" fmla="*/ 114 h 251"/>
                <a:gd name="T54" fmla="*/ 259 w 311"/>
                <a:gd name="T55" fmla="*/ 119 h 251"/>
                <a:gd name="T56" fmla="*/ 267 w 311"/>
                <a:gd name="T57" fmla="*/ 106 h 251"/>
                <a:gd name="T58" fmla="*/ 283 w 311"/>
                <a:gd name="T59" fmla="*/ 98 h 251"/>
                <a:gd name="T60" fmla="*/ 298 w 311"/>
                <a:gd name="T61" fmla="*/ 109 h 251"/>
                <a:gd name="T62" fmla="*/ 308 w 311"/>
                <a:gd name="T63" fmla="*/ 124 h 251"/>
                <a:gd name="T64" fmla="*/ 288 w 311"/>
                <a:gd name="T65" fmla="*/ 135 h 251"/>
                <a:gd name="T66" fmla="*/ 277 w 311"/>
                <a:gd name="T67" fmla="*/ 140 h 251"/>
                <a:gd name="T68" fmla="*/ 267 w 311"/>
                <a:gd name="T69" fmla="*/ 145 h 251"/>
                <a:gd name="T70" fmla="*/ 264 w 311"/>
                <a:gd name="T71" fmla="*/ 156 h 251"/>
                <a:gd name="T72" fmla="*/ 272 w 311"/>
                <a:gd name="T73" fmla="*/ 171 h 251"/>
                <a:gd name="T74" fmla="*/ 259 w 311"/>
                <a:gd name="T75" fmla="*/ 179 h 251"/>
                <a:gd name="T76" fmla="*/ 249 w 311"/>
                <a:gd name="T77" fmla="*/ 187 h 251"/>
                <a:gd name="T78" fmla="*/ 239 w 311"/>
                <a:gd name="T79" fmla="*/ 179 h 251"/>
                <a:gd name="T80" fmla="*/ 223 w 311"/>
                <a:gd name="T81" fmla="*/ 192 h 251"/>
                <a:gd name="T82" fmla="*/ 231 w 311"/>
                <a:gd name="T83" fmla="*/ 207 h 251"/>
                <a:gd name="T84" fmla="*/ 220 w 311"/>
                <a:gd name="T85" fmla="*/ 218 h 251"/>
                <a:gd name="T86" fmla="*/ 200 w 311"/>
                <a:gd name="T87" fmla="*/ 220 h 251"/>
                <a:gd name="T88" fmla="*/ 176 w 311"/>
                <a:gd name="T89" fmla="*/ 213 h 251"/>
                <a:gd name="T90" fmla="*/ 161 w 311"/>
                <a:gd name="T91" fmla="*/ 200 h 251"/>
                <a:gd name="T92" fmla="*/ 156 w 311"/>
                <a:gd name="T93" fmla="*/ 215 h 251"/>
                <a:gd name="T94" fmla="*/ 156 w 311"/>
                <a:gd name="T95" fmla="*/ 236 h 251"/>
                <a:gd name="T96" fmla="*/ 145 w 311"/>
                <a:gd name="T97" fmla="*/ 238 h 251"/>
                <a:gd name="T98" fmla="*/ 130 w 311"/>
                <a:gd name="T99" fmla="*/ 228 h 251"/>
                <a:gd name="T100" fmla="*/ 119 w 311"/>
                <a:gd name="T101" fmla="*/ 220 h 251"/>
                <a:gd name="T102" fmla="*/ 104 w 311"/>
                <a:gd name="T103" fmla="*/ 220 h 251"/>
                <a:gd name="T104" fmla="*/ 96 w 311"/>
                <a:gd name="T105" fmla="*/ 233 h 251"/>
                <a:gd name="T106" fmla="*/ 101 w 311"/>
                <a:gd name="T107" fmla="*/ 244 h 251"/>
                <a:gd name="T108" fmla="*/ 86 w 311"/>
                <a:gd name="T109" fmla="*/ 249 h 251"/>
                <a:gd name="T110" fmla="*/ 81 w 311"/>
                <a:gd name="T111" fmla="*/ 233 h 251"/>
                <a:gd name="T112" fmla="*/ 70 w 311"/>
                <a:gd name="T113" fmla="*/ 226 h 251"/>
                <a:gd name="T114" fmla="*/ 57 w 311"/>
                <a:gd name="T115" fmla="*/ 215 h 251"/>
                <a:gd name="T116" fmla="*/ 47 w 311"/>
                <a:gd name="T117" fmla="*/ 202 h 251"/>
                <a:gd name="T118" fmla="*/ 34 w 311"/>
                <a:gd name="T119" fmla="*/ 192 h 251"/>
                <a:gd name="T120" fmla="*/ 19 w 311"/>
                <a:gd name="T121" fmla="*/ 197 h 251"/>
                <a:gd name="T122" fmla="*/ 24 w 311"/>
                <a:gd name="T123" fmla="*/ 176 h 251"/>
                <a:gd name="T124" fmla="*/ 6 w 311"/>
                <a:gd name="T125" fmla="*/ 17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1" h="251">
                  <a:moveTo>
                    <a:pt x="0" y="176"/>
                  </a:move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6" y="168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3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6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21" y="135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8" y="124"/>
                  </a:lnTo>
                  <a:lnTo>
                    <a:pt x="8" y="122"/>
                  </a:lnTo>
                  <a:lnTo>
                    <a:pt x="11" y="122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19" y="122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4"/>
                  </a:lnTo>
                  <a:lnTo>
                    <a:pt x="19" y="114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4" y="114"/>
                  </a:lnTo>
                  <a:lnTo>
                    <a:pt x="34" y="111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6"/>
                  </a:lnTo>
                  <a:lnTo>
                    <a:pt x="34" y="106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1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3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3" y="41"/>
                  </a:lnTo>
                  <a:lnTo>
                    <a:pt x="16" y="41"/>
                  </a:lnTo>
                  <a:lnTo>
                    <a:pt x="19" y="39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6" y="36"/>
                  </a:lnTo>
                  <a:lnTo>
                    <a:pt x="26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9" y="28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5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8" y="13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8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0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8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9" y="23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2" y="26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5" y="36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2" y="41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0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5" y="39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51" y="41"/>
                  </a:lnTo>
                  <a:lnTo>
                    <a:pt x="151" y="44"/>
                  </a:lnTo>
                  <a:lnTo>
                    <a:pt x="153" y="44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8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6" y="44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71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4" y="54"/>
                  </a:lnTo>
                  <a:lnTo>
                    <a:pt x="174" y="5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6" y="62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4" y="65"/>
                  </a:lnTo>
                  <a:lnTo>
                    <a:pt x="174" y="65"/>
                  </a:lnTo>
                  <a:lnTo>
                    <a:pt x="176" y="65"/>
                  </a:lnTo>
                  <a:lnTo>
                    <a:pt x="174" y="67"/>
                  </a:lnTo>
                  <a:lnTo>
                    <a:pt x="174" y="70"/>
                  </a:lnTo>
                  <a:lnTo>
                    <a:pt x="171" y="70"/>
                  </a:lnTo>
                  <a:lnTo>
                    <a:pt x="171" y="73"/>
                  </a:lnTo>
                  <a:lnTo>
                    <a:pt x="171" y="70"/>
                  </a:lnTo>
                  <a:lnTo>
                    <a:pt x="171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3"/>
                  </a:lnTo>
                  <a:lnTo>
                    <a:pt x="166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3"/>
                  </a:lnTo>
                  <a:lnTo>
                    <a:pt x="179" y="83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3"/>
                  </a:lnTo>
                  <a:lnTo>
                    <a:pt x="187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197" y="93"/>
                  </a:lnTo>
                  <a:lnTo>
                    <a:pt x="200" y="93"/>
                  </a:lnTo>
                  <a:lnTo>
                    <a:pt x="200" y="93"/>
                  </a:lnTo>
                  <a:lnTo>
                    <a:pt x="202" y="93"/>
                  </a:lnTo>
                  <a:lnTo>
                    <a:pt x="202" y="96"/>
                  </a:lnTo>
                  <a:lnTo>
                    <a:pt x="205" y="96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4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20" y="104"/>
                  </a:lnTo>
                  <a:lnTo>
                    <a:pt x="223" y="104"/>
                  </a:lnTo>
                  <a:lnTo>
                    <a:pt x="223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3" y="109"/>
                  </a:lnTo>
                  <a:lnTo>
                    <a:pt x="233" y="109"/>
                  </a:lnTo>
                  <a:lnTo>
                    <a:pt x="233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4"/>
                  </a:lnTo>
                  <a:lnTo>
                    <a:pt x="233" y="114"/>
                  </a:lnTo>
                  <a:lnTo>
                    <a:pt x="233" y="114"/>
                  </a:lnTo>
                  <a:lnTo>
                    <a:pt x="236" y="114"/>
                  </a:lnTo>
                  <a:lnTo>
                    <a:pt x="239" y="114"/>
                  </a:lnTo>
                  <a:lnTo>
                    <a:pt x="239" y="117"/>
                  </a:lnTo>
                  <a:lnTo>
                    <a:pt x="239" y="117"/>
                  </a:lnTo>
                  <a:lnTo>
                    <a:pt x="239" y="119"/>
                  </a:lnTo>
                  <a:lnTo>
                    <a:pt x="239" y="119"/>
                  </a:lnTo>
                  <a:lnTo>
                    <a:pt x="241" y="119"/>
                  </a:lnTo>
                  <a:lnTo>
                    <a:pt x="241" y="117"/>
                  </a:lnTo>
                  <a:lnTo>
                    <a:pt x="244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7"/>
                  </a:lnTo>
                  <a:lnTo>
                    <a:pt x="249" y="117"/>
                  </a:lnTo>
                  <a:lnTo>
                    <a:pt x="249" y="117"/>
                  </a:lnTo>
                  <a:lnTo>
                    <a:pt x="252" y="117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9" y="117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62" y="119"/>
                  </a:lnTo>
                  <a:lnTo>
                    <a:pt x="262" y="124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4" y="122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70" y="111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1"/>
                  </a:lnTo>
                  <a:lnTo>
                    <a:pt x="270" y="98"/>
                  </a:lnTo>
                  <a:lnTo>
                    <a:pt x="270" y="98"/>
                  </a:lnTo>
                  <a:lnTo>
                    <a:pt x="272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7" y="96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5" y="101"/>
                  </a:lnTo>
                  <a:lnTo>
                    <a:pt x="285" y="98"/>
                  </a:lnTo>
                  <a:lnTo>
                    <a:pt x="288" y="98"/>
                  </a:lnTo>
                  <a:lnTo>
                    <a:pt x="288" y="98"/>
                  </a:lnTo>
                  <a:lnTo>
                    <a:pt x="288" y="101"/>
                  </a:lnTo>
                  <a:lnTo>
                    <a:pt x="288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6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4"/>
                  </a:lnTo>
                  <a:lnTo>
                    <a:pt x="298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3" y="117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6" y="119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6" y="122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11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3" y="132"/>
                  </a:lnTo>
                  <a:lnTo>
                    <a:pt x="293" y="132"/>
                  </a:lnTo>
                  <a:lnTo>
                    <a:pt x="290" y="132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5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3" y="140"/>
                  </a:lnTo>
                  <a:lnTo>
                    <a:pt x="285" y="137"/>
                  </a:lnTo>
                  <a:lnTo>
                    <a:pt x="283" y="137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0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3"/>
                  </a:lnTo>
                  <a:lnTo>
                    <a:pt x="275" y="143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2" y="143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4" y="145"/>
                  </a:lnTo>
                  <a:lnTo>
                    <a:pt x="264" y="145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7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7" y="150"/>
                  </a:lnTo>
                  <a:lnTo>
                    <a:pt x="270" y="150"/>
                  </a:lnTo>
                  <a:lnTo>
                    <a:pt x="270" y="150"/>
                  </a:lnTo>
                  <a:lnTo>
                    <a:pt x="270" y="153"/>
                  </a:lnTo>
                  <a:lnTo>
                    <a:pt x="270" y="153"/>
                  </a:lnTo>
                  <a:lnTo>
                    <a:pt x="267" y="156"/>
                  </a:lnTo>
                  <a:lnTo>
                    <a:pt x="267" y="156"/>
                  </a:lnTo>
                  <a:lnTo>
                    <a:pt x="267" y="153"/>
                  </a:lnTo>
                  <a:lnTo>
                    <a:pt x="264" y="153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0" y="174"/>
                  </a:lnTo>
                  <a:lnTo>
                    <a:pt x="270" y="176"/>
                  </a:lnTo>
                  <a:lnTo>
                    <a:pt x="270" y="176"/>
                  </a:lnTo>
                  <a:lnTo>
                    <a:pt x="267" y="176"/>
                  </a:lnTo>
                  <a:lnTo>
                    <a:pt x="267" y="176"/>
                  </a:lnTo>
                  <a:lnTo>
                    <a:pt x="267" y="179"/>
                  </a:lnTo>
                  <a:lnTo>
                    <a:pt x="267" y="179"/>
                  </a:lnTo>
                  <a:lnTo>
                    <a:pt x="267" y="176"/>
                  </a:lnTo>
                  <a:lnTo>
                    <a:pt x="264" y="176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4" y="176"/>
                  </a:lnTo>
                  <a:lnTo>
                    <a:pt x="264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7" y="181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4" y="179"/>
                  </a:lnTo>
                  <a:lnTo>
                    <a:pt x="254" y="179"/>
                  </a:lnTo>
                  <a:lnTo>
                    <a:pt x="254" y="181"/>
                  </a:lnTo>
                  <a:lnTo>
                    <a:pt x="254" y="181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7" y="187"/>
                  </a:lnTo>
                  <a:lnTo>
                    <a:pt x="257" y="187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6" y="189"/>
                  </a:lnTo>
                  <a:lnTo>
                    <a:pt x="246" y="192"/>
                  </a:lnTo>
                  <a:lnTo>
                    <a:pt x="246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89"/>
                  </a:lnTo>
                  <a:lnTo>
                    <a:pt x="241" y="189"/>
                  </a:lnTo>
                  <a:lnTo>
                    <a:pt x="239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39" y="181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6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3" y="184"/>
                  </a:lnTo>
                  <a:lnTo>
                    <a:pt x="228" y="187"/>
                  </a:lnTo>
                  <a:lnTo>
                    <a:pt x="231" y="189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6" y="192"/>
                  </a:lnTo>
                  <a:lnTo>
                    <a:pt x="223" y="192"/>
                  </a:lnTo>
                  <a:lnTo>
                    <a:pt x="223" y="194"/>
                  </a:lnTo>
                  <a:lnTo>
                    <a:pt x="223" y="194"/>
                  </a:lnTo>
                  <a:lnTo>
                    <a:pt x="223" y="197"/>
                  </a:lnTo>
                  <a:lnTo>
                    <a:pt x="226" y="197"/>
                  </a:lnTo>
                  <a:lnTo>
                    <a:pt x="226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31" y="200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31" y="205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0"/>
                  </a:lnTo>
                  <a:lnTo>
                    <a:pt x="231" y="207"/>
                  </a:lnTo>
                  <a:lnTo>
                    <a:pt x="228" y="207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8" y="213"/>
                  </a:lnTo>
                  <a:lnTo>
                    <a:pt x="228" y="213"/>
                  </a:lnTo>
                  <a:lnTo>
                    <a:pt x="228" y="215"/>
                  </a:lnTo>
                  <a:lnTo>
                    <a:pt x="226" y="215"/>
                  </a:lnTo>
                  <a:lnTo>
                    <a:pt x="223" y="215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0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5" y="218"/>
                  </a:lnTo>
                  <a:lnTo>
                    <a:pt x="215" y="21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05" y="218"/>
                  </a:lnTo>
                  <a:lnTo>
                    <a:pt x="205" y="218"/>
                  </a:lnTo>
                  <a:lnTo>
                    <a:pt x="202" y="218"/>
                  </a:lnTo>
                  <a:lnTo>
                    <a:pt x="200" y="220"/>
                  </a:lnTo>
                  <a:lnTo>
                    <a:pt x="197" y="220"/>
                  </a:lnTo>
                  <a:lnTo>
                    <a:pt x="195" y="220"/>
                  </a:lnTo>
                  <a:lnTo>
                    <a:pt x="195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89" y="218"/>
                  </a:lnTo>
                  <a:lnTo>
                    <a:pt x="189" y="220"/>
                  </a:lnTo>
                  <a:lnTo>
                    <a:pt x="189" y="223"/>
                  </a:lnTo>
                  <a:lnTo>
                    <a:pt x="187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4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3"/>
                  </a:lnTo>
                  <a:lnTo>
                    <a:pt x="179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4" y="213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4" y="205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200"/>
                  </a:lnTo>
                  <a:lnTo>
                    <a:pt x="163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6" y="202"/>
                  </a:lnTo>
                  <a:lnTo>
                    <a:pt x="156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7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6" y="213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8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6"/>
                  </a:lnTo>
                  <a:lnTo>
                    <a:pt x="156" y="226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6" y="236"/>
                  </a:lnTo>
                  <a:lnTo>
                    <a:pt x="156" y="238"/>
                  </a:lnTo>
                  <a:lnTo>
                    <a:pt x="153" y="238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51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3" y="238"/>
                  </a:lnTo>
                  <a:lnTo>
                    <a:pt x="140" y="236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3" y="233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38" y="228"/>
                  </a:lnTo>
                  <a:lnTo>
                    <a:pt x="138" y="226"/>
                  </a:lnTo>
                  <a:lnTo>
                    <a:pt x="138" y="226"/>
                  </a:lnTo>
                  <a:lnTo>
                    <a:pt x="138" y="223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2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18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4" y="220"/>
                  </a:lnTo>
                  <a:lnTo>
                    <a:pt x="104" y="220"/>
                  </a:lnTo>
                  <a:lnTo>
                    <a:pt x="104" y="223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3"/>
                  </a:lnTo>
                  <a:lnTo>
                    <a:pt x="99" y="223"/>
                  </a:lnTo>
                  <a:lnTo>
                    <a:pt x="99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9" y="233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4" y="236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7" y="238"/>
                  </a:lnTo>
                  <a:lnTo>
                    <a:pt x="107" y="241"/>
                  </a:lnTo>
                  <a:lnTo>
                    <a:pt x="109" y="241"/>
                  </a:lnTo>
                  <a:lnTo>
                    <a:pt x="109" y="241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4" y="246"/>
                  </a:lnTo>
                  <a:lnTo>
                    <a:pt x="104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4" y="246"/>
                  </a:lnTo>
                  <a:lnTo>
                    <a:pt x="96" y="249"/>
                  </a:lnTo>
                  <a:lnTo>
                    <a:pt x="96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1" y="251"/>
                  </a:lnTo>
                  <a:lnTo>
                    <a:pt x="91" y="251"/>
                  </a:lnTo>
                  <a:lnTo>
                    <a:pt x="91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6" y="249"/>
                  </a:lnTo>
                  <a:lnTo>
                    <a:pt x="86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1" y="246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3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81" y="231"/>
                  </a:lnTo>
                  <a:lnTo>
                    <a:pt x="81" y="231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5" y="228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0" y="228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68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5" y="220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0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5"/>
                  </a:lnTo>
                  <a:lnTo>
                    <a:pt x="60" y="215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0"/>
                  </a:lnTo>
                  <a:lnTo>
                    <a:pt x="55" y="210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6" y="189"/>
                  </a:lnTo>
                  <a:lnTo>
                    <a:pt x="24" y="192"/>
                  </a:lnTo>
                  <a:lnTo>
                    <a:pt x="24" y="192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4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1" y="176"/>
                  </a:lnTo>
                  <a:lnTo>
                    <a:pt x="21" y="174"/>
                  </a:lnTo>
                  <a:lnTo>
                    <a:pt x="21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4"/>
                  </a:lnTo>
                  <a:lnTo>
                    <a:pt x="8" y="174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0" y="176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7" name="Freeform 177"/>
            <p:cNvSpPr>
              <a:spLocks/>
            </p:cNvSpPr>
            <p:nvPr/>
          </p:nvSpPr>
          <p:spPr bwMode="auto">
            <a:xfrm>
              <a:off x="1201" y="2937"/>
              <a:ext cx="311" cy="251"/>
            </a:xfrm>
            <a:custGeom>
              <a:avLst/>
              <a:gdLst>
                <a:gd name="T0" fmla="*/ 8 w 311"/>
                <a:gd name="T1" fmla="*/ 153 h 251"/>
                <a:gd name="T2" fmla="*/ 19 w 311"/>
                <a:gd name="T3" fmla="*/ 140 h 251"/>
                <a:gd name="T4" fmla="*/ 11 w 311"/>
                <a:gd name="T5" fmla="*/ 127 h 251"/>
                <a:gd name="T6" fmla="*/ 16 w 311"/>
                <a:gd name="T7" fmla="*/ 124 h 251"/>
                <a:gd name="T8" fmla="*/ 21 w 311"/>
                <a:gd name="T9" fmla="*/ 111 h 251"/>
                <a:gd name="T10" fmla="*/ 31 w 311"/>
                <a:gd name="T11" fmla="*/ 104 h 251"/>
                <a:gd name="T12" fmla="*/ 34 w 311"/>
                <a:gd name="T13" fmla="*/ 91 h 251"/>
                <a:gd name="T14" fmla="*/ 37 w 311"/>
                <a:gd name="T15" fmla="*/ 80 h 251"/>
                <a:gd name="T16" fmla="*/ 21 w 311"/>
                <a:gd name="T17" fmla="*/ 70 h 251"/>
                <a:gd name="T18" fmla="*/ 8 w 311"/>
                <a:gd name="T19" fmla="*/ 57 h 251"/>
                <a:gd name="T20" fmla="*/ 24 w 311"/>
                <a:gd name="T21" fmla="*/ 39 h 251"/>
                <a:gd name="T22" fmla="*/ 39 w 311"/>
                <a:gd name="T23" fmla="*/ 31 h 251"/>
                <a:gd name="T24" fmla="*/ 55 w 311"/>
                <a:gd name="T25" fmla="*/ 10 h 251"/>
                <a:gd name="T26" fmla="*/ 86 w 311"/>
                <a:gd name="T27" fmla="*/ 15 h 251"/>
                <a:gd name="T28" fmla="*/ 99 w 311"/>
                <a:gd name="T29" fmla="*/ 0 h 251"/>
                <a:gd name="T30" fmla="*/ 117 w 311"/>
                <a:gd name="T31" fmla="*/ 5 h 251"/>
                <a:gd name="T32" fmla="*/ 117 w 311"/>
                <a:gd name="T33" fmla="*/ 18 h 251"/>
                <a:gd name="T34" fmla="*/ 125 w 311"/>
                <a:gd name="T35" fmla="*/ 36 h 251"/>
                <a:gd name="T36" fmla="*/ 138 w 311"/>
                <a:gd name="T37" fmla="*/ 41 h 251"/>
                <a:gd name="T38" fmla="*/ 161 w 311"/>
                <a:gd name="T39" fmla="*/ 44 h 251"/>
                <a:gd name="T40" fmla="*/ 171 w 311"/>
                <a:gd name="T41" fmla="*/ 52 h 251"/>
                <a:gd name="T42" fmla="*/ 171 w 311"/>
                <a:gd name="T43" fmla="*/ 70 h 251"/>
                <a:gd name="T44" fmla="*/ 179 w 311"/>
                <a:gd name="T45" fmla="*/ 83 h 251"/>
                <a:gd name="T46" fmla="*/ 184 w 311"/>
                <a:gd name="T47" fmla="*/ 96 h 251"/>
                <a:gd name="T48" fmla="*/ 205 w 311"/>
                <a:gd name="T49" fmla="*/ 101 h 251"/>
                <a:gd name="T50" fmla="*/ 226 w 311"/>
                <a:gd name="T51" fmla="*/ 104 h 251"/>
                <a:gd name="T52" fmla="*/ 239 w 311"/>
                <a:gd name="T53" fmla="*/ 114 h 251"/>
                <a:gd name="T54" fmla="*/ 259 w 311"/>
                <a:gd name="T55" fmla="*/ 119 h 251"/>
                <a:gd name="T56" fmla="*/ 267 w 311"/>
                <a:gd name="T57" fmla="*/ 106 h 251"/>
                <a:gd name="T58" fmla="*/ 283 w 311"/>
                <a:gd name="T59" fmla="*/ 98 h 251"/>
                <a:gd name="T60" fmla="*/ 298 w 311"/>
                <a:gd name="T61" fmla="*/ 109 h 251"/>
                <a:gd name="T62" fmla="*/ 308 w 311"/>
                <a:gd name="T63" fmla="*/ 124 h 251"/>
                <a:gd name="T64" fmla="*/ 288 w 311"/>
                <a:gd name="T65" fmla="*/ 135 h 251"/>
                <a:gd name="T66" fmla="*/ 277 w 311"/>
                <a:gd name="T67" fmla="*/ 140 h 251"/>
                <a:gd name="T68" fmla="*/ 267 w 311"/>
                <a:gd name="T69" fmla="*/ 145 h 251"/>
                <a:gd name="T70" fmla="*/ 264 w 311"/>
                <a:gd name="T71" fmla="*/ 156 h 251"/>
                <a:gd name="T72" fmla="*/ 272 w 311"/>
                <a:gd name="T73" fmla="*/ 171 h 251"/>
                <a:gd name="T74" fmla="*/ 259 w 311"/>
                <a:gd name="T75" fmla="*/ 179 h 251"/>
                <a:gd name="T76" fmla="*/ 249 w 311"/>
                <a:gd name="T77" fmla="*/ 187 h 251"/>
                <a:gd name="T78" fmla="*/ 239 w 311"/>
                <a:gd name="T79" fmla="*/ 179 h 251"/>
                <a:gd name="T80" fmla="*/ 223 w 311"/>
                <a:gd name="T81" fmla="*/ 192 h 251"/>
                <a:gd name="T82" fmla="*/ 231 w 311"/>
                <a:gd name="T83" fmla="*/ 207 h 251"/>
                <a:gd name="T84" fmla="*/ 220 w 311"/>
                <a:gd name="T85" fmla="*/ 218 h 251"/>
                <a:gd name="T86" fmla="*/ 200 w 311"/>
                <a:gd name="T87" fmla="*/ 220 h 251"/>
                <a:gd name="T88" fmla="*/ 176 w 311"/>
                <a:gd name="T89" fmla="*/ 213 h 251"/>
                <a:gd name="T90" fmla="*/ 161 w 311"/>
                <a:gd name="T91" fmla="*/ 200 h 251"/>
                <a:gd name="T92" fmla="*/ 156 w 311"/>
                <a:gd name="T93" fmla="*/ 215 h 251"/>
                <a:gd name="T94" fmla="*/ 156 w 311"/>
                <a:gd name="T95" fmla="*/ 236 h 251"/>
                <a:gd name="T96" fmla="*/ 145 w 311"/>
                <a:gd name="T97" fmla="*/ 238 h 251"/>
                <a:gd name="T98" fmla="*/ 130 w 311"/>
                <a:gd name="T99" fmla="*/ 228 h 251"/>
                <a:gd name="T100" fmla="*/ 119 w 311"/>
                <a:gd name="T101" fmla="*/ 220 h 251"/>
                <a:gd name="T102" fmla="*/ 104 w 311"/>
                <a:gd name="T103" fmla="*/ 220 h 251"/>
                <a:gd name="T104" fmla="*/ 96 w 311"/>
                <a:gd name="T105" fmla="*/ 233 h 251"/>
                <a:gd name="T106" fmla="*/ 101 w 311"/>
                <a:gd name="T107" fmla="*/ 244 h 251"/>
                <a:gd name="T108" fmla="*/ 86 w 311"/>
                <a:gd name="T109" fmla="*/ 249 h 251"/>
                <a:gd name="T110" fmla="*/ 81 w 311"/>
                <a:gd name="T111" fmla="*/ 233 h 251"/>
                <a:gd name="T112" fmla="*/ 70 w 311"/>
                <a:gd name="T113" fmla="*/ 226 h 251"/>
                <a:gd name="T114" fmla="*/ 57 w 311"/>
                <a:gd name="T115" fmla="*/ 215 h 251"/>
                <a:gd name="T116" fmla="*/ 47 w 311"/>
                <a:gd name="T117" fmla="*/ 202 h 251"/>
                <a:gd name="T118" fmla="*/ 34 w 311"/>
                <a:gd name="T119" fmla="*/ 192 h 251"/>
                <a:gd name="T120" fmla="*/ 19 w 311"/>
                <a:gd name="T121" fmla="*/ 197 h 251"/>
                <a:gd name="T122" fmla="*/ 24 w 311"/>
                <a:gd name="T123" fmla="*/ 176 h 251"/>
                <a:gd name="T124" fmla="*/ 6 w 311"/>
                <a:gd name="T125" fmla="*/ 17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1" h="251">
                  <a:moveTo>
                    <a:pt x="0" y="176"/>
                  </a:move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6" y="168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3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6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21" y="135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8" y="124"/>
                  </a:lnTo>
                  <a:lnTo>
                    <a:pt x="8" y="122"/>
                  </a:lnTo>
                  <a:lnTo>
                    <a:pt x="11" y="122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19" y="122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4"/>
                  </a:lnTo>
                  <a:lnTo>
                    <a:pt x="19" y="114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4" y="114"/>
                  </a:lnTo>
                  <a:lnTo>
                    <a:pt x="34" y="111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6"/>
                  </a:lnTo>
                  <a:lnTo>
                    <a:pt x="34" y="106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1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3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3" y="41"/>
                  </a:lnTo>
                  <a:lnTo>
                    <a:pt x="16" y="41"/>
                  </a:lnTo>
                  <a:lnTo>
                    <a:pt x="19" y="39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6" y="36"/>
                  </a:lnTo>
                  <a:lnTo>
                    <a:pt x="26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9" y="28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5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8" y="13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8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0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8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9" y="23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2" y="26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5" y="36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2" y="41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0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5" y="39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51" y="41"/>
                  </a:lnTo>
                  <a:lnTo>
                    <a:pt x="151" y="44"/>
                  </a:lnTo>
                  <a:lnTo>
                    <a:pt x="153" y="44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8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6" y="44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71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4" y="54"/>
                  </a:lnTo>
                  <a:lnTo>
                    <a:pt x="174" y="5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6" y="62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4" y="65"/>
                  </a:lnTo>
                  <a:lnTo>
                    <a:pt x="174" y="65"/>
                  </a:lnTo>
                  <a:lnTo>
                    <a:pt x="176" y="65"/>
                  </a:lnTo>
                  <a:lnTo>
                    <a:pt x="174" y="67"/>
                  </a:lnTo>
                  <a:lnTo>
                    <a:pt x="174" y="70"/>
                  </a:lnTo>
                  <a:lnTo>
                    <a:pt x="171" y="70"/>
                  </a:lnTo>
                  <a:lnTo>
                    <a:pt x="171" y="73"/>
                  </a:lnTo>
                  <a:lnTo>
                    <a:pt x="171" y="70"/>
                  </a:lnTo>
                  <a:lnTo>
                    <a:pt x="171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3"/>
                  </a:lnTo>
                  <a:lnTo>
                    <a:pt x="166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3"/>
                  </a:lnTo>
                  <a:lnTo>
                    <a:pt x="179" y="83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3"/>
                  </a:lnTo>
                  <a:lnTo>
                    <a:pt x="187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197" y="93"/>
                  </a:lnTo>
                  <a:lnTo>
                    <a:pt x="200" y="93"/>
                  </a:lnTo>
                  <a:lnTo>
                    <a:pt x="200" y="93"/>
                  </a:lnTo>
                  <a:lnTo>
                    <a:pt x="202" y="93"/>
                  </a:lnTo>
                  <a:lnTo>
                    <a:pt x="202" y="96"/>
                  </a:lnTo>
                  <a:lnTo>
                    <a:pt x="205" y="96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4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20" y="104"/>
                  </a:lnTo>
                  <a:lnTo>
                    <a:pt x="223" y="104"/>
                  </a:lnTo>
                  <a:lnTo>
                    <a:pt x="223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3" y="109"/>
                  </a:lnTo>
                  <a:lnTo>
                    <a:pt x="233" y="109"/>
                  </a:lnTo>
                  <a:lnTo>
                    <a:pt x="233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4"/>
                  </a:lnTo>
                  <a:lnTo>
                    <a:pt x="233" y="114"/>
                  </a:lnTo>
                  <a:lnTo>
                    <a:pt x="233" y="114"/>
                  </a:lnTo>
                  <a:lnTo>
                    <a:pt x="236" y="114"/>
                  </a:lnTo>
                  <a:lnTo>
                    <a:pt x="239" y="114"/>
                  </a:lnTo>
                  <a:lnTo>
                    <a:pt x="239" y="117"/>
                  </a:lnTo>
                  <a:lnTo>
                    <a:pt x="239" y="117"/>
                  </a:lnTo>
                  <a:lnTo>
                    <a:pt x="239" y="119"/>
                  </a:lnTo>
                  <a:lnTo>
                    <a:pt x="239" y="119"/>
                  </a:lnTo>
                  <a:lnTo>
                    <a:pt x="241" y="119"/>
                  </a:lnTo>
                  <a:lnTo>
                    <a:pt x="241" y="117"/>
                  </a:lnTo>
                  <a:lnTo>
                    <a:pt x="244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7"/>
                  </a:lnTo>
                  <a:lnTo>
                    <a:pt x="249" y="117"/>
                  </a:lnTo>
                  <a:lnTo>
                    <a:pt x="249" y="117"/>
                  </a:lnTo>
                  <a:lnTo>
                    <a:pt x="252" y="117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9" y="117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62" y="119"/>
                  </a:lnTo>
                  <a:lnTo>
                    <a:pt x="262" y="124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4" y="122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70" y="111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1"/>
                  </a:lnTo>
                  <a:lnTo>
                    <a:pt x="270" y="98"/>
                  </a:lnTo>
                  <a:lnTo>
                    <a:pt x="270" y="98"/>
                  </a:lnTo>
                  <a:lnTo>
                    <a:pt x="272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7" y="96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5" y="101"/>
                  </a:lnTo>
                  <a:lnTo>
                    <a:pt x="285" y="98"/>
                  </a:lnTo>
                  <a:lnTo>
                    <a:pt x="288" y="98"/>
                  </a:lnTo>
                  <a:lnTo>
                    <a:pt x="288" y="98"/>
                  </a:lnTo>
                  <a:lnTo>
                    <a:pt x="288" y="101"/>
                  </a:lnTo>
                  <a:lnTo>
                    <a:pt x="288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6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4"/>
                  </a:lnTo>
                  <a:lnTo>
                    <a:pt x="298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3" y="117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6" y="119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6" y="122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11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3" y="132"/>
                  </a:lnTo>
                  <a:lnTo>
                    <a:pt x="293" y="132"/>
                  </a:lnTo>
                  <a:lnTo>
                    <a:pt x="290" y="132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5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3" y="140"/>
                  </a:lnTo>
                  <a:lnTo>
                    <a:pt x="285" y="137"/>
                  </a:lnTo>
                  <a:lnTo>
                    <a:pt x="283" y="137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0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3"/>
                  </a:lnTo>
                  <a:lnTo>
                    <a:pt x="275" y="143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2" y="143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4" y="145"/>
                  </a:lnTo>
                  <a:lnTo>
                    <a:pt x="264" y="145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7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7" y="150"/>
                  </a:lnTo>
                  <a:lnTo>
                    <a:pt x="270" y="150"/>
                  </a:lnTo>
                  <a:lnTo>
                    <a:pt x="270" y="150"/>
                  </a:lnTo>
                  <a:lnTo>
                    <a:pt x="270" y="153"/>
                  </a:lnTo>
                  <a:lnTo>
                    <a:pt x="270" y="153"/>
                  </a:lnTo>
                  <a:lnTo>
                    <a:pt x="267" y="156"/>
                  </a:lnTo>
                  <a:lnTo>
                    <a:pt x="267" y="156"/>
                  </a:lnTo>
                  <a:lnTo>
                    <a:pt x="267" y="153"/>
                  </a:lnTo>
                  <a:lnTo>
                    <a:pt x="264" y="153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0" y="174"/>
                  </a:lnTo>
                  <a:lnTo>
                    <a:pt x="270" y="176"/>
                  </a:lnTo>
                  <a:lnTo>
                    <a:pt x="270" y="176"/>
                  </a:lnTo>
                  <a:lnTo>
                    <a:pt x="267" y="176"/>
                  </a:lnTo>
                  <a:lnTo>
                    <a:pt x="267" y="176"/>
                  </a:lnTo>
                  <a:lnTo>
                    <a:pt x="267" y="179"/>
                  </a:lnTo>
                  <a:lnTo>
                    <a:pt x="267" y="179"/>
                  </a:lnTo>
                  <a:lnTo>
                    <a:pt x="267" y="176"/>
                  </a:lnTo>
                  <a:lnTo>
                    <a:pt x="264" y="176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4" y="176"/>
                  </a:lnTo>
                  <a:lnTo>
                    <a:pt x="264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7" y="181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4" y="179"/>
                  </a:lnTo>
                  <a:lnTo>
                    <a:pt x="254" y="179"/>
                  </a:lnTo>
                  <a:lnTo>
                    <a:pt x="254" y="181"/>
                  </a:lnTo>
                  <a:lnTo>
                    <a:pt x="254" y="181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7" y="187"/>
                  </a:lnTo>
                  <a:lnTo>
                    <a:pt x="257" y="187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6" y="189"/>
                  </a:lnTo>
                  <a:lnTo>
                    <a:pt x="246" y="192"/>
                  </a:lnTo>
                  <a:lnTo>
                    <a:pt x="246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89"/>
                  </a:lnTo>
                  <a:lnTo>
                    <a:pt x="241" y="189"/>
                  </a:lnTo>
                  <a:lnTo>
                    <a:pt x="239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39" y="181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6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3" y="184"/>
                  </a:lnTo>
                  <a:lnTo>
                    <a:pt x="228" y="187"/>
                  </a:lnTo>
                  <a:lnTo>
                    <a:pt x="231" y="189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6" y="192"/>
                  </a:lnTo>
                  <a:lnTo>
                    <a:pt x="223" y="192"/>
                  </a:lnTo>
                  <a:lnTo>
                    <a:pt x="223" y="194"/>
                  </a:lnTo>
                  <a:lnTo>
                    <a:pt x="223" y="194"/>
                  </a:lnTo>
                  <a:lnTo>
                    <a:pt x="223" y="197"/>
                  </a:lnTo>
                  <a:lnTo>
                    <a:pt x="226" y="197"/>
                  </a:lnTo>
                  <a:lnTo>
                    <a:pt x="226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31" y="200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31" y="205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0"/>
                  </a:lnTo>
                  <a:lnTo>
                    <a:pt x="231" y="207"/>
                  </a:lnTo>
                  <a:lnTo>
                    <a:pt x="228" y="207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8" y="213"/>
                  </a:lnTo>
                  <a:lnTo>
                    <a:pt x="228" y="213"/>
                  </a:lnTo>
                  <a:lnTo>
                    <a:pt x="228" y="215"/>
                  </a:lnTo>
                  <a:lnTo>
                    <a:pt x="226" y="215"/>
                  </a:lnTo>
                  <a:lnTo>
                    <a:pt x="223" y="215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0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5" y="218"/>
                  </a:lnTo>
                  <a:lnTo>
                    <a:pt x="215" y="21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05" y="218"/>
                  </a:lnTo>
                  <a:lnTo>
                    <a:pt x="205" y="218"/>
                  </a:lnTo>
                  <a:lnTo>
                    <a:pt x="202" y="218"/>
                  </a:lnTo>
                  <a:lnTo>
                    <a:pt x="200" y="220"/>
                  </a:lnTo>
                  <a:lnTo>
                    <a:pt x="197" y="220"/>
                  </a:lnTo>
                  <a:lnTo>
                    <a:pt x="195" y="220"/>
                  </a:lnTo>
                  <a:lnTo>
                    <a:pt x="195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89" y="218"/>
                  </a:lnTo>
                  <a:lnTo>
                    <a:pt x="189" y="220"/>
                  </a:lnTo>
                  <a:lnTo>
                    <a:pt x="189" y="223"/>
                  </a:lnTo>
                  <a:lnTo>
                    <a:pt x="187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4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3"/>
                  </a:lnTo>
                  <a:lnTo>
                    <a:pt x="179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4" y="213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4" y="205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200"/>
                  </a:lnTo>
                  <a:lnTo>
                    <a:pt x="163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6" y="202"/>
                  </a:lnTo>
                  <a:lnTo>
                    <a:pt x="156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7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6" y="213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8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6"/>
                  </a:lnTo>
                  <a:lnTo>
                    <a:pt x="156" y="226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6" y="236"/>
                  </a:lnTo>
                  <a:lnTo>
                    <a:pt x="156" y="238"/>
                  </a:lnTo>
                  <a:lnTo>
                    <a:pt x="153" y="238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51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3" y="238"/>
                  </a:lnTo>
                  <a:lnTo>
                    <a:pt x="140" y="236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3" y="233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38" y="228"/>
                  </a:lnTo>
                  <a:lnTo>
                    <a:pt x="138" y="226"/>
                  </a:lnTo>
                  <a:lnTo>
                    <a:pt x="138" y="226"/>
                  </a:lnTo>
                  <a:lnTo>
                    <a:pt x="138" y="223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2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18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4" y="220"/>
                  </a:lnTo>
                  <a:lnTo>
                    <a:pt x="104" y="220"/>
                  </a:lnTo>
                  <a:lnTo>
                    <a:pt x="104" y="223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3"/>
                  </a:lnTo>
                  <a:lnTo>
                    <a:pt x="99" y="223"/>
                  </a:lnTo>
                  <a:lnTo>
                    <a:pt x="99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9" y="233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4" y="236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7" y="238"/>
                  </a:lnTo>
                  <a:lnTo>
                    <a:pt x="107" y="241"/>
                  </a:lnTo>
                  <a:lnTo>
                    <a:pt x="109" y="241"/>
                  </a:lnTo>
                  <a:lnTo>
                    <a:pt x="109" y="241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4" y="246"/>
                  </a:lnTo>
                  <a:lnTo>
                    <a:pt x="104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4" y="246"/>
                  </a:lnTo>
                  <a:lnTo>
                    <a:pt x="96" y="249"/>
                  </a:lnTo>
                  <a:lnTo>
                    <a:pt x="96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1" y="251"/>
                  </a:lnTo>
                  <a:lnTo>
                    <a:pt x="91" y="251"/>
                  </a:lnTo>
                  <a:lnTo>
                    <a:pt x="91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6" y="249"/>
                  </a:lnTo>
                  <a:lnTo>
                    <a:pt x="86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1" y="246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3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81" y="231"/>
                  </a:lnTo>
                  <a:lnTo>
                    <a:pt x="81" y="231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5" y="228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0" y="228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68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5" y="220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0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5"/>
                  </a:lnTo>
                  <a:lnTo>
                    <a:pt x="60" y="215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0"/>
                  </a:lnTo>
                  <a:lnTo>
                    <a:pt x="55" y="210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6" y="189"/>
                  </a:lnTo>
                  <a:lnTo>
                    <a:pt x="24" y="192"/>
                  </a:lnTo>
                  <a:lnTo>
                    <a:pt x="24" y="192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4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1" y="176"/>
                  </a:lnTo>
                  <a:lnTo>
                    <a:pt x="21" y="174"/>
                  </a:lnTo>
                  <a:lnTo>
                    <a:pt x="21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4"/>
                  </a:lnTo>
                  <a:lnTo>
                    <a:pt x="8" y="174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0" y="176"/>
                  </a:lnTo>
                  <a:lnTo>
                    <a:pt x="0" y="17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8" name="Freeform 178"/>
            <p:cNvSpPr>
              <a:spLocks/>
            </p:cNvSpPr>
            <p:nvPr/>
          </p:nvSpPr>
          <p:spPr bwMode="auto">
            <a:xfrm>
              <a:off x="1201" y="2937"/>
              <a:ext cx="311" cy="251"/>
            </a:xfrm>
            <a:custGeom>
              <a:avLst/>
              <a:gdLst>
                <a:gd name="T0" fmla="*/ 8 w 311"/>
                <a:gd name="T1" fmla="*/ 153 h 251"/>
                <a:gd name="T2" fmla="*/ 19 w 311"/>
                <a:gd name="T3" fmla="*/ 140 h 251"/>
                <a:gd name="T4" fmla="*/ 11 w 311"/>
                <a:gd name="T5" fmla="*/ 127 h 251"/>
                <a:gd name="T6" fmla="*/ 16 w 311"/>
                <a:gd name="T7" fmla="*/ 124 h 251"/>
                <a:gd name="T8" fmla="*/ 21 w 311"/>
                <a:gd name="T9" fmla="*/ 111 h 251"/>
                <a:gd name="T10" fmla="*/ 31 w 311"/>
                <a:gd name="T11" fmla="*/ 104 h 251"/>
                <a:gd name="T12" fmla="*/ 34 w 311"/>
                <a:gd name="T13" fmla="*/ 91 h 251"/>
                <a:gd name="T14" fmla="*/ 37 w 311"/>
                <a:gd name="T15" fmla="*/ 80 h 251"/>
                <a:gd name="T16" fmla="*/ 21 w 311"/>
                <a:gd name="T17" fmla="*/ 70 h 251"/>
                <a:gd name="T18" fmla="*/ 8 w 311"/>
                <a:gd name="T19" fmla="*/ 57 h 251"/>
                <a:gd name="T20" fmla="*/ 24 w 311"/>
                <a:gd name="T21" fmla="*/ 39 h 251"/>
                <a:gd name="T22" fmla="*/ 39 w 311"/>
                <a:gd name="T23" fmla="*/ 31 h 251"/>
                <a:gd name="T24" fmla="*/ 55 w 311"/>
                <a:gd name="T25" fmla="*/ 10 h 251"/>
                <a:gd name="T26" fmla="*/ 86 w 311"/>
                <a:gd name="T27" fmla="*/ 15 h 251"/>
                <a:gd name="T28" fmla="*/ 99 w 311"/>
                <a:gd name="T29" fmla="*/ 0 h 251"/>
                <a:gd name="T30" fmla="*/ 117 w 311"/>
                <a:gd name="T31" fmla="*/ 5 h 251"/>
                <a:gd name="T32" fmla="*/ 117 w 311"/>
                <a:gd name="T33" fmla="*/ 18 h 251"/>
                <a:gd name="T34" fmla="*/ 125 w 311"/>
                <a:gd name="T35" fmla="*/ 36 h 251"/>
                <a:gd name="T36" fmla="*/ 138 w 311"/>
                <a:gd name="T37" fmla="*/ 41 h 251"/>
                <a:gd name="T38" fmla="*/ 161 w 311"/>
                <a:gd name="T39" fmla="*/ 44 h 251"/>
                <a:gd name="T40" fmla="*/ 171 w 311"/>
                <a:gd name="T41" fmla="*/ 52 h 251"/>
                <a:gd name="T42" fmla="*/ 171 w 311"/>
                <a:gd name="T43" fmla="*/ 70 h 251"/>
                <a:gd name="T44" fmla="*/ 179 w 311"/>
                <a:gd name="T45" fmla="*/ 83 h 251"/>
                <a:gd name="T46" fmla="*/ 184 w 311"/>
                <a:gd name="T47" fmla="*/ 96 h 251"/>
                <a:gd name="T48" fmla="*/ 205 w 311"/>
                <a:gd name="T49" fmla="*/ 101 h 251"/>
                <a:gd name="T50" fmla="*/ 226 w 311"/>
                <a:gd name="T51" fmla="*/ 104 h 251"/>
                <a:gd name="T52" fmla="*/ 239 w 311"/>
                <a:gd name="T53" fmla="*/ 114 h 251"/>
                <a:gd name="T54" fmla="*/ 259 w 311"/>
                <a:gd name="T55" fmla="*/ 119 h 251"/>
                <a:gd name="T56" fmla="*/ 267 w 311"/>
                <a:gd name="T57" fmla="*/ 106 h 251"/>
                <a:gd name="T58" fmla="*/ 283 w 311"/>
                <a:gd name="T59" fmla="*/ 98 h 251"/>
                <a:gd name="T60" fmla="*/ 298 w 311"/>
                <a:gd name="T61" fmla="*/ 109 h 251"/>
                <a:gd name="T62" fmla="*/ 308 w 311"/>
                <a:gd name="T63" fmla="*/ 124 h 251"/>
                <a:gd name="T64" fmla="*/ 288 w 311"/>
                <a:gd name="T65" fmla="*/ 135 h 251"/>
                <a:gd name="T66" fmla="*/ 277 w 311"/>
                <a:gd name="T67" fmla="*/ 140 h 251"/>
                <a:gd name="T68" fmla="*/ 267 w 311"/>
                <a:gd name="T69" fmla="*/ 145 h 251"/>
                <a:gd name="T70" fmla="*/ 264 w 311"/>
                <a:gd name="T71" fmla="*/ 156 h 251"/>
                <a:gd name="T72" fmla="*/ 272 w 311"/>
                <a:gd name="T73" fmla="*/ 171 h 251"/>
                <a:gd name="T74" fmla="*/ 259 w 311"/>
                <a:gd name="T75" fmla="*/ 179 h 251"/>
                <a:gd name="T76" fmla="*/ 249 w 311"/>
                <a:gd name="T77" fmla="*/ 187 h 251"/>
                <a:gd name="T78" fmla="*/ 239 w 311"/>
                <a:gd name="T79" fmla="*/ 179 h 251"/>
                <a:gd name="T80" fmla="*/ 223 w 311"/>
                <a:gd name="T81" fmla="*/ 192 h 251"/>
                <a:gd name="T82" fmla="*/ 231 w 311"/>
                <a:gd name="T83" fmla="*/ 207 h 251"/>
                <a:gd name="T84" fmla="*/ 220 w 311"/>
                <a:gd name="T85" fmla="*/ 218 h 251"/>
                <a:gd name="T86" fmla="*/ 200 w 311"/>
                <a:gd name="T87" fmla="*/ 220 h 251"/>
                <a:gd name="T88" fmla="*/ 176 w 311"/>
                <a:gd name="T89" fmla="*/ 213 h 251"/>
                <a:gd name="T90" fmla="*/ 161 w 311"/>
                <a:gd name="T91" fmla="*/ 200 h 251"/>
                <a:gd name="T92" fmla="*/ 156 w 311"/>
                <a:gd name="T93" fmla="*/ 215 h 251"/>
                <a:gd name="T94" fmla="*/ 156 w 311"/>
                <a:gd name="T95" fmla="*/ 236 h 251"/>
                <a:gd name="T96" fmla="*/ 145 w 311"/>
                <a:gd name="T97" fmla="*/ 238 h 251"/>
                <a:gd name="T98" fmla="*/ 130 w 311"/>
                <a:gd name="T99" fmla="*/ 228 h 251"/>
                <a:gd name="T100" fmla="*/ 119 w 311"/>
                <a:gd name="T101" fmla="*/ 220 h 251"/>
                <a:gd name="T102" fmla="*/ 104 w 311"/>
                <a:gd name="T103" fmla="*/ 220 h 251"/>
                <a:gd name="T104" fmla="*/ 96 w 311"/>
                <a:gd name="T105" fmla="*/ 233 h 251"/>
                <a:gd name="T106" fmla="*/ 101 w 311"/>
                <a:gd name="T107" fmla="*/ 244 h 251"/>
                <a:gd name="T108" fmla="*/ 86 w 311"/>
                <a:gd name="T109" fmla="*/ 249 h 251"/>
                <a:gd name="T110" fmla="*/ 81 w 311"/>
                <a:gd name="T111" fmla="*/ 233 h 251"/>
                <a:gd name="T112" fmla="*/ 70 w 311"/>
                <a:gd name="T113" fmla="*/ 226 h 251"/>
                <a:gd name="T114" fmla="*/ 57 w 311"/>
                <a:gd name="T115" fmla="*/ 215 h 251"/>
                <a:gd name="T116" fmla="*/ 47 w 311"/>
                <a:gd name="T117" fmla="*/ 202 h 251"/>
                <a:gd name="T118" fmla="*/ 34 w 311"/>
                <a:gd name="T119" fmla="*/ 192 h 251"/>
                <a:gd name="T120" fmla="*/ 19 w 311"/>
                <a:gd name="T121" fmla="*/ 197 h 251"/>
                <a:gd name="T122" fmla="*/ 24 w 311"/>
                <a:gd name="T123" fmla="*/ 176 h 251"/>
                <a:gd name="T124" fmla="*/ 6 w 311"/>
                <a:gd name="T125" fmla="*/ 17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1" h="251">
                  <a:moveTo>
                    <a:pt x="0" y="176"/>
                  </a:move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6" y="168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3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6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21" y="135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8" y="124"/>
                  </a:lnTo>
                  <a:lnTo>
                    <a:pt x="8" y="122"/>
                  </a:lnTo>
                  <a:lnTo>
                    <a:pt x="11" y="122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19" y="122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4"/>
                  </a:lnTo>
                  <a:lnTo>
                    <a:pt x="19" y="114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4" y="114"/>
                  </a:lnTo>
                  <a:lnTo>
                    <a:pt x="34" y="111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6"/>
                  </a:lnTo>
                  <a:lnTo>
                    <a:pt x="34" y="106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1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3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3" y="41"/>
                  </a:lnTo>
                  <a:lnTo>
                    <a:pt x="16" y="41"/>
                  </a:lnTo>
                  <a:lnTo>
                    <a:pt x="19" y="39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6" y="36"/>
                  </a:lnTo>
                  <a:lnTo>
                    <a:pt x="26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9" y="28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5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8" y="13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8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0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8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9" y="23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2" y="26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5" y="36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2" y="41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0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5" y="39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51" y="41"/>
                  </a:lnTo>
                  <a:lnTo>
                    <a:pt x="151" y="44"/>
                  </a:lnTo>
                  <a:lnTo>
                    <a:pt x="153" y="44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8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6" y="44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71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4" y="54"/>
                  </a:lnTo>
                  <a:lnTo>
                    <a:pt x="174" y="5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6" y="62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4" y="65"/>
                  </a:lnTo>
                  <a:lnTo>
                    <a:pt x="174" y="65"/>
                  </a:lnTo>
                  <a:lnTo>
                    <a:pt x="176" y="65"/>
                  </a:lnTo>
                  <a:lnTo>
                    <a:pt x="174" y="67"/>
                  </a:lnTo>
                  <a:lnTo>
                    <a:pt x="174" y="70"/>
                  </a:lnTo>
                  <a:lnTo>
                    <a:pt x="171" y="70"/>
                  </a:lnTo>
                  <a:lnTo>
                    <a:pt x="171" y="73"/>
                  </a:lnTo>
                  <a:lnTo>
                    <a:pt x="171" y="70"/>
                  </a:lnTo>
                  <a:lnTo>
                    <a:pt x="171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3"/>
                  </a:lnTo>
                  <a:lnTo>
                    <a:pt x="166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3"/>
                  </a:lnTo>
                  <a:lnTo>
                    <a:pt x="179" y="83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3"/>
                  </a:lnTo>
                  <a:lnTo>
                    <a:pt x="187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197" y="93"/>
                  </a:lnTo>
                  <a:lnTo>
                    <a:pt x="200" y="93"/>
                  </a:lnTo>
                  <a:lnTo>
                    <a:pt x="200" y="93"/>
                  </a:lnTo>
                  <a:lnTo>
                    <a:pt x="202" y="93"/>
                  </a:lnTo>
                  <a:lnTo>
                    <a:pt x="202" y="96"/>
                  </a:lnTo>
                  <a:lnTo>
                    <a:pt x="205" y="96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4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20" y="104"/>
                  </a:lnTo>
                  <a:lnTo>
                    <a:pt x="223" y="104"/>
                  </a:lnTo>
                  <a:lnTo>
                    <a:pt x="223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3" y="109"/>
                  </a:lnTo>
                  <a:lnTo>
                    <a:pt x="233" y="109"/>
                  </a:lnTo>
                  <a:lnTo>
                    <a:pt x="233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4"/>
                  </a:lnTo>
                  <a:lnTo>
                    <a:pt x="233" y="114"/>
                  </a:lnTo>
                  <a:lnTo>
                    <a:pt x="233" y="114"/>
                  </a:lnTo>
                  <a:lnTo>
                    <a:pt x="236" y="114"/>
                  </a:lnTo>
                  <a:lnTo>
                    <a:pt x="239" y="114"/>
                  </a:lnTo>
                  <a:lnTo>
                    <a:pt x="239" y="117"/>
                  </a:lnTo>
                  <a:lnTo>
                    <a:pt x="239" y="117"/>
                  </a:lnTo>
                  <a:lnTo>
                    <a:pt x="239" y="119"/>
                  </a:lnTo>
                  <a:lnTo>
                    <a:pt x="239" y="119"/>
                  </a:lnTo>
                  <a:lnTo>
                    <a:pt x="241" y="119"/>
                  </a:lnTo>
                  <a:lnTo>
                    <a:pt x="241" y="117"/>
                  </a:lnTo>
                  <a:lnTo>
                    <a:pt x="244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7"/>
                  </a:lnTo>
                  <a:lnTo>
                    <a:pt x="249" y="117"/>
                  </a:lnTo>
                  <a:lnTo>
                    <a:pt x="249" y="117"/>
                  </a:lnTo>
                  <a:lnTo>
                    <a:pt x="252" y="117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9" y="117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62" y="119"/>
                  </a:lnTo>
                  <a:lnTo>
                    <a:pt x="262" y="124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4" y="122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70" y="111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1"/>
                  </a:lnTo>
                  <a:lnTo>
                    <a:pt x="270" y="98"/>
                  </a:lnTo>
                  <a:lnTo>
                    <a:pt x="270" y="98"/>
                  </a:lnTo>
                  <a:lnTo>
                    <a:pt x="272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7" y="96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5" y="101"/>
                  </a:lnTo>
                  <a:lnTo>
                    <a:pt x="285" y="98"/>
                  </a:lnTo>
                  <a:lnTo>
                    <a:pt x="288" y="98"/>
                  </a:lnTo>
                  <a:lnTo>
                    <a:pt x="288" y="98"/>
                  </a:lnTo>
                  <a:lnTo>
                    <a:pt x="288" y="101"/>
                  </a:lnTo>
                  <a:lnTo>
                    <a:pt x="288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6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4"/>
                  </a:lnTo>
                  <a:lnTo>
                    <a:pt x="298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3" y="117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6" y="119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6" y="122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11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3" y="132"/>
                  </a:lnTo>
                  <a:lnTo>
                    <a:pt x="293" y="132"/>
                  </a:lnTo>
                  <a:lnTo>
                    <a:pt x="290" y="132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5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3" y="140"/>
                  </a:lnTo>
                  <a:lnTo>
                    <a:pt x="285" y="137"/>
                  </a:lnTo>
                  <a:lnTo>
                    <a:pt x="283" y="137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0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3"/>
                  </a:lnTo>
                  <a:lnTo>
                    <a:pt x="275" y="143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2" y="143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4" y="145"/>
                  </a:lnTo>
                  <a:lnTo>
                    <a:pt x="264" y="145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7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7" y="150"/>
                  </a:lnTo>
                  <a:lnTo>
                    <a:pt x="270" y="150"/>
                  </a:lnTo>
                  <a:lnTo>
                    <a:pt x="270" y="150"/>
                  </a:lnTo>
                  <a:lnTo>
                    <a:pt x="270" y="153"/>
                  </a:lnTo>
                  <a:lnTo>
                    <a:pt x="270" y="153"/>
                  </a:lnTo>
                  <a:lnTo>
                    <a:pt x="267" y="156"/>
                  </a:lnTo>
                  <a:lnTo>
                    <a:pt x="267" y="156"/>
                  </a:lnTo>
                  <a:lnTo>
                    <a:pt x="267" y="153"/>
                  </a:lnTo>
                  <a:lnTo>
                    <a:pt x="264" y="153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0" y="174"/>
                  </a:lnTo>
                  <a:lnTo>
                    <a:pt x="270" y="176"/>
                  </a:lnTo>
                  <a:lnTo>
                    <a:pt x="270" y="176"/>
                  </a:lnTo>
                  <a:lnTo>
                    <a:pt x="267" y="176"/>
                  </a:lnTo>
                  <a:lnTo>
                    <a:pt x="267" y="176"/>
                  </a:lnTo>
                  <a:lnTo>
                    <a:pt x="267" y="179"/>
                  </a:lnTo>
                  <a:lnTo>
                    <a:pt x="267" y="179"/>
                  </a:lnTo>
                  <a:lnTo>
                    <a:pt x="267" y="176"/>
                  </a:lnTo>
                  <a:lnTo>
                    <a:pt x="264" y="176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4" y="176"/>
                  </a:lnTo>
                  <a:lnTo>
                    <a:pt x="264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7" y="181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4" y="179"/>
                  </a:lnTo>
                  <a:lnTo>
                    <a:pt x="254" y="179"/>
                  </a:lnTo>
                  <a:lnTo>
                    <a:pt x="254" y="181"/>
                  </a:lnTo>
                  <a:lnTo>
                    <a:pt x="254" y="181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7" y="187"/>
                  </a:lnTo>
                  <a:lnTo>
                    <a:pt x="257" y="187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6" y="189"/>
                  </a:lnTo>
                  <a:lnTo>
                    <a:pt x="246" y="192"/>
                  </a:lnTo>
                  <a:lnTo>
                    <a:pt x="246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89"/>
                  </a:lnTo>
                  <a:lnTo>
                    <a:pt x="241" y="189"/>
                  </a:lnTo>
                  <a:lnTo>
                    <a:pt x="239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39" y="181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6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3" y="184"/>
                  </a:lnTo>
                  <a:lnTo>
                    <a:pt x="228" y="187"/>
                  </a:lnTo>
                  <a:lnTo>
                    <a:pt x="231" y="189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6" y="192"/>
                  </a:lnTo>
                  <a:lnTo>
                    <a:pt x="223" y="192"/>
                  </a:lnTo>
                  <a:lnTo>
                    <a:pt x="223" y="194"/>
                  </a:lnTo>
                  <a:lnTo>
                    <a:pt x="223" y="194"/>
                  </a:lnTo>
                  <a:lnTo>
                    <a:pt x="223" y="197"/>
                  </a:lnTo>
                  <a:lnTo>
                    <a:pt x="226" y="197"/>
                  </a:lnTo>
                  <a:lnTo>
                    <a:pt x="226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31" y="200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31" y="205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0"/>
                  </a:lnTo>
                  <a:lnTo>
                    <a:pt x="231" y="207"/>
                  </a:lnTo>
                  <a:lnTo>
                    <a:pt x="228" y="207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8" y="213"/>
                  </a:lnTo>
                  <a:lnTo>
                    <a:pt x="228" y="213"/>
                  </a:lnTo>
                  <a:lnTo>
                    <a:pt x="228" y="215"/>
                  </a:lnTo>
                  <a:lnTo>
                    <a:pt x="226" y="215"/>
                  </a:lnTo>
                  <a:lnTo>
                    <a:pt x="223" y="215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0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5" y="218"/>
                  </a:lnTo>
                  <a:lnTo>
                    <a:pt x="215" y="21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05" y="218"/>
                  </a:lnTo>
                  <a:lnTo>
                    <a:pt x="205" y="218"/>
                  </a:lnTo>
                  <a:lnTo>
                    <a:pt x="202" y="218"/>
                  </a:lnTo>
                  <a:lnTo>
                    <a:pt x="200" y="220"/>
                  </a:lnTo>
                  <a:lnTo>
                    <a:pt x="197" y="220"/>
                  </a:lnTo>
                  <a:lnTo>
                    <a:pt x="195" y="220"/>
                  </a:lnTo>
                  <a:lnTo>
                    <a:pt x="195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89" y="218"/>
                  </a:lnTo>
                  <a:lnTo>
                    <a:pt x="189" y="220"/>
                  </a:lnTo>
                  <a:lnTo>
                    <a:pt x="189" y="223"/>
                  </a:lnTo>
                  <a:lnTo>
                    <a:pt x="187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4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3"/>
                  </a:lnTo>
                  <a:lnTo>
                    <a:pt x="179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4" y="213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4" y="205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200"/>
                  </a:lnTo>
                  <a:lnTo>
                    <a:pt x="163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6" y="202"/>
                  </a:lnTo>
                  <a:lnTo>
                    <a:pt x="156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7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6" y="213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8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6"/>
                  </a:lnTo>
                  <a:lnTo>
                    <a:pt x="156" y="226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6" y="236"/>
                  </a:lnTo>
                  <a:lnTo>
                    <a:pt x="156" y="238"/>
                  </a:lnTo>
                  <a:lnTo>
                    <a:pt x="153" y="238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51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3" y="238"/>
                  </a:lnTo>
                  <a:lnTo>
                    <a:pt x="140" y="236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3" y="233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38" y="228"/>
                  </a:lnTo>
                  <a:lnTo>
                    <a:pt x="138" y="226"/>
                  </a:lnTo>
                  <a:lnTo>
                    <a:pt x="138" y="226"/>
                  </a:lnTo>
                  <a:lnTo>
                    <a:pt x="138" y="223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2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18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4" y="220"/>
                  </a:lnTo>
                  <a:lnTo>
                    <a:pt x="104" y="220"/>
                  </a:lnTo>
                  <a:lnTo>
                    <a:pt x="104" y="223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3"/>
                  </a:lnTo>
                  <a:lnTo>
                    <a:pt x="99" y="223"/>
                  </a:lnTo>
                  <a:lnTo>
                    <a:pt x="99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9" y="233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4" y="236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7" y="238"/>
                  </a:lnTo>
                  <a:lnTo>
                    <a:pt x="107" y="241"/>
                  </a:lnTo>
                  <a:lnTo>
                    <a:pt x="109" y="241"/>
                  </a:lnTo>
                  <a:lnTo>
                    <a:pt x="109" y="241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4" y="246"/>
                  </a:lnTo>
                  <a:lnTo>
                    <a:pt x="104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4" y="246"/>
                  </a:lnTo>
                  <a:lnTo>
                    <a:pt x="96" y="249"/>
                  </a:lnTo>
                  <a:lnTo>
                    <a:pt x="96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1" y="251"/>
                  </a:lnTo>
                  <a:lnTo>
                    <a:pt x="91" y="251"/>
                  </a:lnTo>
                  <a:lnTo>
                    <a:pt x="91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6" y="249"/>
                  </a:lnTo>
                  <a:lnTo>
                    <a:pt x="86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1" y="246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3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81" y="231"/>
                  </a:lnTo>
                  <a:lnTo>
                    <a:pt x="81" y="231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5" y="228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0" y="228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68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5" y="220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0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5"/>
                  </a:lnTo>
                  <a:lnTo>
                    <a:pt x="60" y="215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0"/>
                  </a:lnTo>
                  <a:lnTo>
                    <a:pt x="55" y="210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6" y="189"/>
                  </a:lnTo>
                  <a:lnTo>
                    <a:pt x="24" y="192"/>
                  </a:lnTo>
                  <a:lnTo>
                    <a:pt x="24" y="192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4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1" y="176"/>
                  </a:lnTo>
                  <a:lnTo>
                    <a:pt x="21" y="174"/>
                  </a:lnTo>
                  <a:lnTo>
                    <a:pt x="21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4"/>
                  </a:lnTo>
                  <a:lnTo>
                    <a:pt x="8" y="174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0" y="176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1939" name="Freeform 179"/>
            <p:cNvSpPr>
              <a:spLocks/>
            </p:cNvSpPr>
            <p:nvPr/>
          </p:nvSpPr>
          <p:spPr bwMode="auto">
            <a:xfrm>
              <a:off x="1201" y="2937"/>
              <a:ext cx="311" cy="251"/>
            </a:xfrm>
            <a:custGeom>
              <a:avLst/>
              <a:gdLst>
                <a:gd name="T0" fmla="*/ 8 w 311"/>
                <a:gd name="T1" fmla="*/ 153 h 251"/>
                <a:gd name="T2" fmla="*/ 19 w 311"/>
                <a:gd name="T3" fmla="*/ 140 h 251"/>
                <a:gd name="T4" fmla="*/ 11 w 311"/>
                <a:gd name="T5" fmla="*/ 127 h 251"/>
                <a:gd name="T6" fmla="*/ 16 w 311"/>
                <a:gd name="T7" fmla="*/ 124 h 251"/>
                <a:gd name="T8" fmla="*/ 21 w 311"/>
                <a:gd name="T9" fmla="*/ 111 h 251"/>
                <a:gd name="T10" fmla="*/ 31 w 311"/>
                <a:gd name="T11" fmla="*/ 104 h 251"/>
                <a:gd name="T12" fmla="*/ 34 w 311"/>
                <a:gd name="T13" fmla="*/ 91 h 251"/>
                <a:gd name="T14" fmla="*/ 37 w 311"/>
                <a:gd name="T15" fmla="*/ 80 h 251"/>
                <a:gd name="T16" fmla="*/ 21 w 311"/>
                <a:gd name="T17" fmla="*/ 70 h 251"/>
                <a:gd name="T18" fmla="*/ 8 w 311"/>
                <a:gd name="T19" fmla="*/ 57 h 251"/>
                <a:gd name="T20" fmla="*/ 24 w 311"/>
                <a:gd name="T21" fmla="*/ 39 h 251"/>
                <a:gd name="T22" fmla="*/ 39 w 311"/>
                <a:gd name="T23" fmla="*/ 31 h 251"/>
                <a:gd name="T24" fmla="*/ 55 w 311"/>
                <a:gd name="T25" fmla="*/ 10 h 251"/>
                <a:gd name="T26" fmla="*/ 86 w 311"/>
                <a:gd name="T27" fmla="*/ 15 h 251"/>
                <a:gd name="T28" fmla="*/ 99 w 311"/>
                <a:gd name="T29" fmla="*/ 0 h 251"/>
                <a:gd name="T30" fmla="*/ 117 w 311"/>
                <a:gd name="T31" fmla="*/ 5 h 251"/>
                <a:gd name="T32" fmla="*/ 117 w 311"/>
                <a:gd name="T33" fmla="*/ 18 h 251"/>
                <a:gd name="T34" fmla="*/ 125 w 311"/>
                <a:gd name="T35" fmla="*/ 36 h 251"/>
                <a:gd name="T36" fmla="*/ 138 w 311"/>
                <a:gd name="T37" fmla="*/ 41 h 251"/>
                <a:gd name="T38" fmla="*/ 161 w 311"/>
                <a:gd name="T39" fmla="*/ 44 h 251"/>
                <a:gd name="T40" fmla="*/ 171 w 311"/>
                <a:gd name="T41" fmla="*/ 52 h 251"/>
                <a:gd name="T42" fmla="*/ 171 w 311"/>
                <a:gd name="T43" fmla="*/ 70 h 251"/>
                <a:gd name="T44" fmla="*/ 179 w 311"/>
                <a:gd name="T45" fmla="*/ 83 h 251"/>
                <a:gd name="T46" fmla="*/ 184 w 311"/>
                <a:gd name="T47" fmla="*/ 96 h 251"/>
                <a:gd name="T48" fmla="*/ 205 w 311"/>
                <a:gd name="T49" fmla="*/ 101 h 251"/>
                <a:gd name="T50" fmla="*/ 226 w 311"/>
                <a:gd name="T51" fmla="*/ 104 h 251"/>
                <a:gd name="T52" fmla="*/ 239 w 311"/>
                <a:gd name="T53" fmla="*/ 114 h 251"/>
                <a:gd name="T54" fmla="*/ 259 w 311"/>
                <a:gd name="T55" fmla="*/ 119 h 251"/>
                <a:gd name="T56" fmla="*/ 267 w 311"/>
                <a:gd name="T57" fmla="*/ 106 h 251"/>
                <a:gd name="T58" fmla="*/ 283 w 311"/>
                <a:gd name="T59" fmla="*/ 98 h 251"/>
                <a:gd name="T60" fmla="*/ 298 w 311"/>
                <a:gd name="T61" fmla="*/ 109 h 251"/>
                <a:gd name="T62" fmla="*/ 308 w 311"/>
                <a:gd name="T63" fmla="*/ 124 h 251"/>
                <a:gd name="T64" fmla="*/ 288 w 311"/>
                <a:gd name="T65" fmla="*/ 135 h 251"/>
                <a:gd name="T66" fmla="*/ 277 w 311"/>
                <a:gd name="T67" fmla="*/ 140 h 251"/>
                <a:gd name="T68" fmla="*/ 267 w 311"/>
                <a:gd name="T69" fmla="*/ 145 h 251"/>
                <a:gd name="T70" fmla="*/ 264 w 311"/>
                <a:gd name="T71" fmla="*/ 156 h 251"/>
                <a:gd name="T72" fmla="*/ 272 w 311"/>
                <a:gd name="T73" fmla="*/ 171 h 251"/>
                <a:gd name="T74" fmla="*/ 259 w 311"/>
                <a:gd name="T75" fmla="*/ 179 h 251"/>
                <a:gd name="T76" fmla="*/ 249 w 311"/>
                <a:gd name="T77" fmla="*/ 187 h 251"/>
                <a:gd name="T78" fmla="*/ 239 w 311"/>
                <a:gd name="T79" fmla="*/ 179 h 251"/>
                <a:gd name="T80" fmla="*/ 223 w 311"/>
                <a:gd name="T81" fmla="*/ 192 h 251"/>
                <a:gd name="T82" fmla="*/ 231 w 311"/>
                <a:gd name="T83" fmla="*/ 207 h 251"/>
                <a:gd name="T84" fmla="*/ 220 w 311"/>
                <a:gd name="T85" fmla="*/ 218 h 251"/>
                <a:gd name="T86" fmla="*/ 200 w 311"/>
                <a:gd name="T87" fmla="*/ 220 h 251"/>
                <a:gd name="T88" fmla="*/ 176 w 311"/>
                <a:gd name="T89" fmla="*/ 213 h 251"/>
                <a:gd name="T90" fmla="*/ 161 w 311"/>
                <a:gd name="T91" fmla="*/ 200 h 251"/>
                <a:gd name="T92" fmla="*/ 156 w 311"/>
                <a:gd name="T93" fmla="*/ 215 h 251"/>
                <a:gd name="T94" fmla="*/ 156 w 311"/>
                <a:gd name="T95" fmla="*/ 236 h 251"/>
                <a:gd name="T96" fmla="*/ 145 w 311"/>
                <a:gd name="T97" fmla="*/ 238 h 251"/>
                <a:gd name="T98" fmla="*/ 130 w 311"/>
                <a:gd name="T99" fmla="*/ 228 h 251"/>
                <a:gd name="T100" fmla="*/ 119 w 311"/>
                <a:gd name="T101" fmla="*/ 220 h 251"/>
                <a:gd name="T102" fmla="*/ 104 w 311"/>
                <a:gd name="T103" fmla="*/ 220 h 251"/>
                <a:gd name="T104" fmla="*/ 96 w 311"/>
                <a:gd name="T105" fmla="*/ 233 h 251"/>
                <a:gd name="T106" fmla="*/ 101 w 311"/>
                <a:gd name="T107" fmla="*/ 244 h 251"/>
                <a:gd name="T108" fmla="*/ 86 w 311"/>
                <a:gd name="T109" fmla="*/ 249 h 251"/>
                <a:gd name="T110" fmla="*/ 81 w 311"/>
                <a:gd name="T111" fmla="*/ 233 h 251"/>
                <a:gd name="T112" fmla="*/ 70 w 311"/>
                <a:gd name="T113" fmla="*/ 226 h 251"/>
                <a:gd name="T114" fmla="*/ 57 w 311"/>
                <a:gd name="T115" fmla="*/ 215 h 251"/>
                <a:gd name="T116" fmla="*/ 47 w 311"/>
                <a:gd name="T117" fmla="*/ 202 h 251"/>
                <a:gd name="T118" fmla="*/ 34 w 311"/>
                <a:gd name="T119" fmla="*/ 192 h 251"/>
                <a:gd name="T120" fmla="*/ 19 w 311"/>
                <a:gd name="T121" fmla="*/ 197 h 251"/>
                <a:gd name="T122" fmla="*/ 24 w 311"/>
                <a:gd name="T123" fmla="*/ 176 h 251"/>
                <a:gd name="T124" fmla="*/ 6 w 311"/>
                <a:gd name="T125" fmla="*/ 17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1" h="251">
                  <a:moveTo>
                    <a:pt x="0" y="176"/>
                  </a:move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6" y="168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3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6" y="143"/>
                  </a:lnTo>
                  <a:lnTo>
                    <a:pt x="19" y="143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21" y="135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8" y="127"/>
                  </a:lnTo>
                  <a:lnTo>
                    <a:pt x="8" y="124"/>
                  </a:lnTo>
                  <a:lnTo>
                    <a:pt x="8" y="122"/>
                  </a:lnTo>
                  <a:lnTo>
                    <a:pt x="11" y="122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19" y="122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4"/>
                  </a:lnTo>
                  <a:lnTo>
                    <a:pt x="19" y="114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4" y="114"/>
                  </a:lnTo>
                  <a:lnTo>
                    <a:pt x="34" y="111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6"/>
                  </a:lnTo>
                  <a:lnTo>
                    <a:pt x="34" y="106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1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31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4" y="75"/>
                  </a:lnTo>
                  <a:lnTo>
                    <a:pt x="24" y="73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3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3" y="41"/>
                  </a:lnTo>
                  <a:lnTo>
                    <a:pt x="16" y="41"/>
                  </a:lnTo>
                  <a:lnTo>
                    <a:pt x="19" y="39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6" y="36"/>
                  </a:lnTo>
                  <a:lnTo>
                    <a:pt x="26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4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9" y="28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5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68" y="13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8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0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8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9" y="23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2" y="26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5" y="36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2" y="41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0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5" y="39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51" y="41"/>
                  </a:lnTo>
                  <a:lnTo>
                    <a:pt x="151" y="44"/>
                  </a:lnTo>
                  <a:lnTo>
                    <a:pt x="153" y="44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8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3" y="44"/>
                  </a:lnTo>
                  <a:lnTo>
                    <a:pt x="166" y="44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71" y="47"/>
                  </a:lnTo>
                  <a:lnTo>
                    <a:pt x="169" y="47"/>
                  </a:lnTo>
                  <a:lnTo>
                    <a:pt x="169" y="47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4" y="54"/>
                  </a:lnTo>
                  <a:lnTo>
                    <a:pt x="174" y="5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9" y="62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6" y="62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4" y="65"/>
                  </a:lnTo>
                  <a:lnTo>
                    <a:pt x="174" y="65"/>
                  </a:lnTo>
                  <a:lnTo>
                    <a:pt x="176" y="65"/>
                  </a:lnTo>
                  <a:lnTo>
                    <a:pt x="174" y="67"/>
                  </a:lnTo>
                  <a:lnTo>
                    <a:pt x="174" y="70"/>
                  </a:lnTo>
                  <a:lnTo>
                    <a:pt x="171" y="70"/>
                  </a:lnTo>
                  <a:lnTo>
                    <a:pt x="171" y="73"/>
                  </a:lnTo>
                  <a:lnTo>
                    <a:pt x="171" y="70"/>
                  </a:lnTo>
                  <a:lnTo>
                    <a:pt x="171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3"/>
                  </a:lnTo>
                  <a:lnTo>
                    <a:pt x="166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69" y="75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9" y="83"/>
                  </a:lnTo>
                  <a:lnTo>
                    <a:pt x="179" y="83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9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3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4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3"/>
                  </a:lnTo>
                  <a:lnTo>
                    <a:pt x="187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7" y="96"/>
                  </a:lnTo>
                  <a:lnTo>
                    <a:pt x="197" y="93"/>
                  </a:lnTo>
                  <a:lnTo>
                    <a:pt x="200" y="93"/>
                  </a:lnTo>
                  <a:lnTo>
                    <a:pt x="200" y="93"/>
                  </a:lnTo>
                  <a:lnTo>
                    <a:pt x="202" y="93"/>
                  </a:lnTo>
                  <a:lnTo>
                    <a:pt x="202" y="96"/>
                  </a:lnTo>
                  <a:lnTo>
                    <a:pt x="205" y="96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10" y="106"/>
                  </a:lnTo>
                  <a:lnTo>
                    <a:pt x="210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4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20" y="104"/>
                  </a:lnTo>
                  <a:lnTo>
                    <a:pt x="223" y="104"/>
                  </a:lnTo>
                  <a:lnTo>
                    <a:pt x="223" y="104"/>
                  </a:lnTo>
                  <a:lnTo>
                    <a:pt x="226" y="104"/>
                  </a:lnTo>
                  <a:lnTo>
                    <a:pt x="226" y="104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28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33" y="109"/>
                  </a:lnTo>
                  <a:lnTo>
                    <a:pt x="233" y="109"/>
                  </a:lnTo>
                  <a:lnTo>
                    <a:pt x="233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1"/>
                  </a:lnTo>
                  <a:lnTo>
                    <a:pt x="236" y="114"/>
                  </a:lnTo>
                  <a:lnTo>
                    <a:pt x="233" y="114"/>
                  </a:lnTo>
                  <a:lnTo>
                    <a:pt x="233" y="114"/>
                  </a:lnTo>
                  <a:lnTo>
                    <a:pt x="236" y="114"/>
                  </a:lnTo>
                  <a:lnTo>
                    <a:pt x="239" y="114"/>
                  </a:lnTo>
                  <a:lnTo>
                    <a:pt x="239" y="117"/>
                  </a:lnTo>
                  <a:lnTo>
                    <a:pt x="239" y="117"/>
                  </a:lnTo>
                  <a:lnTo>
                    <a:pt x="239" y="119"/>
                  </a:lnTo>
                  <a:lnTo>
                    <a:pt x="239" y="119"/>
                  </a:lnTo>
                  <a:lnTo>
                    <a:pt x="241" y="119"/>
                  </a:lnTo>
                  <a:lnTo>
                    <a:pt x="241" y="117"/>
                  </a:lnTo>
                  <a:lnTo>
                    <a:pt x="244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7"/>
                  </a:lnTo>
                  <a:lnTo>
                    <a:pt x="249" y="117"/>
                  </a:lnTo>
                  <a:lnTo>
                    <a:pt x="249" y="117"/>
                  </a:lnTo>
                  <a:lnTo>
                    <a:pt x="252" y="117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9" y="117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59" y="119"/>
                  </a:lnTo>
                  <a:lnTo>
                    <a:pt x="262" y="119"/>
                  </a:lnTo>
                  <a:lnTo>
                    <a:pt x="262" y="124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4" y="122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9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70" y="111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6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4"/>
                  </a:lnTo>
                  <a:lnTo>
                    <a:pt x="267" y="101"/>
                  </a:lnTo>
                  <a:lnTo>
                    <a:pt x="270" y="98"/>
                  </a:lnTo>
                  <a:lnTo>
                    <a:pt x="270" y="98"/>
                  </a:lnTo>
                  <a:lnTo>
                    <a:pt x="272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5" y="96"/>
                  </a:lnTo>
                  <a:lnTo>
                    <a:pt x="277" y="96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77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5" y="101"/>
                  </a:lnTo>
                  <a:lnTo>
                    <a:pt x="285" y="98"/>
                  </a:lnTo>
                  <a:lnTo>
                    <a:pt x="288" y="98"/>
                  </a:lnTo>
                  <a:lnTo>
                    <a:pt x="288" y="98"/>
                  </a:lnTo>
                  <a:lnTo>
                    <a:pt x="288" y="101"/>
                  </a:lnTo>
                  <a:lnTo>
                    <a:pt x="288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1"/>
                  </a:lnTo>
                  <a:lnTo>
                    <a:pt x="293" y="104"/>
                  </a:lnTo>
                  <a:lnTo>
                    <a:pt x="293" y="106"/>
                  </a:lnTo>
                  <a:lnTo>
                    <a:pt x="293" y="109"/>
                  </a:lnTo>
                  <a:lnTo>
                    <a:pt x="293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6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09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4"/>
                  </a:lnTo>
                  <a:lnTo>
                    <a:pt x="298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3" y="117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6" y="114"/>
                  </a:lnTo>
                  <a:lnTo>
                    <a:pt x="306" y="114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6" y="119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6" y="122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11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6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8" y="130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3" y="132"/>
                  </a:lnTo>
                  <a:lnTo>
                    <a:pt x="293" y="132"/>
                  </a:lnTo>
                  <a:lnTo>
                    <a:pt x="290" y="132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5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8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3" y="140"/>
                  </a:lnTo>
                  <a:lnTo>
                    <a:pt x="285" y="137"/>
                  </a:lnTo>
                  <a:lnTo>
                    <a:pt x="283" y="137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0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0"/>
                  </a:lnTo>
                  <a:lnTo>
                    <a:pt x="277" y="143"/>
                  </a:lnTo>
                  <a:lnTo>
                    <a:pt x="275" y="143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2" y="143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7" y="145"/>
                  </a:lnTo>
                  <a:lnTo>
                    <a:pt x="264" y="145"/>
                  </a:lnTo>
                  <a:lnTo>
                    <a:pt x="264" y="145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7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7" y="150"/>
                  </a:lnTo>
                  <a:lnTo>
                    <a:pt x="270" y="150"/>
                  </a:lnTo>
                  <a:lnTo>
                    <a:pt x="270" y="150"/>
                  </a:lnTo>
                  <a:lnTo>
                    <a:pt x="270" y="153"/>
                  </a:lnTo>
                  <a:lnTo>
                    <a:pt x="270" y="153"/>
                  </a:lnTo>
                  <a:lnTo>
                    <a:pt x="267" y="156"/>
                  </a:lnTo>
                  <a:lnTo>
                    <a:pt x="267" y="156"/>
                  </a:lnTo>
                  <a:lnTo>
                    <a:pt x="267" y="153"/>
                  </a:lnTo>
                  <a:lnTo>
                    <a:pt x="264" y="153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4" y="161"/>
                  </a:lnTo>
                  <a:lnTo>
                    <a:pt x="264" y="161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1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0" y="174"/>
                  </a:lnTo>
                  <a:lnTo>
                    <a:pt x="270" y="176"/>
                  </a:lnTo>
                  <a:lnTo>
                    <a:pt x="270" y="176"/>
                  </a:lnTo>
                  <a:lnTo>
                    <a:pt x="267" y="176"/>
                  </a:lnTo>
                  <a:lnTo>
                    <a:pt x="267" y="176"/>
                  </a:lnTo>
                  <a:lnTo>
                    <a:pt x="267" y="179"/>
                  </a:lnTo>
                  <a:lnTo>
                    <a:pt x="267" y="179"/>
                  </a:lnTo>
                  <a:lnTo>
                    <a:pt x="267" y="176"/>
                  </a:lnTo>
                  <a:lnTo>
                    <a:pt x="264" y="176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4" y="176"/>
                  </a:lnTo>
                  <a:lnTo>
                    <a:pt x="264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7" y="181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4" y="179"/>
                  </a:lnTo>
                  <a:lnTo>
                    <a:pt x="254" y="179"/>
                  </a:lnTo>
                  <a:lnTo>
                    <a:pt x="254" y="181"/>
                  </a:lnTo>
                  <a:lnTo>
                    <a:pt x="254" y="181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7" y="187"/>
                  </a:lnTo>
                  <a:lnTo>
                    <a:pt x="257" y="187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52" y="189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6" y="189"/>
                  </a:lnTo>
                  <a:lnTo>
                    <a:pt x="246" y="192"/>
                  </a:lnTo>
                  <a:lnTo>
                    <a:pt x="246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92"/>
                  </a:lnTo>
                  <a:lnTo>
                    <a:pt x="241" y="189"/>
                  </a:lnTo>
                  <a:lnTo>
                    <a:pt x="241" y="189"/>
                  </a:lnTo>
                  <a:lnTo>
                    <a:pt x="239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7"/>
                  </a:lnTo>
                  <a:lnTo>
                    <a:pt x="241" y="184"/>
                  </a:lnTo>
                  <a:lnTo>
                    <a:pt x="241" y="184"/>
                  </a:lnTo>
                  <a:lnTo>
                    <a:pt x="239" y="181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6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79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6" y="181"/>
                  </a:lnTo>
                  <a:lnTo>
                    <a:pt x="233" y="184"/>
                  </a:lnTo>
                  <a:lnTo>
                    <a:pt x="228" y="187"/>
                  </a:lnTo>
                  <a:lnTo>
                    <a:pt x="231" y="189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92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8" y="189"/>
                  </a:lnTo>
                  <a:lnTo>
                    <a:pt x="226" y="192"/>
                  </a:lnTo>
                  <a:lnTo>
                    <a:pt x="223" y="192"/>
                  </a:lnTo>
                  <a:lnTo>
                    <a:pt x="223" y="194"/>
                  </a:lnTo>
                  <a:lnTo>
                    <a:pt x="223" y="194"/>
                  </a:lnTo>
                  <a:lnTo>
                    <a:pt x="223" y="197"/>
                  </a:lnTo>
                  <a:lnTo>
                    <a:pt x="226" y="197"/>
                  </a:lnTo>
                  <a:lnTo>
                    <a:pt x="226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28" y="197"/>
                  </a:lnTo>
                  <a:lnTo>
                    <a:pt x="231" y="200"/>
                  </a:lnTo>
                  <a:lnTo>
                    <a:pt x="233" y="202"/>
                  </a:lnTo>
                  <a:lnTo>
                    <a:pt x="233" y="202"/>
                  </a:lnTo>
                  <a:lnTo>
                    <a:pt x="233" y="205"/>
                  </a:lnTo>
                  <a:lnTo>
                    <a:pt x="233" y="205"/>
                  </a:lnTo>
                  <a:lnTo>
                    <a:pt x="231" y="205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0"/>
                  </a:lnTo>
                  <a:lnTo>
                    <a:pt x="231" y="207"/>
                  </a:lnTo>
                  <a:lnTo>
                    <a:pt x="228" y="207"/>
                  </a:lnTo>
                  <a:lnTo>
                    <a:pt x="226" y="210"/>
                  </a:lnTo>
                  <a:lnTo>
                    <a:pt x="226" y="210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8" y="213"/>
                  </a:lnTo>
                  <a:lnTo>
                    <a:pt x="228" y="213"/>
                  </a:lnTo>
                  <a:lnTo>
                    <a:pt x="228" y="215"/>
                  </a:lnTo>
                  <a:lnTo>
                    <a:pt x="226" y="215"/>
                  </a:lnTo>
                  <a:lnTo>
                    <a:pt x="223" y="215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0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5" y="218"/>
                  </a:lnTo>
                  <a:lnTo>
                    <a:pt x="215" y="218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3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5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10" y="218"/>
                  </a:lnTo>
                  <a:lnTo>
                    <a:pt x="205" y="218"/>
                  </a:lnTo>
                  <a:lnTo>
                    <a:pt x="205" y="218"/>
                  </a:lnTo>
                  <a:lnTo>
                    <a:pt x="202" y="218"/>
                  </a:lnTo>
                  <a:lnTo>
                    <a:pt x="200" y="220"/>
                  </a:lnTo>
                  <a:lnTo>
                    <a:pt x="197" y="220"/>
                  </a:lnTo>
                  <a:lnTo>
                    <a:pt x="195" y="220"/>
                  </a:lnTo>
                  <a:lnTo>
                    <a:pt x="195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89" y="218"/>
                  </a:lnTo>
                  <a:lnTo>
                    <a:pt x="189" y="220"/>
                  </a:lnTo>
                  <a:lnTo>
                    <a:pt x="189" y="223"/>
                  </a:lnTo>
                  <a:lnTo>
                    <a:pt x="187" y="223"/>
                  </a:lnTo>
                  <a:lnTo>
                    <a:pt x="184" y="223"/>
                  </a:lnTo>
                  <a:lnTo>
                    <a:pt x="184" y="223"/>
                  </a:lnTo>
                  <a:lnTo>
                    <a:pt x="184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79" y="218"/>
                  </a:lnTo>
                  <a:lnTo>
                    <a:pt x="179" y="218"/>
                  </a:lnTo>
                  <a:lnTo>
                    <a:pt x="179" y="215"/>
                  </a:lnTo>
                  <a:lnTo>
                    <a:pt x="179" y="215"/>
                  </a:lnTo>
                  <a:lnTo>
                    <a:pt x="179" y="213"/>
                  </a:lnTo>
                  <a:lnTo>
                    <a:pt x="179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74" y="213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4" y="205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4" y="200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3" y="200"/>
                  </a:lnTo>
                  <a:lnTo>
                    <a:pt x="163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61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56" y="202"/>
                  </a:lnTo>
                  <a:lnTo>
                    <a:pt x="156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5"/>
                  </a:lnTo>
                  <a:lnTo>
                    <a:pt x="153" y="207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3" y="210"/>
                  </a:lnTo>
                  <a:lnTo>
                    <a:pt x="156" y="213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8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23"/>
                  </a:lnTo>
                  <a:lnTo>
                    <a:pt x="156" y="223"/>
                  </a:lnTo>
                  <a:lnTo>
                    <a:pt x="156" y="226"/>
                  </a:lnTo>
                  <a:lnTo>
                    <a:pt x="156" y="226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6" y="228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6" y="236"/>
                  </a:lnTo>
                  <a:lnTo>
                    <a:pt x="156" y="238"/>
                  </a:lnTo>
                  <a:lnTo>
                    <a:pt x="153" y="238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51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41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3" y="238"/>
                  </a:lnTo>
                  <a:lnTo>
                    <a:pt x="140" y="236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3" y="233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40" y="228"/>
                  </a:lnTo>
                  <a:lnTo>
                    <a:pt x="138" y="228"/>
                  </a:lnTo>
                  <a:lnTo>
                    <a:pt x="138" y="226"/>
                  </a:lnTo>
                  <a:lnTo>
                    <a:pt x="138" y="226"/>
                  </a:lnTo>
                  <a:lnTo>
                    <a:pt x="138" y="223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5" y="226"/>
                  </a:lnTo>
                  <a:lnTo>
                    <a:pt x="132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7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6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5" y="228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18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04" y="220"/>
                  </a:lnTo>
                  <a:lnTo>
                    <a:pt x="104" y="220"/>
                  </a:lnTo>
                  <a:lnTo>
                    <a:pt x="104" y="223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3"/>
                  </a:lnTo>
                  <a:lnTo>
                    <a:pt x="99" y="223"/>
                  </a:lnTo>
                  <a:lnTo>
                    <a:pt x="99" y="226"/>
                  </a:lnTo>
                  <a:lnTo>
                    <a:pt x="96" y="226"/>
                  </a:lnTo>
                  <a:lnTo>
                    <a:pt x="96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6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9" y="233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4" y="236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4" y="238"/>
                  </a:lnTo>
                  <a:lnTo>
                    <a:pt x="107" y="238"/>
                  </a:lnTo>
                  <a:lnTo>
                    <a:pt x="107" y="241"/>
                  </a:lnTo>
                  <a:lnTo>
                    <a:pt x="109" y="241"/>
                  </a:lnTo>
                  <a:lnTo>
                    <a:pt x="109" y="241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7" y="246"/>
                  </a:lnTo>
                  <a:lnTo>
                    <a:pt x="104" y="246"/>
                  </a:lnTo>
                  <a:lnTo>
                    <a:pt x="104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6" y="244"/>
                  </a:lnTo>
                  <a:lnTo>
                    <a:pt x="94" y="246"/>
                  </a:lnTo>
                  <a:lnTo>
                    <a:pt x="96" y="249"/>
                  </a:lnTo>
                  <a:lnTo>
                    <a:pt x="96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4" y="251"/>
                  </a:lnTo>
                  <a:lnTo>
                    <a:pt x="91" y="251"/>
                  </a:lnTo>
                  <a:lnTo>
                    <a:pt x="91" y="251"/>
                  </a:lnTo>
                  <a:lnTo>
                    <a:pt x="91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8" y="249"/>
                  </a:lnTo>
                  <a:lnTo>
                    <a:pt x="86" y="249"/>
                  </a:lnTo>
                  <a:lnTo>
                    <a:pt x="86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3" y="249"/>
                  </a:lnTo>
                  <a:lnTo>
                    <a:pt x="81" y="246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3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81" y="231"/>
                  </a:lnTo>
                  <a:lnTo>
                    <a:pt x="81" y="231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5" y="228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0" y="228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68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70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65" y="220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0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8"/>
                  </a:lnTo>
                  <a:lnTo>
                    <a:pt x="57" y="215"/>
                  </a:lnTo>
                  <a:lnTo>
                    <a:pt x="60" y="215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5" y="213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5" y="210"/>
                  </a:lnTo>
                  <a:lnTo>
                    <a:pt x="55" y="210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39" y="200"/>
                  </a:lnTo>
                  <a:lnTo>
                    <a:pt x="39" y="200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34" y="192"/>
                  </a:lnTo>
                  <a:lnTo>
                    <a:pt x="34" y="192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2"/>
                  </a:lnTo>
                  <a:lnTo>
                    <a:pt x="31" y="194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6" y="189"/>
                  </a:lnTo>
                  <a:lnTo>
                    <a:pt x="24" y="192"/>
                  </a:lnTo>
                  <a:lnTo>
                    <a:pt x="24" y="192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4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7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4"/>
                  </a:lnTo>
                  <a:lnTo>
                    <a:pt x="19" y="184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1" y="176"/>
                  </a:lnTo>
                  <a:lnTo>
                    <a:pt x="21" y="174"/>
                  </a:lnTo>
                  <a:lnTo>
                    <a:pt x="21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4"/>
                  </a:lnTo>
                  <a:lnTo>
                    <a:pt x="8" y="174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3" y="176"/>
                  </a:lnTo>
                  <a:lnTo>
                    <a:pt x="0" y="176"/>
                  </a:lnTo>
                  <a:lnTo>
                    <a:pt x="0" y="17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01940" name="Oval 180"/>
          <p:cNvSpPr>
            <a:spLocks noChangeArrowheads="1"/>
          </p:cNvSpPr>
          <p:nvPr/>
        </p:nvSpPr>
        <p:spPr bwMode="auto">
          <a:xfrm>
            <a:off x="2790825" y="3432175"/>
            <a:ext cx="109538" cy="10160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01941" name="Text Box 181"/>
          <p:cNvSpPr txBox="1">
            <a:spLocks noChangeArrowheads="1"/>
          </p:cNvSpPr>
          <p:nvPr/>
        </p:nvSpPr>
        <p:spPr bwMode="auto">
          <a:xfrm>
            <a:off x="2408238" y="3486150"/>
            <a:ext cx="877887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b="1"/>
              <a:t>BERLIN</a:t>
            </a:r>
          </a:p>
        </p:txBody>
      </p:sp>
      <p:sp>
        <p:nvSpPr>
          <p:cNvPr id="501942" name="Text Box 182"/>
          <p:cNvSpPr txBox="1">
            <a:spLocks noChangeArrowheads="1"/>
          </p:cNvSpPr>
          <p:nvPr/>
        </p:nvSpPr>
        <p:spPr bwMode="auto">
          <a:xfrm>
            <a:off x="479425" y="6002338"/>
            <a:ext cx="8775700" cy="471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539750" indent="-539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1913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/>
              <a:t>Sources: 	Destatis, Wikipedia, SVR Wirtschaft, authors calculations (* Estimate by SVR Wirtschaft)</a:t>
            </a:r>
          </a:p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/>
              <a:t>Note: 	All financial indicators as gross expenditure. Additionally, the Public Social Insurance Schemes (Pension, Health, Unemployment (Social Insurance) add €506bn (2009) (21% GDP) expenditure. Total gross public expenditure is 57% of GDP in 2009. Total public debt is 73% of GDP (2010 notification to EU).</a:t>
            </a:r>
          </a:p>
        </p:txBody>
      </p:sp>
      <p:sp>
        <p:nvSpPr>
          <p:cNvPr id="501943" name="Rectangle 183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16496570-9FDA-46B4-BA64-0131D07550F6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95237" name="Text Box 5"/>
          <p:cNvSpPr txBox="1">
            <a:spLocks noChangeArrowheads="1"/>
          </p:cNvSpPr>
          <p:nvPr/>
        </p:nvSpPr>
        <p:spPr bwMode="auto">
          <a:xfrm>
            <a:off x="439738" y="6557963"/>
            <a:ext cx="7356475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800" dirty="0" smtClean="0"/>
              <a:t>Current Challenges in the Joint Delivery of Labor Market Services and Social Assistance in Germany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GB" sz="800" dirty="0"/>
              <a:t>Ulrich </a:t>
            </a:r>
            <a:r>
              <a:rPr lang="en-GB" sz="800" dirty="0" err="1" smtClean="0"/>
              <a:t>Hoerning</a:t>
            </a:r>
            <a:r>
              <a:rPr lang="en-GB" sz="800" dirty="0" smtClean="0"/>
              <a:t> </a:t>
            </a:r>
            <a:r>
              <a:rPr lang="en-GB" sz="800" dirty="0"/>
              <a:t>– </a:t>
            </a:r>
            <a:r>
              <a:rPr lang="en-GB" sz="800" dirty="0" smtClean="0"/>
              <a:t>04-March 2014</a:t>
            </a:r>
            <a:endParaRPr lang="en-GB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754" name="Rectangle 2"/>
          <p:cNvSpPr>
            <a:spLocks noChangeArrowheads="1"/>
          </p:cNvSpPr>
          <p:nvPr/>
        </p:nvSpPr>
        <p:spPr bwMode="gray">
          <a:xfrm>
            <a:off x="538163" y="1751013"/>
            <a:ext cx="1444625" cy="4684712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458755" name="Text Box 3"/>
          <p:cNvSpPr txBox="1">
            <a:spLocks noChangeArrowheads="1"/>
          </p:cNvSpPr>
          <p:nvPr/>
        </p:nvSpPr>
        <p:spPr bwMode="gray">
          <a:xfrm>
            <a:off x="1546225" y="1014413"/>
            <a:ext cx="1841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45000"/>
              </a:spcBef>
            </a:pPr>
            <a:endParaRPr lang="en-GB" sz="1600" b="1"/>
          </a:p>
        </p:txBody>
      </p:sp>
      <p:sp>
        <p:nvSpPr>
          <p:cNvPr id="458756" name="Text Box 4"/>
          <p:cNvSpPr txBox="1">
            <a:spLocks noChangeArrowheads="1"/>
          </p:cNvSpPr>
          <p:nvPr/>
        </p:nvSpPr>
        <p:spPr bwMode="gray">
          <a:xfrm>
            <a:off x="6446838" y="1014413"/>
            <a:ext cx="1841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45000"/>
              </a:spcBef>
            </a:pPr>
            <a:endParaRPr lang="en-GB" sz="1600" b="1"/>
          </a:p>
        </p:txBody>
      </p:sp>
      <p:sp>
        <p:nvSpPr>
          <p:cNvPr id="458757" name="Rectangle 5"/>
          <p:cNvSpPr>
            <a:spLocks noChangeArrowheads="1"/>
          </p:cNvSpPr>
          <p:nvPr/>
        </p:nvSpPr>
        <p:spPr bwMode="gray">
          <a:xfrm>
            <a:off x="2352675" y="2606675"/>
            <a:ext cx="3222625" cy="1901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ctr" eaLnBrk="0" hangingPunct="0"/>
            <a:endParaRPr lang="en-GB" sz="1400" b="1">
              <a:latin typeface="Verdana" pitchFamily="34" charset="0"/>
            </a:endParaRPr>
          </a:p>
          <a:p>
            <a:pPr algn="ctr" eaLnBrk="0" hangingPunct="0"/>
            <a:endParaRPr lang="en-GB" sz="1400" b="1">
              <a:latin typeface="Verdana" pitchFamily="34" charset="0"/>
            </a:endParaRP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Municipalities and</a:t>
            </a: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local job centers (FLA)</a:t>
            </a: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work together</a:t>
            </a:r>
          </a:p>
        </p:txBody>
      </p:sp>
      <p:sp>
        <p:nvSpPr>
          <p:cNvPr id="458758" name="AutoShape 6"/>
          <p:cNvSpPr>
            <a:spLocks noChangeArrowheads="1"/>
          </p:cNvSpPr>
          <p:nvPr/>
        </p:nvSpPr>
        <p:spPr bwMode="gray">
          <a:xfrm>
            <a:off x="2352675" y="1717675"/>
            <a:ext cx="3222625" cy="889000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400" b="1">
                <a:latin typeface="Verdana" pitchFamily="34" charset="0"/>
              </a:rPr>
              <a:t>335 Joint</a:t>
            </a: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Agencies “gE” </a:t>
            </a:r>
          </a:p>
        </p:txBody>
      </p:sp>
      <p:sp>
        <p:nvSpPr>
          <p:cNvPr id="458759" name="Rectangle 7"/>
          <p:cNvSpPr>
            <a:spLocks noChangeArrowheads="1"/>
          </p:cNvSpPr>
          <p:nvPr/>
        </p:nvSpPr>
        <p:spPr bwMode="gray">
          <a:xfrm>
            <a:off x="5775325" y="2606675"/>
            <a:ext cx="3222625" cy="1901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ctr" eaLnBrk="0" hangingPunct="0">
              <a:spcBef>
                <a:spcPct val="45000"/>
              </a:spcBef>
            </a:pPr>
            <a:endParaRPr lang="en-GB" sz="1400" b="1">
              <a:latin typeface="Verdana" pitchFamily="34" charset="0"/>
            </a:endParaRP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Municipalities / counties deliver all services and</a:t>
            </a: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all placement services</a:t>
            </a:r>
          </a:p>
          <a:p>
            <a:pPr algn="ctr" eaLnBrk="0" hangingPunct="0"/>
            <a:r>
              <a:rPr lang="en-GB" sz="1400" b="1">
                <a:latin typeface="Verdana" pitchFamily="34" charset="0"/>
              </a:rPr>
              <a:t>on their own</a:t>
            </a:r>
            <a:r>
              <a:rPr lang="en-GB" sz="1400">
                <a:latin typeface="Verdana" pitchFamily="34" charset="0"/>
              </a:rPr>
              <a:t> </a:t>
            </a:r>
            <a:endParaRPr lang="en-GB" sz="1400" b="1">
              <a:latin typeface="Verdana" pitchFamily="34" charset="0"/>
            </a:endParaRPr>
          </a:p>
        </p:txBody>
      </p:sp>
      <p:sp>
        <p:nvSpPr>
          <p:cNvPr id="458760" name="AutoShape 8"/>
          <p:cNvSpPr>
            <a:spLocks noChangeArrowheads="1"/>
          </p:cNvSpPr>
          <p:nvPr/>
        </p:nvSpPr>
        <p:spPr bwMode="gray">
          <a:xfrm>
            <a:off x="5775325" y="1717675"/>
            <a:ext cx="3222625" cy="889000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GB" sz="1400" b="1" dirty="0" smtClean="0">
                <a:latin typeface="Verdana" pitchFamily="34" charset="0"/>
              </a:rPr>
              <a:t>110 </a:t>
            </a:r>
            <a:r>
              <a:rPr lang="en-GB" sz="1400" b="1" dirty="0">
                <a:latin typeface="Verdana" pitchFamily="34" charset="0"/>
              </a:rPr>
              <a:t>“Option”-Municipalities</a:t>
            </a:r>
          </a:p>
        </p:txBody>
      </p:sp>
      <p:pic>
        <p:nvPicPr>
          <p:cNvPr id="458761" name="Picture 9" descr="rathau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97650" y="2646363"/>
            <a:ext cx="1577975" cy="938212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8762" name="Picture 10" descr="Logo B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8" t="16895" r="11687" b="9361"/>
          <a:stretch>
            <a:fillRect/>
          </a:stretch>
        </p:blipFill>
        <p:spPr bwMode="gray">
          <a:xfrm>
            <a:off x="4408488" y="2811463"/>
            <a:ext cx="887412" cy="931862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8763" name="Picture 11" descr="rathau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60638" y="2811463"/>
            <a:ext cx="1576387" cy="938212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8764" name="Line 12"/>
          <p:cNvSpPr>
            <a:spLocks noChangeShapeType="1"/>
          </p:cNvSpPr>
          <p:nvPr/>
        </p:nvSpPr>
        <p:spPr bwMode="gray">
          <a:xfrm>
            <a:off x="741363" y="1390650"/>
            <a:ext cx="370205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8765" name="Line 13"/>
          <p:cNvSpPr>
            <a:spLocks noChangeShapeType="1"/>
          </p:cNvSpPr>
          <p:nvPr/>
        </p:nvSpPr>
        <p:spPr bwMode="gray">
          <a:xfrm>
            <a:off x="5503863" y="1390650"/>
            <a:ext cx="370205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8766" name="Rectangle 14"/>
          <p:cNvSpPr>
            <a:spLocks noGrp="1" noChangeArrowheads="1"/>
          </p:cNvSpPr>
          <p:nvPr>
            <p:ph type="title" idx="4294967295"/>
            <p:custDataLst>
              <p:tags r:id="rId1"/>
            </p:custDataLst>
          </p:nvPr>
        </p:nvSpPr>
        <p:spPr bwMode="gray">
          <a:xfrm>
            <a:off x="452438" y="7953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Despite two parallel local delivery setups, federal regulations ensure a minimum compatibility via joint base systems</a:t>
            </a:r>
          </a:p>
        </p:txBody>
      </p:sp>
      <p:sp>
        <p:nvSpPr>
          <p:cNvPr id="458767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27275" y="5895975"/>
            <a:ext cx="6700838" cy="488950"/>
          </a:xfrm>
          <a:prstGeom prst="rect">
            <a:avLst/>
          </a:prstGeom>
          <a:solidFill>
            <a:srgbClr val="B2B2B2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/>
              <a:t>Data / Statistics Standards (X-Sozial)</a:t>
            </a:r>
          </a:p>
        </p:txBody>
      </p:sp>
      <p:sp>
        <p:nvSpPr>
          <p:cNvPr id="458768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22513" y="5305425"/>
            <a:ext cx="6700837" cy="488950"/>
          </a:xfrm>
          <a:prstGeom prst="rect">
            <a:avLst/>
          </a:prstGeom>
          <a:solidFill>
            <a:srgbClr val="B2B2B2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/>
              <a:t>Registers, IT-Systems (Verbis/A2LL) &amp; Operating Standards</a:t>
            </a:r>
          </a:p>
        </p:txBody>
      </p:sp>
      <p:sp>
        <p:nvSpPr>
          <p:cNvPr id="458769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0450" y="4738688"/>
            <a:ext cx="6700838" cy="488950"/>
          </a:xfrm>
          <a:prstGeom prst="rect">
            <a:avLst/>
          </a:prstGeom>
          <a:solidFill>
            <a:srgbClr val="B2B2B2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/>
              <a:t>Benefit Calculation &amp; Payment</a:t>
            </a:r>
          </a:p>
        </p:txBody>
      </p:sp>
      <p:sp>
        <p:nvSpPr>
          <p:cNvPr id="458770" name="Rectangle 18"/>
          <p:cNvSpPr>
            <a:spLocks noChangeArrowheads="1"/>
          </p:cNvSpPr>
          <p:nvPr/>
        </p:nvSpPr>
        <p:spPr bwMode="gray">
          <a:xfrm rot="1039560">
            <a:off x="8269288" y="1700213"/>
            <a:ext cx="1303337" cy="3238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Conceptual</a:t>
            </a:r>
          </a:p>
        </p:txBody>
      </p:sp>
      <p:sp>
        <p:nvSpPr>
          <p:cNvPr id="458771" name="AutoShape 19"/>
          <p:cNvSpPr>
            <a:spLocks noChangeArrowheads="1"/>
          </p:cNvSpPr>
          <p:nvPr/>
        </p:nvSpPr>
        <p:spPr bwMode="gray">
          <a:xfrm flipH="1">
            <a:off x="668338" y="1936750"/>
            <a:ext cx="900112" cy="4235450"/>
          </a:xfrm>
          <a:prstGeom prst="rtTriangl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458772" name="Oval 20"/>
          <p:cNvSpPr>
            <a:spLocks noChangeArrowheads="1"/>
          </p:cNvSpPr>
          <p:nvPr/>
        </p:nvSpPr>
        <p:spPr bwMode="gray">
          <a:xfrm>
            <a:off x="1101725" y="6018213"/>
            <a:ext cx="684213" cy="292100"/>
          </a:xfrm>
          <a:prstGeom prst="ellipse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high</a:t>
            </a:r>
          </a:p>
        </p:txBody>
      </p:sp>
      <p:sp>
        <p:nvSpPr>
          <p:cNvPr id="458773" name="Oval 21"/>
          <p:cNvSpPr>
            <a:spLocks noChangeArrowheads="1"/>
          </p:cNvSpPr>
          <p:nvPr/>
        </p:nvSpPr>
        <p:spPr bwMode="gray">
          <a:xfrm>
            <a:off x="1103313" y="1801813"/>
            <a:ext cx="684212" cy="292100"/>
          </a:xfrm>
          <a:prstGeom prst="ellipse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low</a:t>
            </a:r>
          </a:p>
        </p:txBody>
      </p:sp>
      <p:sp>
        <p:nvSpPr>
          <p:cNvPr id="458774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-5400000">
            <a:off x="-168275" y="4211638"/>
            <a:ext cx="3065463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olidFill>
                  <a:schemeClr val="bg1"/>
                </a:solidFill>
                <a:sym typeface="Wingdings" pitchFamily="2" charset="2"/>
              </a:rPr>
              <a:t>Degree of Centralization</a:t>
            </a:r>
            <a:endParaRPr lang="en-GB" sz="1400">
              <a:solidFill>
                <a:schemeClr val="bg1"/>
              </a:solidFill>
              <a:sym typeface="Wingdings" pitchFamily="2" charset="2"/>
            </a:endParaRPr>
          </a:p>
        </p:txBody>
      </p:sp>
      <p:sp>
        <p:nvSpPr>
          <p:cNvPr id="302103" name="AutoShape 23"/>
          <p:cNvSpPr>
            <a:spLocks noChangeArrowheads="1"/>
          </p:cNvSpPr>
          <p:nvPr/>
        </p:nvSpPr>
        <p:spPr bwMode="gray">
          <a:xfrm>
            <a:off x="4833938" y="1574800"/>
            <a:ext cx="1654175" cy="650875"/>
          </a:xfrm>
          <a:prstGeom prst="wedgeRoundRectCallout">
            <a:avLst>
              <a:gd name="adj1" fmla="val -27352"/>
              <a:gd name="adj2" fmla="val 147074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Municipalities fear too much central steering …</a:t>
            </a:r>
          </a:p>
        </p:txBody>
      </p:sp>
      <p:sp>
        <p:nvSpPr>
          <p:cNvPr id="302104" name="AutoShape 24"/>
          <p:cNvSpPr>
            <a:spLocks noChangeArrowheads="1"/>
          </p:cNvSpPr>
          <p:nvPr/>
        </p:nvSpPr>
        <p:spPr bwMode="gray">
          <a:xfrm>
            <a:off x="7975600" y="4457700"/>
            <a:ext cx="1879600" cy="933450"/>
          </a:xfrm>
          <a:prstGeom prst="wedgeRoundRectCallout">
            <a:avLst>
              <a:gd name="adj1" fmla="val -35051"/>
              <a:gd name="adj2" fmla="val -75338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… and continuing lack of transparency and accountability in “Option” municipalities</a:t>
            </a:r>
          </a:p>
        </p:txBody>
      </p:sp>
      <p:sp>
        <p:nvSpPr>
          <p:cNvPr id="302105" name="AutoShape 25"/>
          <p:cNvSpPr>
            <a:spLocks noChangeArrowheads="1"/>
          </p:cNvSpPr>
          <p:nvPr/>
        </p:nvSpPr>
        <p:spPr bwMode="gray">
          <a:xfrm>
            <a:off x="2098675" y="4632325"/>
            <a:ext cx="1654175" cy="650875"/>
          </a:xfrm>
          <a:prstGeom prst="wedgeRoundRectCallout">
            <a:avLst>
              <a:gd name="adj1" fmla="val -15356"/>
              <a:gd name="adj2" fmla="val -196097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… while federal level fears too much deviation.</a:t>
            </a:r>
          </a:p>
        </p:txBody>
      </p:sp>
      <p:sp>
        <p:nvSpPr>
          <p:cNvPr id="458778" name="Rectangle 26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3C7CC81E-60CF-43D2-85B0-817736BAA6A5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0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2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02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02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2103" grpId="0" animBg="1"/>
      <p:bldP spid="302104" grpId="0" animBg="1"/>
      <p:bldP spid="30210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entagon 21"/>
          <p:cNvSpPr/>
          <p:nvPr/>
        </p:nvSpPr>
        <p:spPr bwMode="auto">
          <a:xfrm rot="5400000">
            <a:off x="5514374" y="2889295"/>
            <a:ext cx="3944802" cy="1694916"/>
          </a:xfrm>
          <a:prstGeom prst="homePlate">
            <a:avLst>
              <a:gd name="adj" fmla="val 16181"/>
            </a:avLst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830389" y="1874132"/>
            <a:ext cx="1405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Procedures</a:t>
            </a:r>
            <a:endParaRPr lang="en-US" sz="1600" b="1" dirty="0"/>
          </a:p>
        </p:txBody>
      </p:sp>
      <p:sp>
        <p:nvSpPr>
          <p:cNvPr id="20" name="Pentagon 19"/>
          <p:cNvSpPr/>
          <p:nvPr/>
        </p:nvSpPr>
        <p:spPr bwMode="auto">
          <a:xfrm rot="5400000">
            <a:off x="3042778" y="2871257"/>
            <a:ext cx="3944802" cy="1694916"/>
          </a:xfrm>
          <a:prstGeom prst="homePlate">
            <a:avLst>
              <a:gd name="adj" fmla="val 16181"/>
            </a:avLst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340908" y="1842446"/>
            <a:ext cx="1281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Outcomes</a:t>
            </a:r>
            <a:endParaRPr lang="en-US" sz="1600" b="1" dirty="0"/>
          </a:p>
        </p:txBody>
      </p:sp>
      <p:sp>
        <p:nvSpPr>
          <p:cNvPr id="4" name="Pentagon 3"/>
          <p:cNvSpPr/>
          <p:nvPr/>
        </p:nvSpPr>
        <p:spPr bwMode="auto">
          <a:xfrm rot="5400000">
            <a:off x="708087" y="2871257"/>
            <a:ext cx="3944802" cy="1694916"/>
          </a:xfrm>
          <a:prstGeom prst="homePlate">
            <a:avLst>
              <a:gd name="adj" fmla="val 16181"/>
            </a:avLst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1228299" y="2306473"/>
            <a:ext cx="7833813" cy="312533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entagon 2"/>
          <p:cNvSpPr/>
          <p:nvPr/>
        </p:nvSpPr>
        <p:spPr bwMode="auto">
          <a:xfrm>
            <a:off x="565150" y="2508649"/>
            <a:ext cx="8892749" cy="37104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litical Decision Makers</a:t>
            </a:r>
          </a:p>
        </p:txBody>
      </p:sp>
      <p:sp>
        <p:nvSpPr>
          <p:cNvPr id="504834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Job-Centres are embedded into an increasing web of accountability …</a:t>
            </a:r>
          </a:p>
        </p:txBody>
      </p:sp>
      <p:graphicFrame>
        <p:nvGraphicFramePr>
          <p:cNvPr id="504835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2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4853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923304BB-5ACD-43D2-B65A-517123A4F23A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1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4712" y="5794131"/>
            <a:ext cx="84582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dirty="0" smtClean="0"/>
              <a:t>… driving more municipalities to the stand-alone “Option” model and challenging the limit of 110 “Option” municipalities</a:t>
            </a:r>
          </a:p>
        </p:txBody>
      </p:sp>
      <p:sp>
        <p:nvSpPr>
          <p:cNvPr id="14" name="Pentagon 13"/>
          <p:cNvSpPr/>
          <p:nvPr/>
        </p:nvSpPr>
        <p:spPr bwMode="auto">
          <a:xfrm>
            <a:off x="565149" y="3101715"/>
            <a:ext cx="8892749" cy="37104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uperior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Administration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Pentagon 14"/>
          <p:cNvSpPr/>
          <p:nvPr/>
        </p:nvSpPr>
        <p:spPr bwMode="auto">
          <a:xfrm>
            <a:off x="565150" y="3694781"/>
            <a:ext cx="8892749" cy="37104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/>
              <a:t>Legal Rule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Pentagon 15"/>
          <p:cNvSpPr/>
          <p:nvPr/>
        </p:nvSpPr>
        <p:spPr bwMode="auto">
          <a:xfrm>
            <a:off x="565150" y="4287847"/>
            <a:ext cx="8892749" cy="37104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orporatist Governance</a:t>
            </a:r>
          </a:p>
        </p:txBody>
      </p:sp>
      <p:sp>
        <p:nvSpPr>
          <p:cNvPr id="17" name="Pentagon 16"/>
          <p:cNvSpPr/>
          <p:nvPr/>
        </p:nvSpPr>
        <p:spPr bwMode="auto">
          <a:xfrm>
            <a:off x="565148" y="4880915"/>
            <a:ext cx="8892749" cy="37104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fessional Standards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3388519" y="3369729"/>
            <a:ext cx="3090862" cy="1696706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marL="174625" indent="-174625" algn="ctr" eaLnBrk="0" hangingPunct="0">
              <a:spcBef>
                <a:spcPct val="10000"/>
              </a:spcBef>
              <a:spcAft>
                <a:spcPct val="10000"/>
              </a:spcAft>
            </a:pPr>
            <a:endParaRPr lang="en-GB" sz="1400" b="1" dirty="0"/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gray">
          <a:xfrm>
            <a:off x="3388519" y="2480729"/>
            <a:ext cx="3103562" cy="889000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600" b="1"/>
              <a:t>Joint </a:t>
            </a:r>
            <a:br>
              <a:rPr lang="en-GB" sz="1600" b="1"/>
            </a:br>
            <a:r>
              <a:rPr lang="en-GB" sz="1600" b="1"/>
              <a:t>Delivery Structure</a:t>
            </a:r>
          </a:p>
        </p:txBody>
      </p:sp>
      <p:pic>
        <p:nvPicPr>
          <p:cNvPr id="10" name="Picture 9" descr="Logo B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8" t="16895" r="11687" b="9361"/>
          <a:stretch>
            <a:fillRect/>
          </a:stretch>
        </p:blipFill>
        <p:spPr bwMode="gray">
          <a:xfrm>
            <a:off x="5418931" y="3745876"/>
            <a:ext cx="887413" cy="931863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rathau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71081" y="3745876"/>
            <a:ext cx="1576388" cy="938213"/>
          </a:xfrm>
          <a:prstGeom prst="rect">
            <a:avLst/>
          </a:prstGeom>
          <a:solidFill>
            <a:srgbClr val="FF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074457" y="1842446"/>
            <a:ext cx="1163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Financial</a:t>
            </a:r>
            <a:endParaRPr lang="en-US" sz="1600" b="1" dirty="0"/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455964" y="6351307"/>
            <a:ext cx="3602038" cy="2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447675" indent="-447675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 dirty="0" smtClean="0">
                <a:solidFill>
                  <a:srgbClr val="000000"/>
                </a:solidFill>
              </a:rPr>
              <a:t>Note: </a:t>
            </a:r>
            <a:r>
              <a:rPr lang="en-GB" sz="800" dirty="0">
                <a:solidFill>
                  <a:srgbClr val="000000"/>
                </a:solidFill>
              </a:rPr>
              <a:t>	</a:t>
            </a:r>
            <a:r>
              <a:rPr lang="en-GB" sz="800" dirty="0" smtClean="0">
                <a:solidFill>
                  <a:srgbClr val="000000"/>
                </a:solidFill>
              </a:rPr>
              <a:t>Adopted from </a:t>
            </a:r>
            <a:r>
              <a:rPr lang="en-GB" sz="800" dirty="0" err="1" smtClean="0">
                <a:solidFill>
                  <a:srgbClr val="000000"/>
                </a:solidFill>
              </a:rPr>
              <a:t>Jann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smtClean="0">
                <a:solidFill>
                  <a:srgbClr val="000000"/>
                </a:solidFill>
              </a:rPr>
              <a:t>(2012)</a:t>
            </a:r>
            <a:endParaRPr lang="en-GB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769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8" y="791546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Split benefit payment responsibility between federal and local level can lead to load-shifting incentives</a:t>
            </a:r>
          </a:p>
        </p:txBody>
      </p:sp>
      <p:graphicFrame>
        <p:nvGraphicFramePr>
          <p:cNvPr id="45261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40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2450" y="1751013"/>
            <a:ext cx="2474913" cy="847725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BIS recipient / </a:t>
            </a:r>
            <a:br>
              <a:rPr lang="en-GB" sz="1600" b="1">
                <a:solidFill>
                  <a:schemeClr val="bg1"/>
                </a:solidFill>
              </a:rPr>
            </a:br>
            <a:r>
              <a:rPr lang="en-GB" sz="1600" b="1">
                <a:solidFill>
                  <a:schemeClr val="bg1"/>
                </a:solidFill>
              </a:rPr>
              <a:t>not working </a:t>
            </a:r>
            <a:br>
              <a:rPr lang="en-GB" sz="1600" b="1">
                <a:solidFill>
                  <a:schemeClr val="bg1"/>
                </a:solidFill>
              </a:rPr>
            </a:br>
            <a:r>
              <a:rPr lang="en-GB" sz="1600" b="1">
                <a:solidFill>
                  <a:schemeClr val="bg1"/>
                </a:solidFill>
              </a:rPr>
              <a:t>but able to work</a:t>
            </a:r>
          </a:p>
        </p:txBody>
      </p:sp>
      <p:sp>
        <p:nvSpPr>
          <p:cNvPr id="29696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41700" y="1751013"/>
            <a:ext cx="2474913" cy="847725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BIS recipient with </a:t>
            </a:r>
            <a:br>
              <a:rPr lang="en-GB" sz="1600" b="1">
                <a:solidFill>
                  <a:schemeClr val="bg1"/>
                </a:solidFill>
              </a:rPr>
            </a:br>
            <a:r>
              <a:rPr lang="en-GB" sz="1600" b="1">
                <a:solidFill>
                  <a:schemeClr val="bg1"/>
                </a:solidFill>
              </a:rPr>
              <a:t>in-work benefit</a:t>
            </a:r>
          </a:p>
        </p:txBody>
      </p:sp>
      <p:sp>
        <p:nvSpPr>
          <p:cNvPr id="45261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456488" y="1751013"/>
            <a:ext cx="2038350" cy="847725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Payment Responsibility</a:t>
            </a:r>
          </a:p>
        </p:txBody>
      </p:sp>
      <p:sp>
        <p:nvSpPr>
          <p:cNvPr id="452615" name="Rectangle 7"/>
          <p:cNvSpPr>
            <a:spLocks noChangeArrowheads="1"/>
          </p:cNvSpPr>
          <p:nvPr/>
        </p:nvSpPr>
        <p:spPr bwMode="auto">
          <a:xfrm>
            <a:off x="827088" y="4937125"/>
            <a:ext cx="1895475" cy="11525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Housing and Heating Allowance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200"/>
              <a:t>(depending on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200"/>
              <a:t> housing cost)</a:t>
            </a:r>
          </a:p>
        </p:txBody>
      </p:sp>
      <p:sp>
        <p:nvSpPr>
          <p:cNvPr id="452616" name="Rectangle 8"/>
          <p:cNvSpPr>
            <a:spLocks noChangeArrowheads="1"/>
          </p:cNvSpPr>
          <p:nvPr/>
        </p:nvSpPr>
        <p:spPr bwMode="auto">
          <a:xfrm>
            <a:off x="827088" y="3659188"/>
            <a:ext cx="1895475" cy="11525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Basic Income Support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200"/>
              <a:t>(364€ / month)*</a:t>
            </a:r>
          </a:p>
        </p:txBody>
      </p:sp>
      <p:sp>
        <p:nvSpPr>
          <p:cNvPr id="296969" name="Rectangle 9"/>
          <p:cNvSpPr>
            <a:spLocks noChangeArrowheads="1"/>
          </p:cNvSpPr>
          <p:nvPr/>
        </p:nvSpPr>
        <p:spPr bwMode="auto">
          <a:xfrm>
            <a:off x="3730625" y="4937125"/>
            <a:ext cx="1895475" cy="11525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Housing and Heating Allowance</a:t>
            </a:r>
            <a:br>
              <a:rPr lang="en-GB" sz="1400" b="1"/>
            </a:br>
            <a:r>
              <a:rPr lang="en-GB" sz="1200"/>
              <a:t>(depending on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200"/>
              <a:t> housing cost)</a:t>
            </a:r>
            <a:endParaRPr lang="en-GB" sz="1400" b="1"/>
          </a:p>
        </p:txBody>
      </p:sp>
      <p:sp>
        <p:nvSpPr>
          <p:cNvPr id="296970" name="Rectangle 10"/>
          <p:cNvSpPr>
            <a:spLocks noChangeArrowheads="1"/>
          </p:cNvSpPr>
          <p:nvPr/>
        </p:nvSpPr>
        <p:spPr bwMode="auto">
          <a:xfrm>
            <a:off x="3730625" y="4376738"/>
            <a:ext cx="1895475" cy="43656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Basic Income Support (In-Work)</a:t>
            </a:r>
          </a:p>
        </p:txBody>
      </p:sp>
      <p:sp>
        <p:nvSpPr>
          <p:cNvPr id="296971" name="Rectangle 11"/>
          <p:cNvSpPr>
            <a:spLocks noChangeArrowheads="1"/>
          </p:cNvSpPr>
          <p:nvPr/>
        </p:nvSpPr>
        <p:spPr bwMode="auto">
          <a:xfrm>
            <a:off x="3730625" y="2806700"/>
            <a:ext cx="1895475" cy="149701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Work-Income</a:t>
            </a:r>
          </a:p>
        </p:txBody>
      </p:sp>
      <p:sp>
        <p:nvSpPr>
          <p:cNvPr id="452620" name="Line 12"/>
          <p:cNvSpPr>
            <a:spLocks noChangeShapeType="1"/>
          </p:cNvSpPr>
          <p:nvPr/>
        </p:nvSpPr>
        <p:spPr bwMode="auto">
          <a:xfrm>
            <a:off x="552450" y="6092825"/>
            <a:ext cx="88693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2621" name="Line 13"/>
          <p:cNvSpPr>
            <a:spLocks noChangeShapeType="1"/>
          </p:cNvSpPr>
          <p:nvPr/>
        </p:nvSpPr>
        <p:spPr bwMode="auto">
          <a:xfrm>
            <a:off x="554038" y="4875213"/>
            <a:ext cx="8869362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2622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594600" y="3122613"/>
            <a:ext cx="2019300" cy="113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ym typeface="Wingdings" pitchFamily="2" charset="2"/>
              </a:rPr>
              <a:t>100% Federal</a:t>
            </a:r>
            <a:br>
              <a:rPr lang="en-GB" sz="1400" b="1">
                <a:sym typeface="Wingdings" pitchFamily="2" charset="2"/>
              </a:rPr>
            </a:br>
            <a:r>
              <a:rPr lang="en-GB" sz="1400" b="1">
                <a:sym typeface="Wingdings" pitchFamily="2" charset="2"/>
              </a:rPr>
              <a:t>          Government</a:t>
            </a:r>
          </a:p>
          <a:p>
            <a:pPr indent="1588" algn="ctr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>
                <a:sym typeface="Wingdings" pitchFamily="2" charset="2"/>
              </a:rPr>
              <a:t>(through Federal </a:t>
            </a:r>
            <a:br>
              <a:rPr lang="en-GB" sz="1400">
                <a:sym typeface="Wingdings" pitchFamily="2" charset="2"/>
              </a:rPr>
            </a:br>
            <a:r>
              <a:rPr lang="en-GB" sz="1400">
                <a:sym typeface="Wingdings" pitchFamily="2" charset="2"/>
              </a:rPr>
              <a:t>Labour Agency)</a:t>
            </a:r>
          </a:p>
        </p:txBody>
      </p:sp>
      <p:sp>
        <p:nvSpPr>
          <p:cNvPr id="45262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499350" y="5160963"/>
            <a:ext cx="1843088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539750" indent="-538163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ym typeface="Wingdings" pitchFamily="2" charset="2"/>
              </a:rPr>
              <a:t>26%*	Federal Government</a:t>
            </a:r>
          </a:p>
          <a:p>
            <a:pPr marL="539750" indent="-538163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ym typeface="Wingdings" pitchFamily="2" charset="2"/>
              </a:rPr>
              <a:t>74% 	Municipality</a:t>
            </a:r>
          </a:p>
        </p:txBody>
      </p:sp>
      <p:sp>
        <p:nvSpPr>
          <p:cNvPr id="296978" name="Oval 18"/>
          <p:cNvSpPr>
            <a:spLocks noChangeArrowheads="1"/>
          </p:cNvSpPr>
          <p:nvPr/>
        </p:nvSpPr>
        <p:spPr bwMode="auto">
          <a:xfrm>
            <a:off x="7512050" y="5662613"/>
            <a:ext cx="517525" cy="357187"/>
          </a:xfrm>
          <a:prstGeom prst="ellips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296979" name="AutoShape 19"/>
          <p:cNvSpPr>
            <a:spLocks noChangeArrowheads="1"/>
          </p:cNvSpPr>
          <p:nvPr/>
        </p:nvSpPr>
        <p:spPr bwMode="auto">
          <a:xfrm>
            <a:off x="217488" y="2667000"/>
            <a:ext cx="2430462" cy="1169988"/>
          </a:xfrm>
          <a:prstGeom prst="wedgeRoundRectCallout">
            <a:avLst>
              <a:gd name="adj1" fmla="val 6106"/>
              <a:gd name="adj2" fmla="val -65468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>
                <a:sym typeface="Wingdings" pitchFamily="2" charset="2"/>
              </a:rPr>
              <a:t>(2) Municipality has incentive to maintain “able to work” status in order to prevent shifting to 100% municipally financed Social Assistance</a:t>
            </a:r>
            <a:endParaRPr lang="en-GB" sz="1200" b="1"/>
          </a:p>
        </p:txBody>
      </p:sp>
      <p:sp>
        <p:nvSpPr>
          <p:cNvPr id="452626" name="Rectangle 20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6992796-FBEE-4C0C-B94C-9EFB8705137C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2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296981" name="AutoShape 21"/>
          <p:cNvSpPr>
            <a:spLocks noChangeArrowheads="1"/>
          </p:cNvSpPr>
          <p:nvPr/>
        </p:nvSpPr>
        <p:spPr bwMode="auto">
          <a:xfrm>
            <a:off x="5888038" y="4537075"/>
            <a:ext cx="1589087" cy="1446213"/>
          </a:xfrm>
          <a:prstGeom prst="wedgeRoundRectCallout">
            <a:avLst>
              <a:gd name="adj1" fmla="val -60190"/>
              <a:gd name="adj2" fmla="val -33097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(2) … but stronger activation regime in FLA-driven Joint Delivery Units overplays this effect on the macro level</a:t>
            </a:r>
          </a:p>
        </p:txBody>
      </p:sp>
      <p:sp>
        <p:nvSpPr>
          <p:cNvPr id="296982" name="Oval 22"/>
          <p:cNvSpPr>
            <a:spLocks noChangeArrowheads="1"/>
          </p:cNvSpPr>
          <p:nvPr/>
        </p:nvSpPr>
        <p:spPr bwMode="auto">
          <a:xfrm>
            <a:off x="3514725" y="4108450"/>
            <a:ext cx="412750" cy="379413"/>
          </a:xfrm>
          <a:prstGeom prst="ellipse">
            <a:avLst/>
          </a:prstGeom>
          <a:solidFill>
            <a:srgbClr val="FFFF6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3000">
                <a:solidFill>
                  <a:srgbClr val="009900"/>
                </a:solidFill>
                <a:sym typeface="Webdings" pitchFamily="18" charset="2"/>
              </a:rPr>
              <a:t></a:t>
            </a:r>
          </a:p>
        </p:txBody>
      </p:sp>
      <p:sp>
        <p:nvSpPr>
          <p:cNvPr id="296977" name="AutoShape 17"/>
          <p:cNvSpPr>
            <a:spLocks noChangeArrowheads="1"/>
          </p:cNvSpPr>
          <p:nvPr/>
        </p:nvSpPr>
        <p:spPr bwMode="auto">
          <a:xfrm>
            <a:off x="5738813" y="2833688"/>
            <a:ext cx="1589087" cy="1287462"/>
          </a:xfrm>
          <a:prstGeom prst="wedgeRoundRectCallout">
            <a:avLst>
              <a:gd name="adj1" fmla="val -168681"/>
              <a:gd name="adj2" fmla="val 62699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(1) Split payment can reduce incentive for FLA to move in-work benefit recipients to full employment …</a:t>
            </a:r>
          </a:p>
        </p:txBody>
      </p:sp>
      <p:sp>
        <p:nvSpPr>
          <p:cNvPr id="296983" name="Line 23"/>
          <p:cNvSpPr>
            <a:spLocks noChangeShapeType="1"/>
          </p:cNvSpPr>
          <p:nvPr/>
        </p:nvSpPr>
        <p:spPr bwMode="auto">
          <a:xfrm>
            <a:off x="5711825" y="4706938"/>
            <a:ext cx="0" cy="1071562"/>
          </a:xfrm>
          <a:prstGeom prst="line">
            <a:avLst/>
          </a:prstGeom>
          <a:noFill/>
          <a:ln w="76200">
            <a:solidFill>
              <a:srgbClr val="009900"/>
            </a:solidFill>
            <a:round/>
            <a:headEnd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2631" name="Text Box 23"/>
          <p:cNvSpPr txBox="1">
            <a:spLocks noChangeArrowheads="1"/>
          </p:cNvSpPr>
          <p:nvPr/>
        </p:nvSpPr>
        <p:spPr bwMode="auto">
          <a:xfrm>
            <a:off x="565150" y="6245225"/>
            <a:ext cx="8340725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en-GB" sz="800"/>
              <a:t>** 	Note: 26% federal cost share in housing and heating allowance is average number, varies slightly by state.</a:t>
            </a:r>
          </a:p>
        </p:txBody>
      </p:sp>
    </p:spTree>
    <p:extLst>
      <p:ext uri="{BB962C8B-B14F-4D97-AF65-F5344CB8AC3E}">
        <p14:creationId xmlns:p14="http://schemas.microsoft.com/office/powerpoint/2010/main" val="36124752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969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96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969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969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969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969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2969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2969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969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2969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6965" grpId="0" animBg="1"/>
      <p:bldP spid="296969" grpId="0" animBg="1"/>
      <p:bldP spid="296970" grpId="0" animBg="1"/>
      <p:bldP spid="296971" grpId="0" animBg="1"/>
      <p:bldP spid="296978" grpId="0" animBg="1"/>
      <p:bldP spid="296979" grpId="0" animBg="1"/>
      <p:bldP spid="296981" grpId="0" animBg="1"/>
      <p:bldP spid="296982" grpId="0" animBg="1"/>
      <p:bldP spid="296977" grpId="0" animBg="1"/>
      <p:bldP spid="29698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362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6250" y="1643063"/>
            <a:ext cx="8491538" cy="381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Governance </a:t>
            </a:r>
            <a:r>
              <a:rPr lang="en-GB" sz="1600" b="1" dirty="0">
                <a:sym typeface="Wingdings" pitchFamily="2" charset="2"/>
              </a:rPr>
              <a:t>model driven by constitutional framework</a:t>
            </a:r>
            <a:r>
              <a:rPr lang="en-GB" sz="1600" dirty="0">
                <a:sym typeface="Wingdings" pitchFamily="2" charset="2"/>
              </a:rPr>
              <a:t> of Germany 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… no direct cooperation allowed between municipal and federal level 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… Federal Government could not pass on money directly to municipalities </a:t>
            </a:r>
            <a:br>
              <a:rPr lang="en-GB" sz="1600" dirty="0">
                <a:sym typeface="Wingdings" pitchFamily="2" charset="2"/>
              </a:rPr>
            </a:br>
            <a:r>
              <a:rPr lang="en-GB" sz="1600" dirty="0">
                <a:sym typeface="Wingdings" pitchFamily="2" charset="2"/>
              </a:rPr>
              <a:t>( second best solution: federalize some expenditure blocks altogether)</a:t>
            </a: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Governance and management model </a:t>
            </a:r>
            <a:r>
              <a:rPr lang="en-GB" sz="1600" b="1" dirty="0">
                <a:sym typeface="Wingdings" pitchFamily="2" charset="2"/>
              </a:rPr>
              <a:t>coordinates</a:t>
            </a:r>
            <a:r>
              <a:rPr lang="en-GB" sz="1600" dirty="0">
                <a:sym typeface="Wingdings" pitchFamily="2" charset="2"/>
              </a:rPr>
              <a:t> among …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… </a:t>
            </a:r>
            <a:r>
              <a:rPr lang="en-GB" sz="1600" b="1" dirty="0">
                <a:sym typeface="Wingdings" pitchFamily="2" charset="2"/>
              </a:rPr>
              <a:t>levels of government</a:t>
            </a:r>
            <a:r>
              <a:rPr lang="en-GB" sz="1600" dirty="0">
                <a:sym typeface="Wingdings" pitchFamily="2" charset="2"/>
              </a:rPr>
              <a:t> (federal, state, local)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… </a:t>
            </a:r>
            <a:r>
              <a:rPr lang="en-GB" sz="1600" b="1" dirty="0">
                <a:sym typeface="Wingdings" pitchFamily="2" charset="2"/>
              </a:rPr>
              <a:t>different political and labour market actors</a:t>
            </a:r>
            <a:r>
              <a:rPr lang="en-GB" sz="1600" dirty="0">
                <a:sym typeface="Wingdings" pitchFamily="2" charset="2"/>
              </a:rPr>
              <a:t> (local employers associations, chambers of commerce and crafts, unions, semi-public welfare-providers, local elected representatives, etc.)</a:t>
            </a: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b="1" dirty="0">
                <a:sym typeface="Wingdings" pitchFamily="2" charset="2"/>
              </a:rPr>
              <a:t>Joint delivery model is not without risks.</a:t>
            </a:r>
            <a:r>
              <a:rPr lang="en-GB" sz="1600" dirty="0">
                <a:sym typeface="Wingdings" pitchFamily="2" charset="2"/>
              </a:rPr>
              <a:t> Cases of institutional deadlock, management burnout and failure have been wide-spread initially. What </a:t>
            </a:r>
            <a:r>
              <a:rPr lang="en-GB" sz="1600" dirty="0" smtClean="0">
                <a:sym typeface="Wingdings" pitchFamily="2" charset="2"/>
              </a:rPr>
              <a:t>worked </a:t>
            </a:r>
            <a:r>
              <a:rPr lang="en-GB" sz="1600" dirty="0">
                <a:sym typeface="Wingdings" pitchFamily="2" charset="2"/>
              </a:rPr>
              <a:t>in </a:t>
            </a:r>
            <a:r>
              <a:rPr lang="en-GB" sz="1600" dirty="0" smtClean="0">
                <a:sym typeface="Wingdings" pitchFamily="2" charset="2"/>
              </a:rPr>
              <a:t>the Mannheim case: </a:t>
            </a:r>
            <a:r>
              <a:rPr lang="en-GB" sz="1600" dirty="0">
                <a:sym typeface="Wingdings" pitchFamily="2" charset="2"/>
              </a:rPr>
              <a:t>De-facto alignment of local ARGE along FLA work standards and outcome </a:t>
            </a:r>
            <a:r>
              <a:rPr lang="en-GB" sz="1600" dirty="0" smtClean="0">
                <a:sym typeface="Wingdings" pitchFamily="2" charset="2"/>
              </a:rPr>
              <a:t>monitoring</a:t>
            </a:r>
            <a:r>
              <a:rPr lang="en-GB" sz="1600" dirty="0">
                <a:sym typeface="Wingdings" pitchFamily="2" charset="2"/>
              </a:rPr>
              <a:t>, combined with targeted involvement / co-optation of local semi-public welfare providers. </a:t>
            </a:r>
          </a:p>
        </p:txBody>
      </p:sp>
      <p:sp>
        <p:nvSpPr>
          <p:cNvPr id="527363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795338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Inter-level cooperation … complicated, but an institutional reflection of German “coordinated capitalism” model</a:t>
            </a:r>
          </a:p>
        </p:txBody>
      </p:sp>
      <p:graphicFrame>
        <p:nvGraphicFramePr>
          <p:cNvPr id="52736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0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7365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9F7CCF40-48C4-41CA-8A47-3A8D5088098E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3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586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52438" y="808038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Activation regime covers the social assistance population in Germany only partially</a:t>
            </a:r>
          </a:p>
        </p:txBody>
      </p:sp>
      <p:graphicFrame>
        <p:nvGraphicFramePr>
          <p:cNvPr id="57958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72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79588" name="Group 4"/>
          <p:cNvGraphicFramePr>
            <a:graphicFrameLocks noGrp="1"/>
          </p:cNvGraphicFramePr>
          <p:nvPr/>
        </p:nvGraphicFramePr>
        <p:xfrm>
          <a:off x="565150" y="1498600"/>
          <a:ext cx="8814434" cy="4701543"/>
        </p:xfrm>
        <a:graphic>
          <a:graphicData uri="http://schemas.openxmlformats.org/drawingml/2006/table">
            <a:tbl>
              <a:tblPr/>
              <a:tblGrid>
                <a:gridCol w="3171825"/>
                <a:gridCol w="1635125"/>
                <a:gridCol w="208280"/>
                <a:gridCol w="2068512"/>
                <a:gridCol w="208280"/>
                <a:gridCol w="1522412"/>
              </a:tblGrid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# of person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nE Insurance 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B I (S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asic Income Support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B II (SA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th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</a:tr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-Work Benefi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4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employed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able (and required)* to work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0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2.0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active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able, but not required to work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4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s UB I and UB II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0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.8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86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Social Money” (SGB II)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unable to work but living with UB II recipient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8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5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Social Assistance” (SGB XII)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unable to work or &gt;65years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.8m**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sylum benefits / war veteran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.2m***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125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 Basic Income Populatio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.6m (=9.3% of pop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8258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  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other: Youth Benefits (SGB VIII) ***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N.N. </a:t>
                      </a:r>
                      <a:b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[6.4bn€ / 0.27% GDP]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8258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   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other: Handicapped (SGB XII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80808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0.8m </a:t>
                      </a:r>
                      <a:b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08080"/>
                          </a:solidFill>
                          <a:effectLst/>
                          <a:latin typeface="Arial" charset="0"/>
                        </a:rPr>
                        <a:t>[11.2bn€ / 0.48% GD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79678" name="Rectangle 94"/>
          <p:cNvSpPr>
            <a:spLocks noChangeArrowheads="1"/>
          </p:cNvSpPr>
          <p:nvPr/>
        </p:nvSpPr>
        <p:spPr bwMode="auto">
          <a:xfrm>
            <a:off x="3732213" y="2000250"/>
            <a:ext cx="3883025" cy="825500"/>
          </a:xfrm>
          <a:prstGeom prst="rect">
            <a:avLst/>
          </a:prstGeom>
          <a:noFill/>
          <a:ln w="57150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9679" name="Rectangle 95"/>
          <p:cNvSpPr>
            <a:spLocks noChangeArrowheads="1"/>
          </p:cNvSpPr>
          <p:nvPr/>
        </p:nvSpPr>
        <p:spPr bwMode="auto">
          <a:xfrm>
            <a:off x="3736975" y="2003425"/>
            <a:ext cx="2041525" cy="354013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US" b="1"/>
              <a:t>Core Area of Activation Regime</a:t>
            </a:r>
          </a:p>
        </p:txBody>
      </p:sp>
      <p:sp>
        <p:nvSpPr>
          <p:cNvPr id="579680" name="Oval 96"/>
          <p:cNvSpPr>
            <a:spLocks noChangeArrowheads="1"/>
          </p:cNvSpPr>
          <p:nvPr/>
        </p:nvSpPr>
        <p:spPr bwMode="auto">
          <a:xfrm>
            <a:off x="8750300" y="4379913"/>
            <a:ext cx="763588" cy="19526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4.3bn€</a:t>
            </a:r>
          </a:p>
        </p:txBody>
      </p:sp>
      <p:sp>
        <p:nvSpPr>
          <p:cNvPr id="579681" name="Oval 97"/>
          <p:cNvSpPr>
            <a:spLocks noChangeArrowheads="1"/>
          </p:cNvSpPr>
          <p:nvPr/>
        </p:nvSpPr>
        <p:spPr bwMode="auto">
          <a:xfrm>
            <a:off x="8551863" y="5072063"/>
            <a:ext cx="1204912" cy="420687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40.4bn€</a:t>
            </a:r>
          </a:p>
          <a:p>
            <a:pPr algn="ctr" eaLnBrk="0" hangingPunct="0">
              <a:lnSpc>
                <a:spcPct val="90000"/>
              </a:lnSpc>
            </a:pPr>
            <a:r>
              <a:rPr lang="de-DE" sz="1200" b="1">
                <a:sym typeface="Symbol" pitchFamily="18" charset="2"/>
              </a:rPr>
              <a:t>1.7% GDP</a:t>
            </a:r>
          </a:p>
        </p:txBody>
      </p:sp>
      <p:sp>
        <p:nvSpPr>
          <p:cNvPr id="579682" name="Oval 98"/>
          <p:cNvSpPr>
            <a:spLocks noChangeArrowheads="1"/>
          </p:cNvSpPr>
          <p:nvPr/>
        </p:nvSpPr>
        <p:spPr bwMode="auto">
          <a:xfrm>
            <a:off x="7354888" y="3611563"/>
            <a:ext cx="763587" cy="19526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35bn€</a:t>
            </a:r>
          </a:p>
        </p:txBody>
      </p:sp>
      <p:sp>
        <p:nvSpPr>
          <p:cNvPr id="579683" name="AutoShape 99"/>
          <p:cNvSpPr>
            <a:spLocks/>
          </p:cNvSpPr>
          <p:nvPr/>
        </p:nvSpPr>
        <p:spPr bwMode="auto">
          <a:xfrm>
            <a:off x="6942138" y="3325813"/>
            <a:ext cx="363537" cy="838200"/>
          </a:xfrm>
          <a:prstGeom prst="rightBrace">
            <a:avLst>
              <a:gd name="adj1" fmla="val 19214"/>
              <a:gd name="adj2" fmla="val 50000"/>
            </a:avLst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9684" name="Oval 100"/>
          <p:cNvSpPr>
            <a:spLocks noChangeArrowheads="1"/>
          </p:cNvSpPr>
          <p:nvPr/>
        </p:nvSpPr>
        <p:spPr bwMode="auto">
          <a:xfrm>
            <a:off x="8750300" y="4837113"/>
            <a:ext cx="763588" cy="19526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1.1bn€</a:t>
            </a:r>
          </a:p>
        </p:txBody>
      </p:sp>
      <p:sp>
        <p:nvSpPr>
          <p:cNvPr id="579685" name="Rectangle 101"/>
          <p:cNvSpPr>
            <a:spLocks noChangeArrowheads="1"/>
          </p:cNvSpPr>
          <p:nvPr/>
        </p:nvSpPr>
        <p:spPr bwMode="auto">
          <a:xfrm>
            <a:off x="6164263" y="3302000"/>
            <a:ext cx="776287" cy="87630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9686" name="Text Box 102"/>
          <p:cNvSpPr txBox="1">
            <a:spLocks noChangeArrowheads="1"/>
          </p:cNvSpPr>
          <p:nvPr/>
        </p:nvSpPr>
        <p:spPr bwMode="auto">
          <a:xfrm>
            <a:off x="4525963" y="6173788"/>
            <a:ext cx="50530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/>
              <a:t>*** 127k Asylum Seekers, 46k War Veterans and spouses</a:t>
            </a:r>
            <a:br>
              <a:rPr lang="en-US"/>
            </a:br>
            <a:r>
              <a:rPr lang="en-US"/>
              <a:t>**** HzE-Benefit. No federal-level case numbers available, spending data only.</a:t>
            </a:r>
            <a:br>
              <a:rPr lang="en-US"/>
            </a:br>
            <a:r>
              <a:rPr lang="en-US"/>
              <a:t>Sources: Destatis 2010, FLA 2008 and 2010</a:t>
            </a:r>
          </a:p>
        </p:txBody>
      </p:sp>
      <p:sp>
        <p:nvSpPr>
          <p:cNvPr id="579687" name="Rectangle 104"/>
          <p:cNvSpPr>
            <a:spLocks noChangeArrowheads="1"/>
          </p:cNvSpPr>
          <p:nvPr/>
        </p:nvSpPr>
        <p:spPr bwMode="auto">
          <a:xfrm rot="1039560">
            <a:off x="8188325" y="1274763"/>
            <a:ext cx="1593850" cy="3937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200" b="1"/>
              <a:t>Indicative numbers 2010</a:t>
            </a:r>
          </a:p>
        </p:txBody>
      </p:sp>
      <p:sp>
        <p:nvSpPr>
          <p:cNvPr id="579688" name="Text Box 104"/>
          <p:cNvSpPr txBox="1">
            <a:spLocks noChangeArrowheads="1"/>
          </p:cNvSpPr>
          <p:nvPr/>
        </p:nvSpPr>
        <p:spPr bwMode="auto">
          <a:xfrm>
            <a:off x="565150" y="6173788"/>
            <a:ext cx="50530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/>
              <a:t>* UB II only	</a:t>
            </a:r>
            <a:br>
              <a:rPr lang="en-US"/>
            </a:br>
            <a:r>
              <a:rPr lang="en-US"/>
              <a:t>** 85% of whom are &gt;65years </a:t>
            </a:r>
          </a:p>
        </p:txBody>
      </p:sp>
      <p:sp>
        <p:nvSpPr>
          <p:cNvPr id="579689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93DA5581-48C7-46AD-BDC7-B73A6D87DBA7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4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796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796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579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5796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579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5796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5796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579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9678" grpId="0" animBg="1"/>
      <p:bldP spid="579679" grpId="0" animBg="1"/>
      <p:bldP spid="579680" grpId="0" animBg="1"/>
      <p:bldP spid="579681" grpId="0" animBg="1"/>
      <p:bldP spid="579682" grpId="0" animBg="1"/>
      <p:bldP spid="579683" grpId="0" animBg="1"/>
      <p:bldP spid="579684" grpId="0" animBg="1"/>
      <p:bldP spid="57968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61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65138" y="812800"/>
            <a:ext cx="9453562" cy="601663"/>
          </a:xfrm>
        </p:spPr>
        <p:txBody>
          <a:bodyPr anchor="b"/>
          <a:lstStyle/>
          <a:p>
            <a:pPr eaLnBrk="1" hangingPunct="1"/>
            <a:r>
              <a:rPr lang="en-GB" smtClean="0"/>
              <a:t>Segmenting the target group: </a:t>
            </a:r>
            <a:br>
              <a:rPr lang="en-GB" smtClean="0"/>
            </a:br>
            <a:r>
              <a:rPr lang="en-GB" smtClean="0"/>
              <a:t>A closer look to the activation target group</a:t>
            </a:r>
          </a:p>
        </p:txBody>
      </p:sp>
      <p:graphicFrame>
        <p:nvGraphicFramePr>
          <p:cNvPr id="58061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8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0612" name="Group 4"/>
          <p:cNvGraphicFramePr>
            <a:graphicFrameLocks noGrp="1"/>
          </p:cNvGraphicFramePr>
          <p:nvPr/>
        </p:nvGraphicFramePr>
        <p:xfrm>
          <a:off x="565150" y="1498600"/>
          <a:ext cx="7083742" cy="1813878"/>
        </p:xfrm>
        <a:graphic>
          <a:graphicData uri="http://schemas.openxmlformats.org/drawingml/2006/table">
            <a:tbl>
              <a:tblPr/>
              <a:tblGrid>
                <a:gridCol w="3171825"/>
                <a:gridCol w="1635125"/>
                <a:gridCol w="208280"/>
                <a:gridCol w="2068512"/>
              </a:tblGrid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# of person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nE Insurance 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B I (S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asic Income Support</a:t>
                      </a:r>
                      <a:b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UB II (SA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</a:tr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-Work Benefi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4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nemployed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able (and required)* to work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0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2.0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active</a:t>
                      </a:r>
                      <a:b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able, but not required to work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   1.4m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80639" name="Rectangle 31"/>
          <p:cNvSpPr>
            <a:spLocks noChangeArrowheads="1"/>
          </p:cNvSpPr>
          <p:nvPr/>
        </p:nvSpPr>
        <p:spPr bwMode="auto">
          <a:xfrm>
            <a:off x="3732213" y="2000250"/>
            <a:ext cx="3883025" cy="825500"/>
          </a:xfrm>
          <a:prstGeom prst="rect">
            <a:avLst/>
          </a:prstGeom>
          <a:noFill/>
          <a:ln w="57150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80640" name="Rectangle 32"/>
          <p:cNvSpPr>
            <a:spLocks noChangeArrowheads="1"/>
          </p:cNvSpPr>
          <p:nvPr/>
        </p:nvSpPr>
        <p:spPr bwMode="auto">
          <a:xfrm>
            <a:off x="3736975" y="2003425"/>
            <a:ext cx="2041525" cy="354013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US" b="1"/>
              <a:t>Core Area of Activation Regime</a:t>
            </a:r>
          </a:p>
        </p:txBody>
      </p:sp>
      <p:sp>
        <p:nvSpPr>
          <p:cNvPr id="343076" name="AutoShape 36"/>
          <p:cNvSpPr>
            <a:spLocks noChangeArrowheads="1"/>
          </p:cNvSpPr>
          <p:nvPr/>
        </p:nvSpPr>
        <p:spPr bwMode="gray">
          <a:xfrm>
            <a:off x="7761288" y="2006600"/>
            <a:ext cx="1962150" cy="1735138"/>
          </a:xfrm>
          <a:prstGeom prst="wedgeRoundRectCallout">
            <a:avLst>
              <a:gd name="adj1" fmla="val -120227"/>
              <a:gd name="adj2" fmla="val -40944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4625" indent="-174625" algn="ctr" eaLnBrk="0" hangingPunct="0">
              <a:lnSpc>
                <a:spcPct val="90000"/>
              </a:lnSpc>
            </a:pPr>
            <a:r>
              <a:rPr lang="en-GB" sz="1400" b="1"/>
              <a:t>In-work beneficiaries / “Aufstocker”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55% earn &lt;400€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93% employed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#’s increased +43% 2005/2009</a:t>
            </a:r>
          </a:p>
        </p:txBody>
      </p:sp>
      <p:sp>
        <p:nvSpPr>
          <p:cNvPr id="343077" name="AutoShape 37"/>
          <p:cNvSpPr>
            <a:spLocks noChangeArrowheads="1"/>
          </p:cNvSpPr>
          <p:nvPr/>
        </p:nvSpPr>
        <p:spPr bwMode="gray">
          <a:xfrm>
            <a:off x="7539038" y="4159250"/>
            <a:ext cx="2132012" cy="1604963"/>
          </a:xfrm>
          <a:prstGeom prst="wedgeRoundRectCallout">
            <a:avLst>
              <a:gd name="adj1" fmla="val -108079"/>
              <a:gd name="adj2" fmla="val -123292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“Not required to work”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400"/>
              <a:t>e.g. mothers with children in first three years (</a:t>
            </a:r>
            <a:r>
              <a:rPr lang="en-GB" sz="1400">
                <a:sym typeface="Wingdings" pitchFamily="2" charset="2"/>
              </a:rPr>
              <a:t> hum-cap loss leads to dependency lock-in)</a:t>
            </a:r>
            <a:endParaRPr lang="en-GB" sz="1400"/>
          </a:p>
        </p:txBody>
      </p:sp>
      <p:sp>
        <p:nvSpPr>
          <p:cNvPr id="580644" name="Rectangle 104"/>
          <p:cNvSpPr>
            <a:spLocks noChangeArrowheads="1"/>
          </p:cNvSpPr>
          <p:nvPr/>
        </p:nvSpPr>
        <p:spPr bwMode="auto">
          <a:xfrm rot="1039560">
            <a:off x="8188325" y="1274763"/>
            <a:ext cx="1593850" cy="3937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200" b="1"/>
              <a:t>Indicative numbers 2010</a:t>
            </a:r>
          </a:p>
        </p:txBody>
      </p:sp>
      <p:sp>
        <p:nvSpPr>
          <p:cNvPr id="580645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EB87F4E-0AD1-43BA-9DAE-395A61276DAF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5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2" name="AutoShape 37"/>
          <p:cNvSpPr>
            <a:spLocks noChangeArrowheads="1"/>
          </p:cNvSpPr>
          <p:nvPr/>
        </p:nvSpPr>
        <p:spPr bwMode="gray">
          <a:xfrm>
            <a:off x="565150" y="3332163"/>
            <a:ext cx="1428750" cy="1966912"/>
          </a:xfrm>
          <a:prstGeom prst="wedgeRoundRectCallout">
            <a:avLst>
              <a:gd name="adj1" fmla="val 193333"/>
              <a:gd name="adj2" fmla="val -89509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“Limited Activation”</a:t>
            </a:r>
          </a:p>
          <a:p>
            <a:pPr algn="ctr" eaLnBrk="0" hangingPunct="0">
              <a:lnSpc>
                <a:spcPct val="90000"/>
              </a:lnSpc>
            </a:pPr>
            <a:r>
              <a:rPr lang="en-GB" sz="1400"/>
              <a:t>Contribution-based UnE insurance payment provides more “social rights”</a:t>
            </a:r>
          </a:p>
        </p:txBody>
      </p:sp>
      <p:sp>
        <p:nvSpPr>
          <p:cNvPr id="3" name="AutoShape 37"/>
          <p:cNvSpPr>
            <a:spLocks noChangeArrowheads="1"/>
          </p:cNvSpPr>
          <p:nvPr/>
        </p:nvSpPr>
        <p:spPr bwMode="gray">
          <a:xfrm>
            <a:off x="3492500" y="3694113"/>
            <a:ext cx="2132013" cy="1604962"/>
          </a:xfrm>
          <a:prstGeom prst="wedgeRoundRectCallout">
            <a:avLst>
              <a:gd name="adj1" fmla="val 58412"/>
              <a:gd name="adj2" fmla="val -119537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endParaRPr lang="en-GB" sz="1400"/>
          </a:p>
        </p:txBody>
      </p:sp>
      <p:sp>
        <p:nvSpPr>
          <p:cNvPr id="343078" name="AutoShape 38"/>
          <p:cNvSpPr>
            <a:spLocks noChangeArrowheads="1"/>
          </p:cNvSpPr>
          <p:nvPr/>
        </p:nvSpPr>
        <p:spPr bwMode="gray">
          <a:xfrm>
            <a:off x="2181225" y="3705225"/>
            <a:ext cx="5108575" cy="2595563"/>
          </a:xfrm>
          <a:prstGeom prst="wedgeRoundRectCallout">
            <a:avLst>
              <a:gd name="adj1" fmla="val 2176"/>
              <a:gd name="adj2" fmla="val -38745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174625" indent="-174625" algn="ctr" eaLnBrk="0" hangingPunct="0">
              <a:lnSpc>
                <a:spcPct val="90000"/>
              </a:lnSpc>
            </a:pPr>
            <a:r>
              <a:rPr lang="en-GB" sz="1400" b="1"/>
              <a:t>Core Unemployed Basic Income Population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41% Long-Term Unemployed (&gt; 12 months)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Male/Female-ratio 50:50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20% of households with children are in BIS / UB II  </a:t>
            </a:r>
            <a:br>
              <a:rPr lang="en-GB" sz="1400"/>
            </a:br>
            <a:r>
              <a:rPr lang="en-GB" sz="1400"/>
              <a:t>(54% of which single-parents, mostly mothers) 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East / West Germany-ratio 35/65 (pop-ratio is 20/80)</a:t>
            </a:r>
          </a:p>
          <a:p>
            <a:pPr marL="174625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Of total BIS / UB II population (4.8m) …</a:t>
            </a:r>
          </a:p>
          <a:p>
            <a:pPr marL="538163" lvl="1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2.1m Entries (of which 50% returnees (in 12 month period))</a:t>
            </a:r>
          </a:p>
          <a:p>
            <a:pPr marL="538163" lvl="1" indent="-174625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Font typeface="Wingdings" pitchFamily="2" charset="2"/>
              <a:buChar char="§"/>
            </a:pPr>
            <a:r>
              <a:rPr lang="en-GB" sz="1400"/>
              <a:t>2.4m Exi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4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4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43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3076" grpId="0" animBg="1"/>
      <p:bldP spid="343077" grpId="0" animBg="1"/>
      <p:bldP spid="2" grpId="0" animBg="1"/>
      <p:bldP spid="3" grpId="0" animBg="1"/>
      <p:bldP spid="34307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634" name="Rectangle 4"/>
          <p:cNvSpPr>
            <a:spLocks noChangeArrowheads="1"/>
          </p:cNvSpPr>
          <p:nvPr/>
        </p:nvSpPr>
        <p:spPr bwMode="gray">
          <a:xfrm>
            <a:off x="565150" y="1751013"/>
            <a:ext cx="4524375" cy="218281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581635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8207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In between social assistance and jobs: rising number of “in-work” benefit recipients strains administrative resources</a:t>
            </a:r>
          </a:p>
        </p:txBody>
      </p:sp>
      <p:graphicFrame>
        <p:nvGraphicFramePr>
          <p:cNvPr id="581636" name="Rectangle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764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163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00675" y="1738313"/>
            <a:ext cx="3927475" cy="456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Basic Income Support acts as a de-facto in-work benefit via generous initial earnings disregard 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Numbers of in-work beneficiaries have increased in absolute and relative terms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Majority in “</a:t>
            </a:r>
            <a:r>
              <a:rPr lang="en-GB" sz="1700" dirty="0" err="1">
                <a:sym typeface="Wingdings" pitchFamily="2" charset="2"/>
              </a:rPr>
              <a:t>Minijob</a:t>
            </a:r>
            <a:r>
              <a:rPr lang="en-GB" sz="1700" dirty="0">
                <a:sym typeface="Wingdings" pitchFamily="2" charset="2"/>
              </a:rPr>
              <a:t>”, not paying taxes and social insurance contributions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>
                <a:sym typeface="Wingdings" pitchFamily="2" charset="2"/>
              </a:rPr>
              <a:t>Anecdotal evidence suggests combination of “</a:t>
            </a:r>
            <a:r>
              <a:rPr lang="en-GB" sz="1700" dirty="0" err="1">
                <a:sym typeface="Wingdings" pitchFamily="2" charset="2"/>
              </a:rPr>
              <a:t>Minijob</a:t>
            </a:r>
            <a:r>
              <a:rPr lang="en-GB" sz="1700" dirty="0">
                <a:sym typeface="Wingdings" pitchFamily="2" charset="2"/>
              </a:rPr>
              <a:t>” with undeclared income / grey-economy work and intention to avoid further activation </a:t>
            </a:r>
            <a:r>
              <a:rPr lang="en-GB" sz="1700" dirty="0" smtClean="0">
                <a:sym typeface="Wingdings" pitchFamily="2" charset="2"/>
              </a:rPr>
              <a:t>measures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700" dirty="0" smtClean="0">
                <a:sym typeface="Wingdings" pitchFamily="2" charset="2"/>
              </a:rPr>
              <a:t>In-work benefit administration / calculation often crowds out job-placement work of case-officers</a:t>
            </a:r>
            <a:endParaRPr lang="en-GB" sz="1700" dirty="0">
              <a:sym typeface="Wingdings" pitchFamily="2" charset="2"/>
            </a:endParaRPr>
          </a:p>
        </p:txBody>
      </p:sp>
      <p:sp>
        <p:nvSpPr>
          <p:cNvPr id="58163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142B04B7-47F6-4C0F-8B28-D02EC4BE30CE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6</a:t>
            </a:fld>
            <a:endParaRPr lang="de-DE" sz="1200" b="1">
              <a:solidFill>
                <a:srgbClr val="C80000"/>
              </a:solidFill>
            </a:endParaRPr>
          </a:p>
        </p:txBody>
      </p:sp>
      <p:graphicFrame>
        <p:nvGraphicFramePr>
          <p:cNvPr id="581639" name="Object 7"/>
          <p:cNvGraphicFramePr>
            <a:graphicFrameLocks noChangeAspect="1"/>
          </p:cNvGraphicFramePr>
          <p:nvPr/>
        </p:nvGraphicFramePr>
        <p:xfrm>
          <a:off x="387350" y="1751013"/>
          <a:ext cx="4805363" cy="198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765" name="Diagramm" r:id="rId11" imgW="5095875" imgH="2105025" progId="MSGraph.Chart.8">
                  <p:embed followColorScheme="full"/>
                </p:oleObj>
              </mc:Choice>
              <mc:Fallback>
                <p:oleObj name="Diagramm" r:id="rId11" imgW="5095875" imgH="2105025" progId="MSGraph.Chart.8">
                  <p:embed followColorScheme="full"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7350" y="1751013"/>
                        <a:ext cx="4805363" cy="1987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1640" name="Oval 8"/>
          <p:cNvSpPr>
            <a:spLocks noChangeArrowheads="1"/>
          </p:cNvSpPr>
          <p:nvPr/>
        </p:nvSpPr>
        <p:spPr bwMode="gray">
          <a:xfrm>
            <a:off x="1666875" y="2511425"/>
            <a:ext cx="777875" cy="352425"/>
          </a:xfrm>
          <a:prstGeom prst="ellipse">
            <a:avLst/>
          </a:prstGeom>
          <a:solidFill>
            <a:srgbClr val="FFFF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400" b="1"/>
              <a:t>23%</a:t>
            </a:r>
          </a:p>
        </p:txBody>
      </p:sp>
      <p:sp>
        <p:nvSpPr>
          <p:cNvPr id="581641" name="Oval 9"/>
          <p:cNvSpPr>
            <a:spLocks noChangeArrowheads="1"/>
          </p:cNvSpPr>
          <p:nvPr/>
        </p:nvSpPr>
        <p:spPr bwMode="gray">
          <a:xfrm>
            <a:off x="3648075" y="2246313"/>
            <a:ext cx="777875" cy="352425"/>
          </a:xfrm>
          <a:prstGeom prst="ellipse">
            <a:avLst/>
          </a:prstGeom>
          <a:solidFill>
            <a:srgbClr val="FFFF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400" b="1"/>
              <a:t>29%</a:t>
            </a:r>
          </a:p>
        </p:txBody>
      </p:sp>
      <p:sp>
        <p:nvSpPr>
          <p:cNvPr id="581642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44625" y="1751013"/>
            <a:ext cx="309562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 algn="ctr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ym typeface="Wingdings" pitchFamily="2" charset="2"/>
              </a:rPr>
              <a:t>Number of In-Work Benefit Beneficiaries (million)*</a:t>
            </a:r>
          </a:p>
        </p:txBody>
      </p:sp>
      <p:sp>
        <p:nvSpPr>
          <p:cNvPr id="581643" name="Oval 11"/>
          <p:cNvSpPr>
            <a:spLocks noChangeArrowheads="1"/>
          </p:cNvSpPr>
          <p:nvPr/>
        </p:nvSpPr>
        <p:spPr bwMode="gray">
          <a:xfrm>
            <a:off x="565150" y="3576638"/>
            <a:ext cx="539750" cy="327025"/>
          </a:xfrm>
          <a:prstGeom prst="ellipse">
            <a:avLst/>
          </a:prstGeom>
          <a:solidFill>
            <a:srgbClr val="FFFF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200"/>
              <a:t>xx%</a:t>
            </a:r>
          </a:p>
        </p:txBody>
      </p:sp>
      <p:sp>
        <p:nvSpPr>
          <p:cNvPr id="58164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28700" y="3546475"/>
            <a:ext cx="377190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>
                <a:sym typeface="Wingdings" pitchFamily="2" charset="2"/>
              </a:rPr>
              <a:t>Share of in-work beneficiaries in total </a:t>
            </a:r>
            <a:br>
              <a:rPr lang="en-GB">
                <a:sym typeface="Wingdings" pitchFamily="2" charset="2"/>
              </a:rPr>
            </a:br>
            <a:r>
              <a:rPr lang="en-GB">
                <a:sym typeface="Wingdings" pitchFamily="2" charset="2"/>
              </a:rPr>
              <a:t>Basic Income Support population</a:t>
            </a:r>
          </a:p>
        </p:txBody>
      </p:sp>
      <p:sp>
        <p:nvSpPr>
          <p:cNvPr id="581645" name="Text Box 13"/>
          <p:cNvSpPr txBox="1">
            <a:spLocks noChangeArrowheads="1"/>
          </p:cNvSpPr>
          <p:nvPr/>
        </p:nvSpPr>
        <p:spPr bwMode="gray">
          <a:xfrm>
            <a:off x="463550" y="6135688"/>
            <a:ext cx="81518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/>
              <a:t>Source: FLA Statistics 2010 </a:t>
            </a:r>
            <a:br>
              <a:rPr lang="en-US"/>
            </a:br>
            <a:r>
              <a:rPr lang="en-US"/>
              <a:t>* 2007 annual average, 2011 June data</a:t>
            </a:r>
          </a:p>
        </p:txBody>
      </p:sp>
      <p:sp>
        <p:nvSpPr>
          <p:cNvPr id="581646" name="Rectangle 4"/>
          <p:cNvSpPr>
            <a:spLocks noChangeArrowheads="1"/>
          </p:cNvSpPr>
          <p:nvPr/>
        </p:nvSpPr>
        <p:spPr bwMode="gray">
          <a:xfrm>
            <a:off x="565150" y="3978275"/>
            <a:ext cx="4524375" cy="218281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graphicFrame>
        <p:nvGraphicFramePr>
          <p:cNvPr id="581647" name="Object 15"/>
          <p:cNvGraphicFramePr>
            <a:graphicFrameLocks noChangeAspect="1"/>
          </p:cNvGraphicFramePr>
          <p:nvPr/>
        </p:nvGraphicFramePr>
        <p:xfrm>
          <a:off x="387350" y="4232275"/>
          <a:ext cx="4805363" cy="198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766" name="Diagramm" r:id="rId13" imgW="5095875" imgH="2105025" progId="MSGraph.Chart.8">
                  <p:embed followColorScheme="full"/>
                </p:oleObj>
              </mc:Choice>
              <mc:Fallback>
                <p:oleObj name="Diagramm" r:id="rId13" imgW="5095875" imgH="2105025" progId="MSGraph.Chart.8">
                  <p:embed followColorScheme="full"/>
                  <p:pic>
                    <p:nvPicPr>
                      <p:cNvPr id="0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7350" y="4232275"/>
                        <a:ext cx="4805363" cy="1987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1648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285875" y="3959225"/>
            <a:ext cx="309562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 algn="ctr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400" b="1">
                <a:sym typeface="Wingdings" pitchFamily="2" charset="2"/>
              </a:rPr>
              <a:t>In-Work Benefit Beneficiaries by Income Group (2008)**</a:t>
            </a:r>
          </a:p>
        </p:txBody>
      </p:sp>
      <p:sp>
        <p:nvSpPr>
          <p:cNvPr id="581649" name="Text Box 17"/>
          <p:cNvSpPr txBox="1">
            <a:spLocks noChangeArrowheads="1"/>
          </p:cNvSpPr>
          <p:nvPr/>
        </p:nvSpPr>
        <p:spPr bwMode="gray">
          <a:xfrm>
            <a:off x="2730500" y="6127750"/>
            <a:ext cx="2967038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/>
              <a:t>** 2011 data follows similar distribution Jobs with </a:t>
            </a:r>
            <a:br>
              <a:rPr lang="en-US"/>
            </a:br>
            <a:r>
              <a:rPr lang="en-US"/>
              <a:t>   Social Security (Health, Retirement, Care) </a:t>
            </a:r>
            <a:br>
              <a:rPr lang="en-US"/>
            </a:br>
            <a:r>
              <a:rPr lang="en-US"/>
              <a:t>   contributions can be full or part tim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38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7" y="795338"/>
            <a:ext cx="8893175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Local job-centre example: clients, staffing (ratios) and budget</a:t>
            </a:r>
          </a:p>
        </p:txBody>
      </p:sp>
      <p:graphicFrame>
        <p:nvGraphicFramePr>
          <p:cNvPr id="52838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3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8388" name="AutoShape 4"/>
          <p:cNvSpPr>
            <a:spLocks noChangeArrowheads="1"/>
          </p:cNvSpPr>
          <p:nvPr/>
        </p:nvSpPr>
        <p:spPr bwMode="auto">
          <a:xfrm>
            <a:off x="311150" y="1471613"/>
            <a:ext cx="4597400" cy="3962400"/>
          </a:xfrm>
          <a:prstGeom prst="roundRect">
            <a:avLst>
              <a:gd name="adj" fmla="val 3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528389" name="AutoShape 5"/>
          <p:cNvSpPr>
            <a:spLocks noChangeArrowheads="1"/>
          </p:cNvSpPr>
          <p:nvPr/>
        </p:nvSpPr>
        <p:spPr bwMode="auto">
          <a:xfrm flipV="1">
            <a:off x="568325" y="4429125"/>
            <a:ext cx="4083050" cy="654050"/>
          </a:xfrm>
          <a:custGeom>
            <a:avLst/>
            <a:gdLst>
              <a:gd name="T0" fmla="*/ 3878898 w 21600"/>
              <a:gd name="T1" fmla="*/ 327025 h 21600"/>
              <a:gd name="T2" fmla="*/ 2041525 w 21600"/>
              <a:gd name="T3" fmla="*/ 654050 h 21600"/>
              <a:gd name="T4" fmla="*/ 204153 w 21600"/>
              <a:gd name="T5" fmla="*/ 327025 h 21600"/>
              <a:gd name="T6" fmla="*/ 2041525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80 w 21600"/>
              <a:gd name="T13" fmla="*/ 2880 h 21600"/>
              <a:gd name="T14" fmla="*/ 18720 w 21600"/>
              <a:gd name="T15" fmla="*/ 1872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" y="21600"/>
                </a:lnTo>
                <a:lnTo>
                  <a:pt x="19440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CC0000"/>
              </a:gs>
              <a:gs pos="100000">
                <a:srgbClr val="FFFFFF"/>
              </a:gs>
            </a:gsLst>
            <a:path path="rect">
              <a:fillToRect l="100000" t="100000"/>
            </a:path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rot="10800000" wrap="none" lIns="90000" tIns="46800" rIns="90000" bIns="46800" anchor="ctr">
            <a:flatTx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3366CC"/>
                </a:solidFill>
              </a:rPr>
              <a:t>27,850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000000"/>
                </a:solidFill>
              </a:rPr>
              <a:t>Total number of persons in need</a:t>
            </a:r>
          </a:p>
        </p:txBody>
      </p:sp>
      <p:sp>
        <p:nvSpPr>
          <p:cNvPr id="528390" name="AutoShape 6"/>
          <p:cNvSpPr>
            <a:spLocks noChangeArrowheads="1"/>
          </p:cNvSpPr>
          <p:nvPr/>
        </p:nvSpPr>
        <p:spPr bwMode="auto">
          <a:xfrm flipV="1">
            <a:off x="977900" y="3778250"/>
            <a:ext cx="3265488" cy="652463"/>
          </a:xfrm>
          <a:custGeom>
            <a:avLst/>
            <a:gdLst>
              <a:gd name="T0" fmla="*/ 3061395 w 21600"/>
              <a:gd name="T1" fmla="*/ 326232 h 21600"/>
              <a:gd name="T2" fmla="*/ 1632744 w 21600"/>
              <a:gd name="T3" fmla="*/ 652463 h 21600"/>
              <a:gd name="T4" fmla="*/ 204093 w 21600"/>
              <a:gd name="T5" fmla="*/ 326232 h 21600"/>
              <a:gd name="T6" fmla="*/ 1632744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150 w 21600"/>
              <a:gd name="T13" fmla="*/ 3150 h 21600"/>
              <a:gd name="T14" fmla="*/ 18450 w 21600"/>
              <a:gd name="T15" fmla="*/ 1845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700" y="21600"/>
                </a:lnTo>
                <a:lnTo>
                  <a:pt x="18900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C2E3FC"/>
              </a:gs>
              <a:gs pos="100000">
                <a:srgbClr val="FFFFFF"/>
              </a:gs>
            </a:gsLst>
            <a:path path="rect">
              <a:fillToRect l="100000" t="100000"/>
            </a:path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rot="10800000" wrap="none" lIns="47520" tIns="23760" rIns="47520" bIns="23760" anchor="ctr">
            <a:flatTx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3366CC"/>
                </a:solidFill>
              </a:rPr>
              <a:t>19,691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000000"/>
                </a:solidFill>
              </a:rPr>
              <a:t>Needy persons capable of gainful employment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200" b="1">
              <a:solidFill>
                <a:srgbClr val="000000"/>
              </a:solidFill>
            </a:endParaRPr>
          </a:p>
        </p:txBody>
      </p:sp>
      <p:sp>
        <p:nvSpPr>
          <p:cNvPr id="528391" name="AutoShape 7"/>
          <p:cNvSpPr>
            <a:spLocks noChangeArrowheads="1"/>
          </p:cNvSpPr>
          <p:nvPr/>
        </p:nvSpPr>
        <p:spPr bwMode="auto">
          <a:xfrm flipV="1">
            <a:off x="1385888" y="3127375"/>
            <a:ext cx="2447925" cy="652463"/>
          </a:xfrm>
          <a:custGeom>
            <a:avLst/>
            <a:gdLst>
              <a:gd name="T0" fmla="*/ 2243931 w 21600"/>
              <a:gd name="T1" fmla="*/ 326232 h 21600"/>
              <a:gd name="T2" fmla="*/ 1223963 w 21600"/>
              <a:gd name="T3" fmla="*/ 652463 h 21600"/>
              <a:gd name="T4" fmla="*/ 203994 w 21600"/>
              <a:gd name="T5" fmla="*/ 326232 h 21600"/>
              <a:gd name="T6" fmla="*/ 1223963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3600 w 21600"/>
              <a:gd name="T13" fmla="*/ 3600 h 21600"/>
              <a:gd name="T14" fmla="*/ 18000 w 21600"/>
              <a:gd name="T15" fmla="*/ 180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3600" y="21600"/>
                </a:lnTo>
                <a:lnTo>
                  <a:pt x="18000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FFFF"/>
              </a:gs>
            </a:gsLst>
            <a:path path="rect">
              <a:fillToRect l="100000" t="100000"/>
            </a:path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rot="10800000" wrap="none" lIns="47520" tIns="23760" rIns="47520" bIns="23760" anchor="ctr">
            <a:flatTx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3366CC"/>
                </a:solidFill>
              </a:rPr>
              <a:t>14,658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000000"/>
                </a:solidFill>
              </a:rPr>
              <a:t>Communities of Need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200" b="1">
              <a:solidFill>
                <a:srgbClr val="000000"/>
              </a:solidFill>
            </a:endParaRPr>
          </a:p>
        </p:txBody>
      </p:sp>
      <p:sp>
        <p:nvSpPr>
          <p:cNvPr id="528392" name="AutoShape 8"/>
          <p:cNvSpPr>
            <a:spLocks noChangeArrowheads="1"/>
          </p:cNvSpPr>
          <p:nvPr/>
        </p:nvSpPr>
        <p:spPr bwMode="auto">
          <a:xfrm flipV="1">
            <a:off x="1793875" y="2474913"/>
            <a:ext cx="1630363" cy="654050"/>
          </a:xfrm>
          <a:custGeom>
            <a:avLst/>
            <a:gdLst>
              <a:gd name="T0" fmla="*/ 1426568 w 21600"/>
              <a:gd name="T1" fmla="*/ 327025 h 21600"/>
              <a:gd name="T2" fmla="*/ 815182 w 21600"/>
              <a:gd name="T3" fmla="*/ 654050 h 21600"/>
              <a:gd name="T4" fmla="*/ 203795 w 21600"/>
              <a:gd name="T5" fmla="*/ 327025 h 21600"/>
              <a:gd name="T6" fmla="*/ 815182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FFFF"/>
              </a:gs>
            </a:gsLst>
            <a:path path="rect">
              <a:fillToRect l="100000" t="100000"/>
            </a:path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rot="10800000" wrap="none" lIns="47520" tIns="23760" rIns="47520" bIns="23760" anchor="ctr">
            <a:flatTx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200" b="1">
              <a:solidFill>
                <a:srgbClr val="CC0000"/>
              </a:solidFill>
            </a:endParaRP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3366CC"/>
                </a:solidFill>
              </a:rPr>
              <a:t>7,398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000000"/>
                </a:solidFill>
              </a:rPr>
              <a:t>Unemployed 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200" b="1">
              <a:solidFill>
                <a:srgbClr val="000000"/>
              </a:solidFill>
            </a:endParaRPr>
          </a:p>
        </p:txBody>
      </p:sp>
      <p:sp>
        <p:nvSpPr>
          <p:cNvPr id="528393" name="AutoShape 9"/>
          <p:cNvSpPr>
            <a:spLocks noChangeArrowheads="1"/>
          </p:cNvSpPr>
          <p:nvPr/>
        </p:nvSpPr>
        <p:spPr bwMode="auto">
          <a:xfrm flipV="1">
            <a:off x="2200275" y="1817688"/>
            <a:ext cx="817563" cy="652462"/>
          </a:xfrm>
          <a:custGeom>
            <a:avLst/>
            <a:gdLst>
              <a:gd name="T0" fmla="*/ 613172 w 21600"/>
              <a:gd name="T1" fmla="*/ 326231 h 21600"/>
              <a:gd name="T2" fmla="*/ 408782 w 21600"/>
              <a:gd name="T3" fmla="*/ 652462 h 21600"/>
              <a:gd name="T4" fmla="*/ 204391 w 21600"/>
              <a:gd name="T5" fmla="*/ 326231 h 21600"/>
              <a:gd name="T6" fmla="*/ 408782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00 w 21600"/>
              <a:gd name="T13" fmla="*/ 7200 h 21600"/>
              <a:gd name="T14" fmla="*/ 14400 w 21600"/>
              <a:gd name="T15" fmla="*/ 144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rgbClr val="FFFFFF"/>
              </a:gs>
              <a:gs pos="100000">
                <a:srgbClr val="FFFFFF"/>
              </a:gs>
            </a:gsLst>
            <a:path path="rect">
              <a:fillToRect l="100000" t="100000"/>
            </a:path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FF"/>
            </a:extrusionClr>
          </a:sp3d>
        </p:spPr>
        <p:txBody>
          <a:bodyPr rot="10800000" wrap="none" lIns="47520" tIns="23760" rIns="47520" bIns="23760" anchor="ctr">
            <a:flatTx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1200" b="1">
              <a:solidFill>
                <a:srgbClr val="CC0000"/>
              </a:solidFill>
            </a:endParaRP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3366CC"/>
                </a:solidFill>
              </a:rPr>
              <a:t>62</a:t>
            </a:r>
          </a:p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200" b="1">
                <a:solidFill>
                  <a:srgbClr val="000000"/>
                </a:solidFill>
              </a:rPr>
              <a:t>U25</a:t>
            </a:r>
          </a:p>
        </p:txBody>
      </p:sp>
      <p:sp>
        <p:nvSpPr>
          <p:cNvPr id="528394" name="Text Box 10"/>
          <p:cNvSpPr txBox="1">
            <a:spLocks noChangeArrowheads="1"/>
          </p:cNvSpPr>
          <p:nvPr/>
        </p:nvSpPr>
        <p:spPr bwMode="auto">
          <a:xfrm>
            <a:off x="5454650" y="6270625"/>
            <a:ext cx="3602038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447675" indent="-447675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 dirty="0">
                <a:solidFill>
                  <a:srgbClr val="000000"/>
                </a:solidFill>
              </a:rPr>
              <a:t>Source: 	FLA Mannheim, Monthly Reports 12/2010 and 03/2011</a:t>
            </a:r>
          </a:p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 dirty="0">
                <a:solidFill>
                  <a:srgbClr val="000000"/>
                </a:solidFill>
              </a:rPr>
              <a:t>Note: 	U25 = “under 25 years” | &gt;55 = “Over 55 years”</a:t>
            </a:r>
          </a:p>
        </p:txBody>
      </p:sp>
      <p:sp>
        <p:nvSpPr>
          <p:cNvPr id="528395" name="Rectangle 11"/>
          <p:cNvSpPr>
            <a:spLocks noChangeArrowheads="1"/>
          </p:cNvSpPr>
          <p:nvPr/>
        </p:nvSpPr>
        <p:spPr bwMode="auto">
          <a:xfrm>
            <a:off x="565150" y="5181600"/>
            <a:ext cx="4667250" cy="590550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1600" b="1"/>
              <a:t>Approximately 1 in 11 Mannheim residents receives Basic Income Support</a:t>
            </a:r>
            <a:endParaRPr lang="en-GB" sz="1400" b="1"/>
          </a:p>
        </p:txBody>
      </p:sp>
      <p:sp>
        <p:nvSpPr>
          <p:cNvPr id="528396" name="Text Box 12"/>
          <p:cNvSpPr txBox="1">
            <a:spLocks noChangeArrowheads="1"/>
          </p:cNvSpPr>
          <p:nvPr/>
        </p:nvSpPr>
        <p:spPr bwMode="auto">
          <a:xfrm>
            <a:off x="4294188" y="1751013"/>
            <a:ext cx="5030787" cy="12636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1600" b="1" u="sng">
                <a:solidFill>
                  <a:srgbClr val="000000"/>
                </a:solidFill>
              </a:rPr>
              <a:t>Expenditures 2010 (approximate)</a:t>
            </a:r>
            <a:endParaRPr lang="en-GB" sz="1600" b="1">
              <a:solidFill>
                <a:srgbClr val="000000"/>
              </a:solidFill>
            </a:endParaRPr>
          </a:p>
          <a:p>
            <a: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1500">
                <a:solidFill>
                  <a:srgbClr val="000000"/>
                </a:solidFill>
              </a:rPr>
              <a:t>Basic Income Support / Social Assistance: 	€ 66 m</a:t>
            </a:r>
          </a:p>
          <a:p>
            <a: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1500">
                <a:solidFill>
                  <a:srgbClr val="000000"/>
                </a:solidFill>
              </a:rPr>
              <a:t>Housing and Heating Allowance:	 		€ 65 m</a:t>
            </a:r>
          </a:p>
          <a:p>
            <a: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1500">
                <a:solidFill>
                  <a:srgbClr val="000000"/>
                </a:solidFill>
              </a:rPr>
              <a:t>  </a:t>
            </a:r>
          </a:p>
          <a:p>
            <a: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1500">
                <a:solidFill>
                  <a:srgbClr val="000000"/>
                </a:solidFill>
              </a:rPr>
              <a:t>		              		           </a:t>
            </a:r>
            <a:r>
              <a:rPr lang="en-GB" sz="1500" b="1">
                <a:solidFill>
                  <a:srgbClr val="000000"/>
                </a:solidFill>
              </a:rPr>
              <a:t>Total:    	       € 131 m</a:t>
            </a:r>
          </a:p>
        </p:txBody>
      </p:sp>
      <p:sp>
        <p:nvSpPr>
          <p:cNvPr id="528397" name="Line 13"/>
          <p:cNvSpPr>
            <a:spLocks noChangeShapeType="1"/>
          </p:cNvSpPr>
          <p:nvPr/>
        </p:nvSpPr>
        <p:spPr bwMode="auto">
          <a:xfrm>
            <a:off x="7046913" y="2643188"/>
            <a:ext cx="2132012" cy="1587"/>
          </a:xfrm>
          <a:prstGeom prst="line">
            <a:avLst/>
          </a:prstGeom>
          <a:noFill/>
          <a:ln w="1584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8398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35613" y="3132138"/>
            <a:ext cx="3792537" cy="31686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40000"/>
              </a:spcBef>
              <a:spcAft>
                <a:spcPct val="40000"/>
              </a:spcAft>
              <a:buClr>
                <a:srgbClr val="CC0000"/>
              </a:buClr>
              <a:buSzPct val="75000"/>
              <a:buFont typeface="Wingdings" pitchFamily="2" charset="2"/>
              <a:buNone/>
            </a:pPr>
            <a:r>
              <a:rPr lang="en-GB" sz="1400" b="1"/>
              <a:t>Job-Centre staff: 356 total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148 Federal Labour Agency </a:t>
            </a:r>
            <a:br>
              <a:rPr lang="en-GB" sz="1400"/>
            </a:br>
            <a:r>
              <a:rPr lang="en-GB" sz="1400"/>
              <a:t>(of which 58 case managers)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191 Municipality </a:t>
            </a:r>
            <a:br>
              <a:rPr lang="en-GB" sz="1400"/>
            </a:br>
            <a:r>
              <a:rPr lang="en-GB" sz="1400"/>
              <a:t>(of which 132 case managers)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17 Vivento (Dt. Telekom personnel agency) – 3 case managers</a:t>
            </a:r>
          </a:p>
          <a:p>
            <a:pPr marL="357188" indent="-355600">
              <a:spcBef>
                <a:spcPct val="40000"/>
              </a:spcBef>
              <a:spcAft>
                <a:spcPct val="40000"/>
              </a:spcAft>
              <a:buClr>
                <a:srgbClr val="CC0000"/>
              </a:buClr>
              <a:buSzPct val="75000"/>
              <a:buFont typeface="Wingdings" pitchFamily="2" charset="2"/>
              <a:buNone/>
            </a:pPr>
            <a:r>
              <a:rPr lang="en-GB" sz="1400" b="1"/>
              <a:t>Case Managers: 193 total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Average of 100 cases per manager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Case load U25: &lt; 75 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Case load “intensive” parts of city: </a:t>
            </a:r>
            <a:r>
              <a:rPr lang="en-GB" sz="1400">
                <a:cs typeface="Arial" charset="0"/>
              </a:rPr>
              <a:t>~</a:t>
            </a:r>
            <a:r>
              <a:rPr lang="en-GB" sz="1400"/>
              <a:t>30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/>
              <a:t>Case load &gt;55: </a:t>
            </a:r>
            <a:r>
              <a:rPr lang="en-GB" sz="1400">
                <a:cs typeface="Arial" charset="0"/>
              </a:rPr>
              <a:t>~200</a:t>
            </a:r>
          </a:p>
        </p:txBody>
      </p:sp>
      <p:sp>
        <p:nvSpPr>
          <p:cNvPr id="528399" name="Rectangle 1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C7E8790E-3EF5-43AD-8D45-DCF71B8FB926}" type="slidenum">
              <a:rPr lang="en-GB" sz="1200" b="1">
                <a:solidFill>
                  <a:srgbClr val="C80000"/>
                </a:solidFill>
              </a:rPr>
              <a:pPr algn="r" eaLnBrk="0" hangingPunct="0"/>
              <a:t>27</a:t>
            </a:fld>
            <a:endParaRPr lang="en-GB" sz="1200" b="1">
              <a:solidFill>
                <a:srgbClr val="C80000"/>
              </a:solidFill>
            </a:endParaRPr>
          </a:p>
        </p:txBody>
      </p:sp>
      <p:pic>
        <p:nvPicPr>
          <p:cNvPr id="528400" name="Picture 15" descr="NEU Logo Job Center Mannhei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2888" y="225425"/>
            <a:ext cx="326866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41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Typical service arrangement for employment service delivery in local job-centre</a:t>
            </a:r>
          </a:p>
        </p:txBody>
      </p:sp>
      <p:graphicFrame>
        <p:nvGraphicFramePr>
          <p:cNvPr id="52941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941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50" y="1751013"/>
            <a:ext cx="8047038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9413" name="Rectangle 5"/>
          <p:cNvSpPr>
            <a:spLocks noChangeArrowheads="1"/>
          </p:cNvSpPr>
          <p:nvPr/>
        </p:nvSpPr>
        <p:spPr bwMode="auto">
          <a:xfrm>
            <a:off x="3140075" y="4027488"/>
            <a:ext cx="1365250" cy="676275"/>
          </a:xfrm>
          <a:prstGeom prst="rect">
            <a:avLst/>
          </a:prstGeom>
          <a:solidFill>
            <a:schemeClr val="bg1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MEAS – Initial Application</a:t>
            </a:r>
          </a:p>
        </p:txBody>
      </p:sp>
      <p:sp>
        <p:nvSpPr>
          <p:cNvPr id="529414" name="Rectangle 6"/>
          <p:cNvSpPr>
            <a:spLocks noChangeArrowheads="1"/>
          </p:cNvSpPr>
          <p:nvPr/>
        </p:nvSpPr>
        <p:spPr bwMode="auto">
          <a:xfrm>
            <a:off x="4857750" y="2573338"/>
            <a:ext cx="1709738" cy="2728912"/>
          </a:xfrm>
          <a:prstGeom prst="rect">
            <a:avLst/>
          </a:prstGeom>
          <a:noFill/>
          <a:ln w="5715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529415" name="Oval 7"/>
          <p:cNvSpPr>
            <a:spLocks noChangeArrowheads="1"/>
          </p:cNvSpPr>
          <p:nvPr/>
        </p:nvSpPr>
        <p:spPr bwMode="auto">
          <a:xfrm>
            <a:off x="2981325" y="3895725"/>
            <a:ext cx="344488" cy="3048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29416" name="Oval 8"/>
          <p:cNvSpPr>
            <a:spLocks noChangeArrowheads="1"/>
          </p:cNvSpPr>
          <p:nvPr/>
        </p:nvSpPr>
        <p:spPr bwMode="auto">
          <a:xfrm>
            <a:off x="4711700" y="2446338"/>
            <a:ext cx="344488" cy="3048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9417" name="Rectangle 9"/>
          <p:cNvSpPr>
            <a:spLocks noChangeArrowheads="1"/>
          </p:cNvSpPr>
          <p:nvPr/>
        </p:nvSpPr>
        <p:spPr bwMode="auto">
          <a:xfrm>
            <a:off x="711200" y="2446338"/>
            <a:ext cx="2160588" cy="1749425"/>
          </a:xfrm>
          <a:prstGeom prst="rect">
            <a:avLst/>
          </a:prstGeom>
          <a:noFill/>
          <a:ln w="5715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529418" name="Rectangle 10"/>
          <p:cNvSpPr>
            <a:spLocks noChangeArrowheads="1"/>
          </p:cNvSpPr>
          <p:nvPr/>
        </p:nvSpPr>
        <p:spPr bwMode="auto">
          <a:xfrm>
            <a:off x="6843713" y="5557838"/>
            <a:ext cx="1365250" cy="676275"/>
          </a:xfrm>
          <a:prstGeom prst="rect">
            <a:avLst/>
          </a:prstGeom>
          <a:solidFill>
            <a:schemeClr val="bg1"/>
          </a:solidFill>
          <a:ln w="57150">
            <a:solidFill>
              <a:schemeClr val="bg2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Neighbourhood Job Marts</a:t>
            </a:r>
          </a:p>
        </p:txBody>
      </p:sp>
      <p:sp>
        <p:nvSpPr>
          <p:cNvPr id="529419" name="Oval 11"/>
          <p:cNvSpPr>
            <a:spLocks noChangeArrowheads="1"/>
          </p:cNvSpPr>
          <p:nvPr/>
        </p:nvSpPr>
        <p:spPr bwMode="auto">
          <a:xfrm>
            <a:off x="6684963" y="5426075"/>
            <a:ext cx="344487" cy="3048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29420" name="Rectangle 12"/>
          <p:cNvSpPr>
            <a:spLocks noChangeArrowheads="1"/>
          </p:cNvSpPr>
          <p:nvPr/>
        </p:nvSpPr>
        <p:spPr bwMode="auto">
          <a:xfrm>
            <a:off x="3121025" y="1712913"/>
            <a:ext cx="3446463" cy="415925"/>
          </a:xfrm>
          <a:prstGeom prst="rect">
            <a:avLst/>
          </a:prstGeom>
          <a:solidFill>
            <a:schemeClr val="bg1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Young Mannheim (&lt;25 years)</a:t>
            </a:r>
          </a:p>
        </p:txBody>
      </p:sp>
      <p:sp>
        <p:nvSpPr>
          <p:cNvPr id="529421" name="Oval 13"/>
          <p:cNvSpPr>
            <a:spLocks noChangeArrowheads="1"/>
          </p:cNvSpPr>
          <p:nvPr/>
        </p:nvSpPr>
        <p:spPr bwMode="auto">
          <a:xfrm>
            <a:off x="2962275" y="1549400"/>
            <a:ext cx="344488" cy="3048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9422" name="Rectangle 14"/>
          <p:cNvSpPr>
            <a:spLocks noChangeArrowheads="1"/>
          </p:cNvSpPr>
          <p:nvPr/>
        </p:nvSpPr>
        <p:spPr bwMode="auto">
          <a:xfrm>
            <a:off x="728663" y="2436813"/>
            <a:ext cx="2116137" cy="425450"/>
          </a:xfrm>
          <a:prstGeom prst="rect">
            <a:avLst/>
          </a:prstGeom>
          <a:solidFill>
            <a:schemeClr val="bg1"/>
          </a:solidFill>
          <a:ln w="57150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Welcome Zone</a:t>
            </a:r>
          </a:p>
        </p:txBody>
      </p:sp>
      <p:sp>
        <p:nvSpPr>
          <p:cNvPr id="529423" name="Oval 15"/>
          <p:cNvSpPr>
            <a:spLocks noChangeArrowheads="1"/>
          </p:cNvSpPr>
          <p:nvPr/>
        </p:nvSpPr>
        <p:spPr bwMode="auto">
          <a:xfrm>
            <a:off x="552450" y="2293938"/>
            <a:ext cx="344488" cy="3048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29424" name="Rectangle 16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180ACDD7-2BDF-4798-BC41-F4E2190AD264}" type="slidenum">
              <a:rPr lang="en-GB" sz="1200" b="1">
                <a:solidFill>
                  <a:srgbClr val="C80000"/>
                </a:solidFill>
              </a:rPr>
              <a:pPr algn="r" eaLnBrk="0" hangingPunct="0"/>
              <a:t>28</a:t>
            </a:fld>
            <a:endParaRPr lang="en-GB" sz="1200" b="1">
              <a:solidFill>
                <a:srgbClr val="C80000"/>
              </a:solidFill>
            </a:endParaRPr>
          </a:p>
        </p:txBody>
      </p:sp>
      <p:sp>
        <p:nvSpPr>
          <p:cNvPr id="306193" name="AutoShape 17"/>
          <p:cNvSpPr>
            <a:spLocks noChangeArrowheads="1"/>
          </p:cNvSpPr>
          <p:nvPr/>
        </p:nvSpPr>
        <p:spPr bwMode="gray">
          <a:xfrm>
            <a:off x="7134225" y="1333500"/>
            <a:ext cx="2193925" cy="1516063"/>
          </a:xfrm>
          <a:prstGeom prst="wedgeRoundRectCallout">
            <a:avLst>
              <a:gd name="adj1" fmla="val -84662"/>
              <a:gd name="adj2" fmla="val 33977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Case management jointly organized across placement and benefit calculation (separated functions in majority of German ARGE). Now teams being aligned to neighbourhoods.</a:t>
            </a:r>
          </a:p>
        </p:txBody>
      </p:sp>
      <p:sp>
        <p:nvSpPr>
          <p:cNvPr id="306194" name="AutoShape 18"/>
          <p:cNvSpPr>
            <a:spLocks noChangeArrowheads="1"/>
          </p:cNvSpPr>
          <p:nvPr/>
        </p:nvSpPr>
        <p:spPr bwMode="gray">
          <a:xfrm>
            <a:off x="0" y="5194300"/>
            <a:ext cx="1892300" cy="952500"/>
          </a:xfrm>
          <a:prstGeom prst="wedgeRoundRectCallout">
            <a:avLst>
              <a:gd name="adj1" fmla="val 126259"/>
              <a:gd name="adj2" fmla="val -118833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General business rule: Every applicant leaves the ARGE with a concrete offer / task. </a:t>
            </a:r>
          </a:p>
        </p:txBody>
      </p:sp>
      <p:sp>
        <p:nvSpPr>
          <p:cNvPr id="306195" name="AutoShape 19"/>
          <p:cNvSpPr>
            <a:spLocks noChangeArrowheads="1"/>
          </p:cNvSpPr>
          <p:nvPr/>
        </p:nvSpPr>
        <p:spPr bwMode="gray">
          <a:xfrm>
            <a:off x="8382000" y="3717925"/>
            <a:ext cx="1303338" cy="1978025"/>
          </a:xfrm>
          <a:prstGeom prst="wedgeRoundRectCallout">
            <a:avLst>
              <a:gd name="adj1" fmla="val -73509"/>
              <a:gd name="adj2" fmla="val 48315"/>
              <a:gd name="adj3" fmla="val 16667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Anchoring importance of labour market integration in local neigh-bourhoods. Providing accessible offices in suburbs.</a:t>
            </a:r>
          </a:p>
        </p:txBody>
      </p:sp>
      <p:pic>
        <p:nvPicPr>
          <p:cNvPr id="529428" name="Picture 19" descr="NEU Logo Job Center Mannhei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2888" y="225425"/>
            <a:ext cx="326866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6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06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06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6193" grpId="0" animBg="1"/>
      <p:bldP spid="306194" grpId="0" animBg="1"/>
      <p:bldP spid="30619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325438" y="3299873"/>
            <a:ext cx="9367837" cy="403225"/>
          </a:xfrm>
          <a:prstGeom prst="rect">
            <a:avLst/>
          </a:prstGeom>
          <a:solidFill>
            <a:srgbClr val="EAEAEA"/>
          </a:solidFill>
          <a:ln w="381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b="1"/>
          </a:p>
        </p:txBody>
      </p:sp>
      <p:sp>
        <p:nvSpPr>
          <p:cNvPr id="18944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438" y="1652588"/>
            <a:ext cx="9109075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abor-market </a:t>
            </a:r>
            <a:r>
              <a:rPr lang="en-GB" sz="1800" dirty="0"/>
              <a:t>and reforms in </a:t>
            </a:r>
            <a:r>
              <a:rPr lang="en-GB" sz="1800" dirty="0" smtClean="0"/>
              <a:t>Germany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All together now: governance of </a:t>
            </a:r>
            <a:r>
              <a:rPr lang="en-GB" sz="1800" dirty="0" err="1" smtClean="0"/>
              <a:t>labor</a:t>
            </a:r>
            <a:r>
              <a:rPr lang="en-GB" sz="1800" dirty="0" smtClean="0"/>
              <a:t> market and social inclusion programs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inkage </a:t>
            </a:r>
            <a:r>
              <a:rPr lang="en-GB" sz="1800" dirty="0"/>
              <a:t>to </a:t>
            </a:r>
            <a:r>
              <a:rPr lang="en-GB" sz="1800" dirty="0" smtClean="0"/>
              <a:t>social </a:t>
            </a:r>
            <a:r>
              <a:rPr lang="en-GB" sz="1800" dirty="0"/>
              <a:t>a</a:t>
            </a:r>
            <a:r>
              <a:rPr lang="en-GB" sz="1800" dirty="0" smtClean="0"/>
              <a:t>ssistance</a:t>
            </a:r>
            <a:r>
              <a:rPr lang="en-GB" sz="1800" dirty="0"/>
              <a:t>: joint delivery of </a:t>
            </a:r>
            <a:r>
              <a:rPr lang="en-GB" sz="1800" dirty="0" smtClean="0"/>
              <a:t>income support with </a:t>
            </a:r>
            <a:r>
              <a:rPr lang="en-GB" sz="1800" dirty="0"/>
              <a:t>municipaliti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b="1" dirty="0"/>
              <a:t>Beyond payments: labour market services and programm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Current developments </a:t>
            </a:r>
            <a:r>
              <a:rPr lang="en-GB" sz="1800" dirty="0"/>
              <a:t>and </a:t>
            </a:r>
            <a:r>
              <a:rPr lang="en-GB" sz="1800" dirty="0" smtClean="0"/>
              <a:t>challenges</a:t>
            </a:r>
            <a:endParaRPr lang="en-GB" sz="1800" dirty="0"/>
          </a:p>
        </p:txBody>
      </p:sp>
      <p:sp>
        <p:nvSpPr>
          <p:cNvPr id="1894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/>
              <a:t>Current Challenges in the Joint Delivery of Labor Market Services and Social Assistance in </a:t>
            </a:r>
            <a:r>
              <a:rPr lang="en-US" dirty="0" smtClean="0"/>
              <a:t>Germany</a:t>
            </a:r>
            <a:endParaRPr lang="en-GB" dirty="0" smtClean="0"/>
          </a:p>
        </p:txBody>
      </p:sp>
      <p:graphicFrame>
        <p:nvGraphicFramePr>
          <p:cNvPr id="18944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9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4A1AF54-4F23-4F38-AA52-64613277B7D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29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1383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325438" y="1662113"/>
            <a:ext cx="9367837" cy="403225"/>
          </a:xfrm>
          <a:prstGeom prst="rect">
            <a:avLst/>
          </a:prstGeom>
          <a:solidFill>
            <a:srgbClr val="EAEAEA"/>
          </a:solidFill>
          <a:ln w="381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b="1"/>
          </a:p>
        </p:txBody>
      </p:sp>
      <p:sp>
        <p:nvSpPr>
          <p:cNvPr id="18944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438" y="1652588"/>
            <a:ext cx="9109075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b="1" dirty="0" smtClean="0"/>
              <a:t>Labor-market </a:t>
            </a:r>
            <a:r>
              <a:rPr lang="en-GB" sz="1800" b="1" dirty="0"/>
              <a:t>and reforms in </a:t>
            </a:r>
            <a:r>
              <a:rPr lang="en-GB" sz="1800" b="1" dirty="0" smtClean="0"/>
              <a:t>Germany</a:t>
            </a:r>
            <a:endParaRPr lang="en-GB" sz="1800" b="1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All together now: governance of </a:t>
            </a:r>
            <a:r>
              <a:rPr lang="en-GB" sz="1800" dirty="0" err="1" smtClean="0"/>
              <a:t>labor</a:t>
            </a:r>
            <a:r>
              <a:rPr lang="en-GB" sz="1800" dirty="0" smtClean="0"/>
              <a:t> market and social inclusion programs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inkage </a:t>
            </a:r>
            <a:r>
              <a:rPr lang="en-GB" sz="1800" dirty="0"/>
              <a:t>to </a:t>
            </a:r>
            <a:r>
              <a:rPr lang="en-GB" sz="1800" dirty="0" smtClean="0"/>
              <a:t>social </a:t>
            </a:r>
            <a:r>
              <a:rPr lang="en-GB" sz="1800" dirty="0"/>
              <a:t>a</a:t>
            </a:r>
            <a:r>
              <a:rPr lang="en-GB" sz="1800" dirty="0" smtClean="0"/>
              <a:t>ssistance</a:t>
            </a:r>
            <a:r>
              <a:rPr lang="en-GB" sz="1800" dirty="0"/>
              <a:t>: joint delivery of </a:t>
            </a:r>
            <a:r>
              <a:rPr lang="en-GB" sz="1800" dirty="0" smtClean="0"/>
              <a:t>income support with </a:t>
            </a:r>
            <a:r>
              <a:rPr lang="en-GB" sz="1800" dirty="0"/>
              <a:t>municipaliti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/>
              <a:t>Beyond payments: labour market services and programm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Current developments </a:t>
            </a:r>
            <a:r>
              <a:rPr lang="en-GB" sz="1800" dirty="0"/>
              <a:t>and </a:t>
            </a:r>
            <a:r>
              <a:rPr lang="en-GB" sz="1800" dirty="0" smtClean="0"/>
              <a:t>challenges</a:t>
            </a:r>
            <a:endParaRPr lang="en-GB" sz="1800" dirty="0"/>
          </a:p>
        </p:txBody>
      </p:sp>
      <p:sp>
        <p:nvSpPr>
          <p:cNvPr id="1894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/>
              <a:t>Current Challenges in the Joint Delivery of Labor Market Services and Social Assistance in </a:t>
            </a:r>
            <a:r>
              <a:rPr lang="en-US" dirty="0" smtClean="0"/>
              <a:t>Germany</a:t>
            </a:r>
            <a:endParaRPr lang="en-GB" dirty="0" smtClean="0"/>
          </a:p>
        </p:txBody>
      </p:sp>
      <p:graphicFrame>
        <p:nvGraphicFramePr>
          <p:cNvPr id="18944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8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4A1AF54-4F23-4F38-AA52-64613277B7D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914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52438" y="820738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FLA and joint delivery units operate client handling via a single four-phase segmentation model for SI and SA clients</a:t>
            </a:r>
          </a:p>
        </p:txBody>
      </p:sp>
      <p:graphicFrame>
        <p:nvGraphicFramePr>
          <p:cNvPr id="550915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6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091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3550" y="3140075"/>
            <a:ext cx="2001838" cy="316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Segmentation of client into one of six client groups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Unified segmen-tation logic for UB I (social insurance) and UB II (social assistance) clients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endParaRPr lang="en-GB" sz="1400">
              <a:sym typeface="Wingdings" pitchFamily="2" charset="2"/>
            </a:endParaRPr>
          </a:p>
        </p:txBody>
      </p:sp>
      <p:sp>
        <p:nvSpPr>
          <p:cNvPr id="550917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533B1EA3-D4BB-493A-954F-A29FF6464A4A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0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50918" name="AutoShape 6"/>
          <p:cNvSpPr>
            <a:spLocks noChangeArrowheads="1"/>
          </p:cNvSpPr>
          <p:nvPr/>
        </p:nvSpPr>
        <p:spPr bwMode="auto">
          <a:xfrm>
            <a:off x="565150" y="1751013"/>
            <a:ext cx="2016125" cy="1279525"/>
          </a:xfrm>
          <a:prstGeom prst="homePlate">
            <a:avLst>
              <a:gd name="adj" fmla="val 3939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800"/>
              <a:t>Phase 1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sz="1800" b="1"/>
              <a:t>Profiling</a:t>
            </a:r>
          </a:p>
        </p:txBody>
      </p:sp>
      <p:sp>
        <p:nvSpPr>
          <p:cNvPr id="550919" name="AutoShape 7"/>
          <p:cNvSpPr>
            <a:spLocks noChangeArrowheads="1"/>
          </p:cNvSpPr>
          <p:nvPr/>
        </p:nvSpPr>
        <p:spPr bwMode="auto">
          <a:xfrm>
            <a:off x="2757488" y="1751013"/>
            <a:ext cx="2016125" cy="1279525"/>
          </a:xfrm>
          <a:prstGeom prst="homePlate">
            <a:avLst>
              <a:gd name="adj" fmla="val 3939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800"/>
              <a:t>Phase 2</a:t>
            </a:r>
            <a:br>
              <a:rPr lang="en-US" sz="1800"/>
            </a:br>
            <a:r>
              <a:rPr lang="en-US" sz="1800" b="1"/>
              <a:t>Set Targets</a:t>
            </a:r>
          </a:p>
        </p:txBody>
      </p:sp>
      <p:sp>
        <p:nvSpPr>
          <p:cNvPr id="550920" name="AutoShape 8"/>
          <p:cNvSpPr>
            <a:spLocks noChangeArrowheads="1"/>
          </p:cNvSpPr>
          <p:nvPr/>
        </p:nvSpPr>
        <p:spPr bwMode="auto">
          <a:xfrm>
            <a:off x="4992688" y="1751013"/>
            <a:ext cx="2016125" cy="1279525"/>
          </a:xfrm>
          <a:prstGeom prst="homePlate">
            <a:avLst>
              <a:gd name="adj" fmla="val 3939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800"/>
              <a:t>Phase 3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sz="1800" b="1"/>
              <a:t>Plan Action and ALMP Deployment</a:t>
            </a:r>
          </a:p>
        </p:txBody>
      </p:sp>
      <p:sp>
        <p:nvSpPr>
          <p:cNvPr id="550921" name="AutoShape 9"/>
          <p:cNvSpPr>
            <a:spLocks noChangeArrowheads="1"/>
          </p:cNvSpPr>
          <p:nvPr/>
        </p:nvSpPr>
        <p:spPr bwMode="auto">
          <a:xfrm>
            <a:off x="7273925" y="1751013"/>
            <a:ext cx="2016125" cy="1279525"/>
          </a:xfrm>
          <a:prstGeom prst="homePlate">
            <a:avLst>
              <a:gd name="adj" fmla="val 3939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/>
          <a:lstStyle/>
          <a:p>
            <a:pPr algn="ctr" eaLnBrk="0" hangingPunct="0">
              <a:lnSpc>
                <a:spcPct val="90000"/>
              </a:lnSpc>
            </a:pPr>
            <a:r>
              <a:rPr lang="en-US" sz="1800"/>
              <a:t>Phase 4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sz="1800" b="1"/>
              <a:t>Action and follow-up</a:t>
            </a:r>
          </a:p>
        </p:txBody>
      </p:sp>
      <p:sp>
        <p:nvSpPr>
          <p:cNvPr id="550922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35250" y="3140075"/>
            <a:ext cx="2001838" cy="316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Labour market integration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Publicly supported employment (outside of LM)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Secondary Education, Apprenticeship, Tertiary Education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Stabilization of current employment</a:t>
            </a:r>
          </a:p>
        </p:txBody>
      </p:sp>
      <p:sp>
        <p:nvSpPr>
          <p:cNvPr id="55092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89500" y="3140075"/>
            <a:ext cx="2001838" cy="316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Depending on targets, map out action plan for jobseeker …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… and plan deployment of ALMPs</a:t>
            </a:r>
          </a:p>
        </p:txBody>
      </p:sp>
      <p:sp>
        <p:nvSpPr>
          <p:cNvPr id="550924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26300" y="3140075"/>
            <a:ext cx="2001838" cy="316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“Integration agreement” written and signed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Action items defined for case manager and client</a:t>
            </a:r>
          </a:p>
          <a:p>
            <a:pPr marL="174625" indent="-173038" eaLnBrk="0" hangingPunct="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>
                <a:sym typeface="Wingdings" pitchFamily="2" charset="2"/>
              </a:rPr>
              <a:t>Follow-up and reporting points agreed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938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52438" y="808038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Profiling and job counselling 1/2: Initial FLA segmentation relied on a four-field model for customers (2005)</a:t>
            </a:r>
          </a:p>
        </p:txBody>
      </p:sp>
      <p:graphicFrame>
        <p:nvGraphicFramePr>
          <p:cNvPr id="551939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8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194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50" y="1751013"/>
            <a:ext cx="6657975" cy="4665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1941" name="Oval 5"/>
          <p:cNvSpPr>
            <a:spLocks noChangeArrowheads="1"/>
          </p:cNvSpPr>
          <p:nvPr/>
        </p:nvSpPr>
        <p:spPr bwMode="auto">
          <a:xfrm>
            <a:off x="4638675" y="2459038"/>
            <a:ext cx="1538288" cy="774700"/>
          </a:xfrm>
          <a:prstGeom prst="ellips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51942" name="AutoShape 6"/>
          <p:cNvSpPr>
            <a:spLocks noChangeArrowheads="1"/>
          </p:cNvSpPr>
          <p:nvPr/>
        </p:nvSpPr>
        <p:spPr bwMode="auto">
          <a:xfrm>
            <a:off x="6824663" y="2027238"/>
            <a:ext cx="2425700" cy="1550987"/>
          </a:xfrm>
          <a:prstGeom prst="wedgeRoundRectCallout">
            <a:avLst>
              <a:gd name="adj1" fmla="val -77616"/>
              <a:gd name="adj2" fmla="val -2713"/>
              <a:gd name="adj3" fmla="val 16667"/>
            </a:avLst>
          </a:prstGeom>
          <a:solidFill>
            <a:srgbClr val="EAEBE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Experience has shown that further differentiation was needed to support clients with high activation and training needs.</a:t>
            </a:r>
          </a:p>
        </p:txBody>
      </p:sp>
      <p:sp>
        <p:nvSpPr>
          <p:cNvPr id="551943" name="Rectangle 7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FE79C5D7-7BF4-4590-81F6-94D2AF1B4CD9}" type="slidenum">
              <a:rPr lang="en-GB" sz="1200" b="1">
                <a:solidFill>
                  <a:srgbClr val="C80000"/>
                </a:solidFill>
              </a:rPr>
              <a:pPr algn="r" eaLnBrk="0" hangingPunct="0"/>
              <a:t>31</a:t>
            </a:fld>
            <a:endParaRPr lang="en-GB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62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52438" y="798513"/>
            <a:ext cx="8802687" cy="601662"/>
          </a:xfrm>
          <a:noFill/>
        </p:spPr>
        <p:txBody>
          <a:bodyPr anchor="b"/>
          <a:lstStyle/>
          <a:p>
            <a:r>
              <a:rPr lang="en-GB" smtClean="0"/>
              <a:t>Profiling and job-counselling 2/2: segmentation methodology was further differentiated for Basic Income Support (2010)</a:t>
            </a:r>
          </a:p>
        </p:txBody>
      </p:sp>
      <p:graphicFrame>
        <p:nvGraphicFramePr>
          <p:cNvPr id="55296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296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1458913"/>
            <a:ext cx="7943850" cy="4979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2965" name="AutoShape 5"/>
          <p:cNvSpPr>
            <a:spLocks noChangeArrowheads="1"/>
          </p:cNvSpPr>
          <p:nvPr/>
        </p:nvSpPr>
        <p:spPr bwMode="auto">
          <a:xfrm>
            <a:off x="5353050" y="1403350"/>
            <a:ext cx="3421063" cy="628650"/>
          </a:xfrm>
          <a:prstGeom prst="rightArrow">
            <a:avLst>
              <a:gd name="adj1" fmla="val 64481"/>
              <a:gd name="adj2" fmla="val 77925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Further Differentiation </a:t>
            </a:r>
            <a:br>
              <a:rPr lang="en-GB" sz="1400" b="1"/>
            </a:br>
            <a:r>
              <a:rPr lang="en-GB" sz="1400" b="1"/>
              <a:t>of Segmentation</a:t>
            </a:r>
          </a:p>
        </p:txBody>
      </p:sp>
      <p:sp>
        <p:nvSpPr>
          <p:cNvPr id="552966" name="Rectangle 6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010A9EAB-E78E-4267-A240-A1371A310263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2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82" name="Rectangle 4"/>
          <p:cNvSpPr>
            <a:spLocks noChangeArrowheads="1"/>
          </p:cNvSpPr>
          <p:nvPr/>
        </p:nvSpPr>
        <p:spPr bwMode="auto">
          <a:xfrm>
            <a:off x="565150" y="1768475"/>
            <a:ext cx="4284663" cy="45497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GB"/>
          </a:p>
        </p:txBody>
      </p:sp>
      <p:sp>
        <p:nvSpPr>
          <p:cNvPr id="583683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Scale-up and professionalization of employer service function has been essential for job placement activities</a:t>
            </a:r>
          </a:p>
        </p:txBody>
      </p:sp>
      <p:graphicFrame>
        <p:nvGraphicFramePr>
          <p:cNvPr id="583684" name="Rectangle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7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685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F6BADF1F-E2AE-4239-8670-AB129C898075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3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8368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227638" y="1751013"/>
            <a:ext cx="4100512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FLA Employer Service</a:t>
            </a:r>
          </a:p>
        </p:txBody>
      </p:sp>
      <p:sp>
        <p:nvSpPr>
          <p:cNvPr id="583687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27638" y="2260600"/>
            <a:ext cx="4100512" cy="4040188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From passive “collection of vacancies” to active canvassing and outreach to employers</a:t>
            </a:r>
          </a:p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Key account management structure enables FLA to serve large employers with multiple sites and differentiated HR needs</a:t>
            </a:r>
          </a:p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Employer service actively markets jobseekers to employers and facilitates placement with limited wage subsidies</a:t>
            </a:r>
          </a:p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Improved employer service allowed swift scale-up of crisis-response ALMPs (e.g. short-work scheme) and active information especially of SME employers about possibilities for crisis-response</a:t>
            </a:r>
          </a:p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Future: greater emphasis on partnering with employers to fill human resource needs </a:t>
            </a:r>
            <a:br>
              <a:rPr lang="en-GB" sz="1400"/>
            </a:br>
            <a:r>
              <a:rPr lang="en-GB" sz="1400"/>
              <a:t>(</a:t>
            </a:r>
            <a:r>
              <a:rPr lang="en-GB" sz="1400">
                <a:sym typeface="Wingdings" pitchFamily="2" charset="2"/>
              </a:rPr>
              <a:t> </a:t>
            </a:r>
            <a:r>
              <a:rPr lang="en-GB" sz="1400"/>
              <a:t>still to be developed!)</a:t>
            </a:r>
          </a:p>
          <a:p>
            <a:pPr marL="269875" indent="-269875" defTabSz="857250" eaLnBrk="0" hangingPunct="0">
              <a:spcBef>
                <a:spcPct val="15000"/>
              </a:spcBef>
              <a:spcAft>
                <a:spcPct val="15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endParaRPr lang="en-GB" sz="1400"/>
          </a:p>
        </p:txBody>
      </p:sp>
      <p:sp>
        <p:nvSpPr>
          <p:cNvPr id="583688" name="Text Box 8"/>
          <p:cNvSpPr txBox="1">
            <a:spLocks noChangeArrowheads="1"/>
          </p:cNvSpPr>
          <p:nvPr/>
        </p:nvSpPr>
        <p:spPr bwMode="auto">
          <a:xfrm>
            <a:off x="565150" y="1768475"/>
            <a:ext cx="43275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1400" b="1"/>
              <a:t>Sample publications / services / events </a:t>
            </a:r>
            <a:br>
              <a:rPr lang="en-GB" sz="1400" b="1"/>
            </a:br>
            <a:r>
              <a:rPr lang="en-GB" sz="1400" b="1"/>
              <a:t>of Employer Service</a:t>
            </a:r>
          </a:p>
        </p:txBody>
      </p:sp>
      <p:pic>
        <p:nvPicPr>
          <p:cNvPr id="583831" name="Picture 15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063" y="2254250"/>
            <a:ext cx="2268537" cy="311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3832" name="Picture 15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" y="2268538"/>
            <a:ext cx="1639888" cy="1646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383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2638" y="3235325"/>
            <a:ext cx="1514475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b="1">
                <a:sym typeface="Wingdings" pitchFamily="2" charset="2"/>
              </a:rPr>
              <a:t>Networking Events for HR Professionals</a:t>
            </a:r>
          </a:p>
        </p:txBody>
      </p:sp>
      <p:pic>
        <p:nvPicPr>
          <p:cNvPr id="583833" name="Picture 15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238" y="3619500"/>
            <a:ext cx="2024062" cy="2709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3835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446213" y="5773738"/>
            <a:ext cx="1514475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b="1">
                <a:sym typeface="Wingdings" pitchFamily="2" charset="2"/>
              </a:rPr>
              <a:t>International Promotion Campaign for Skilled Staff</a:t>
            </a:r>
          </a:p>
        </p:txBody>
      </p:sp>
      <p:sp>
        <p:nvSpPr>
          <p:cNvPr id="583836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527425" y="4800600"/>
            <a:ext cx="1185863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b="1">
                <a:sym typeface="Wingdings" pitchFamily="2" charset="2"/>
              </a:rPr>
              <a:t>Monthly Employer Magazin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46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Online Job Portal “Jobbörse”: Over 1m jobs entered via FLA or direct employer entry p.a.</a:t>
            </a:r>
          </a:p>
        </p:txBody>
      </p:sp>
      <p:graphicFrame>
        <p:nvGraphicFramePr>
          <p:cNvPr id="57446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1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4468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8A0688A2-B9B8-41C6-9A2B-C185CBBC7A70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4</a:t>
            </a:fld>
            <a:endParaRPr lang="de-DE" sz="1200" b="1">
              <a:solidFill>
                <a:srgbClr val="C80000"/>
              </a:solidFill>
            </a:endParaRPr>
          </a:p>
        </p:txBody>
      </p:sp>
      <p:pic>
        <p:nvPicPr>
          <p:cNvPr id="57447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1768475"/>
            <a:ext cx="8605838" cy="449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4472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32563" y="4087813"/>
            <a:ext cx="3195637" cy="2212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357188" indent="-355600" eaLnBrk="0" hangingPunct="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400"/>
              <a:t>Number one employment portal in Germany</a:t>
            </a:r>
          </a:p>
          <a:p>
            <a:pPr marL="357188" indent="-355600" eaLnBrk="0" hangingPunct="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400"/>
              <a:t>Approx. 1m jobs in system</a:t>
            </a:r>
          </a:p>
          <a:p>
            <a:pPr marL="357188" indent="-355600" eaLnBrk="0" hangingPunct="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400"/>
              <a:t>Employers are encouraged to enter jobs directly</a:t>
            </a:r>
          </a:p>
          <a:p>
            <a:pPr marL="357188" indent="-355600" eaLnBrk="0" hangingPunct="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400"/>
              <a:t>Self-help tutorials with video and audio support teach employers and job-seekers to use “Jobbörse”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514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FLA website provides high-volume transactions as e-services to jobseekers and employers</a:t>
            </a:r>
          </a:p>
        </p:txBody>
      </p:sp>
      <p:graphicFrame>
        <p:nvGraphicFramePr>
          <p:cNvPr id="576515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6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6516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9EA68BDF-174C-4403-A491-0435085D816A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5</a:t>
            </a:fld>
            <a:endParaRPr lang="de-DE" sz="1200" b="1">
              <a:solidFill>
                <a:srgbClr val="C80000"/>
              </a:solidFill>
            </a:endParaRPr>
          </a:p>
        </p:txBody>
      </p:sp>
      <p:pic>
        <p:nvPicPr>
          <p:cNvPr id="57651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88" y="1692275"/>
            <a:ext cx="4562475" cy="46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3077" name="AutoShape 37"/>
          <p:cNvSpPr>
            <a:spLocks noChangeArrowheads="1"/>
          </p:cNvSpPr>
          <p:nvPr/>
        </p:nvSpPr>
        <p:spPr bwMode="gray">
          <a:xfrm>
            <a:off x="5092700" y="1984375"/>
            <a:ext cx="2132013" cy="769938"/>
          </a:xfrm>
          <a:prstGeom prst="wedgeRoundRectCallout">
            <a:avLst>
              <a:gd name="adj1" fmla="val -121407"/>
              <a:gd name="adj2" fmla="val 18245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Online registration as jobseeker / unemployed</a:t>
            </a:r>
            <a:endParaRPr lang="en-GB" sz="1400"/>
          </a:p>
        </p:txBody>
      </p:sp>
      <p:sp>
        <p:nvSpPr>
          <p:cNvPr id="2" name="AutoShape 37"/>
          <p:cNvSpPr>
            <a:spLocks noChangeArrowheads="1"/>
          </p:cNvSpPr>
          <p:nvPr/>
        </p:nvSpPr>
        <p:spPr bwMode="gray">
          <a:xfrm>
            <a:off x="7418388" y="2647950"/>
            <a:ext cx="2132012" cy="769938"/>
          </a:xfrm>
          <a:prstGeom prst="wedgeRoundRectCallout">
            <a:avLst>
              <a:gd name="adj1" fmla="val -190356"/>
              <a:gd name="adj2" fmla="val -7731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Register jobseeker profile in “Jobbörse” online portal</a:t>
            </a:r>
            <a:endParaRPr lang="en-GB" sz="1400"/>
          </a:p>
        </p:txBody>
      </p:sp>
      <p:sp>
        <p:nvSpPr>
          <p:cNvPr id="3" name="AutoShape 37"/>
          <p:cNvSpPr>
            <a:spLocks noChangeArrowheads="1"/>
          </p:cNvSpPr>
          <p:nvPr/>
        </p:nvSpPr>
        <p:spPr bwMode="gray">
          <a:xfrm>
            <a:off x="5154613" y="3427413"/>
            <a:ext cx="2614612" cy="862012"/>
          </a:xfrm>
          <a:prstGeom prst="wedgeRoundRectCallout">
            <a:avLst>
              <a:gd name="adj1" fmla="val -79144"/>
              <a:gd name="adj2" fmla="val -29005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Online collaboration space with case managers – direct application to proposed jobs</a:t>
            </a:r>
            <a:endParaRPr lang="en-GB" sz="1400"/>
          </a:p>
        </p:txBody>
      </p:sp>
      <p:sp>
        <p:nvSpPr>
          <p:cNvPr id="4" name="AutoShape 37"/>
          <p:cNvSpPr>
            <a:spLocks noChangeArrowheads="1"/>
          </p:cNvSpPr>
          <p:nvPr/>
        </p:nvSpPr>
        <p:spPr bwMode="gray">
          <a:xfrm>
            <a:off x="5148263" y="4635500"/>
            <a:ext cx="2557462" cy="663575"/>
          </a:xfrm>
          <a:prstGeom prst="wedgeRoundRectCallout">
            <a:avLst>
              <a:gd name="adj1" fmla="val -119894"/>
              <a:gd name="adj2" fmla="val 9093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Register employment opportunity in “Jobbörse” online portal</a:t>
            </a:r>
            <a:endParaRPr lang="en-GB" sz="1400"/>
          </a:p>
        </p:txBody>
      </p:sp>
      <p:sp>
        <p:nvSpPr>
          <p:cNvPr id="5" name="AutoShape 37"/>
          <p:cNvSpPr>
            <a:spLocks noChangeArrowheads="1"/>
          </p:cNvSpPr>
          <p:nvPr/>
        </p:nvSpPr>
        <p:spPr bwMode="gray">
          <a:xfrm>
            <a:off x="6761163" y="5500688"/>
            <a:ext cx="2584450" cy="668337"/>
          </a:xfrm>
          <a:prstGeom prst="wedgeRoundRectCallout">
            <a:avLst>
              <a:gd name="adj1" fmla="val -146315"/>
              <a:gd name="adj2" fmla="val -1306"/>
              <a:gd name="adj3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lnSpc>
                <a:spcPct val="90000"/>
              </a:lnSpc>
            </a:pPr>
            <a:r>
              <a:rPr lang="en-GB" sz="1400" b="1"/>
              <a:t>Update / register company to receive FLA “employer number”</a:t>
            </a:r>
            <a:endParaRPr lang="en-GB" sz="1400"/>
          </a:p>
        </p:txBody>
      </p:sp>
      <p:sp>
        <p:nvSpPr>
          <p:cNvPr id="576525" name="Rectangle 13"/>
          <p:cNvSpPr>
            <a:spLocks noChangeArrowheads="1"/>
          </p:cNvSpPr>
          <p:nvPr/>
        </p:nvSpPr>
        <p:spPr bwMode="auto">
          <a:xfrm>
            <a:off x="4933950" y="1768475"/>
            <a:ext cx="4779963" cy="2578100"/>
          </a:xfrm>
          <a:prstGeom prst="rect">
            <a:avLst/>
          </a:prstGeom>
          <a:noFill/>
          <a:ln w="38100">
            <a:solidFill>
              <a:schemeClr val="bg2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6526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07338" y="1763713"/>
            <a:ext cx="177800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 algn="ctr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600" b="1">
                <a:sym typeface="Wingdings" pitchFamily="2" charset="2"/>
              </a:rPr>
              <a:t>Jobseeker </a:t>
            </a:r>
            <a:br>
              <a:rPr lang="en-GB" sz="1600" b="1">
                <a:sym typeface="Wingdings" pitchFamily="2" charset="2"/>
              </a:rPr>
            </a:br>
            <a:r>
              <a:rPr lang="en-GB" sz="1600" b="1">
                <a:sym typeface="Wingdings" pitchFamily="2" charset="2"/>
              </a:rPr>
              <a:t>e-services</a:t>
            </a:r>
          </a:p>
        </p:txBody>
      </p:sp>
      <p:sp>
        <p:nvSpPr>
          <p:cNvPr id="576527" name="Rectangle 15"/>
          <p:cNvSpPr>
            <a:spLocks noChangeArrowheads="1"/>
          </p:cNvSpPr>
          <p:nvPr/>
        </p:nvSpPr>
        <p:spPr bwMode="auto">
          <a:xfrm>
            <a:off x="4935538" y="4456113"/>
            <a:ext cx="4779962" cy="1822450"/>
          </a:xfrm>
          <a:prstGeom prst="rect">
            <a:avLst/>
          </a:prstGeom>
          <a:noFill/>
          <a:ln w="38100">
            <a:solidFill>
              <a:schemeClr val="bg2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76528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908925" y="4479925"/>
            <a:ext cx="17780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indent="1588" algn="ctr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600" b="1">
                <a:sym typeface="Wingdings" pitchFamily="2" charset="2"/>
              </a:rPr>
              <a:t>Employer</a:t>
            </a:r>
            <a:br>
              <a:rPr lang="en-GB" sz="1600" b="1">
                <a:sym typeface="Wingdings" pitchFamily="2" charset="2"/>
              </a:rPr>
            </a:br>
            <a:r>
              <a:rPr lang="en-GB" sz="1600" b="1">
                <a:sym typeface="Wingdings" pitchFamily="2" charset="2"/>
              </a:rPr>
              <a:t>e-servic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43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3077" grpId="0" animBg="1"/>
      <p:bldP spid="2" grpId="0" animBg="1"/>
      <p:bldP spid="3" grpId="0" animBg="1"/>
      <p:bldP spid="4" grpId="0" animBg="1"/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3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Selected examples for ALMPs of Federal Labour Agency (2011) and indicative cost-per-person in ALMPs</a:t>
            </a:r>
          </a:p>
        </p:txBody>
      </p:sp>
      <p:graphicFrame>
        <p:nvGraphicFramePr>
          <p:cNvPr id="560131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3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0132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DDE2D5C3-AFF4-43CA-AB2F-6B5F69B4CD98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6</a:t>
            </a:fld>
            <a:endParaRPr lang="de-DE" sz="1200" b="1">
              <a:solidFill>
                <a:srgbClr val="C80000"/>
              </a:solidFill>
            </a:endParaRPr>
          </a:p>
        </p:txBody>
      </p:sp>
      <p:graphicFrame>
        <p:nvGraphicFramePr>
          <p:cNvPr id="560274" name="Group 146"/>
          <p:cNvGraphicFramePr>
            <a:graphicFrameLocks noGrp="1"/>
          </p:cNvGraphicFramePr>
          <p:nvPr/>
        </p:nvGraphicFramePr>
        <p:xfrm>
          <a:off x="546100" y="1768475"/>
          <a:ext cx="8797925" cy="4058540"/>
        </p:xfrm>
        <a:graphic>
          <a:graphicData uri="http://schemas.openxmlformats.org/drawingml/2006/table">
            <a:tbl>
              <a:tblPr/>
              <a:tblGrid>
                <a:gridCol w="2101850"/>
                <a:gridCol w="2971800"/>
                <a:gridCol w="1862138"/>
                <a:gridCol w="1862137"/>
              </a:tblGrid>
              <a:tr h="31115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gra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umber of Participants (‘000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ndicative Annual Budget Spent (€m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</a:tr>
              <a:tr h="31115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lacement Budge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lexible use of funds to support take-up of employment (e.g. initial mobility grant, work-equipment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980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4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138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ctivation Seminars and Temporary Work Placement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articipation in training, motivation and orientation activities depending on personal situation (35% of programs employer-based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040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34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59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age subsid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orary subsidization of wages for hard-to-place jobseeker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7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86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2125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elf-employment gran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ormer “Me-Inc” benefit / phased down in 2011 ALMP realignmen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4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730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070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arly retirement gran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gram being phased out since 2010, current beneficiaries rema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7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300</a:t>
                      </a: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>
                          <a:tab pos="2152650" algn="r"/>
                        </a:tabLst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0000" marR="432000" marT="46800" marB="468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60220" name="Text Box 10"/>
          <p:cNvSpPr txBox="1">
            <a:spLocks noChangeArrowheads="1"/>
          </p:cNvSpPr>
          <p:nvPr/>
        </p:nvSpPr>
        <p:spPr bwMode="auto">
          <a:xfrm>
            <a:off x="477838" y="5846763"/>
            <a:ext cx="5129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447675" indent="-447675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>
                <a:solidFill>
                  <a:srgbClr val="000000"/>
                </a:solidFill>
              </a:rPr>
              <a:t>Note: 	Participant numbers for Unemployment Insurance (UB I) and Basic Income Support (UB II) clients cumulated. Cost-per-person based on author’s calculation and rounded.</a:t>
            </a:r>
          </a:p>
          <a:p>
            <a:pPr eaLnBrk="1" hangingPunct="1"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sz="800">
                <a:solidFill>
                  <a:srgbClr val="000000"/>
                </a:solidFill>
              </a:rPr>
              <a:t>Source: 	FLA Annual Report 2011</a:t>
            </a:r>
          </a:p>
        </p:txBody>
      </p:sp>
      <p:sp>
        <p:nvSpPr>
          <p:cNvPr id="560233" name="Oval 105"/>
          <p:cNvSpPr>
            <a:spLocks noChangeArrowheads="1"/>
          </p:cNvSpPr>
          <p:nvPr/>
        </p:nvSpPr>
        <p:spPr bwMode="auto">
          <a:xfrm>
            <a:off x="8402638" y="2700338"/>
            <a:ext cx="909637" cy="2857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130€ p.p.</a:t>
            </a:r>
          </a:p>
        </p:txBody>
      </p:sp>
      <p:sp>
        <p:nvSpPr>
          <p:cNvPr id="560234" name="Oval 106"/>
          <p:cNvSpPr>
            <a:spLocks noChangeArrowheads="1"/>
          </p:cNvSpPr>
          <p:nvPr/>
        </p:nvSpPr>
        <p:spPr bwMode="auto">
          <a:xfrm>
            <a:off x="8378825" y="3635375"/>
            <a:ext cx="909638" cy="2857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610€ p.p.</a:t>
            </a:r>
          </a:p>
        </p:txBody>
      </p:sp>
      <p:sp>
        <p:nvSpPr>
          <p:cNvPr id="560245" name="Oval 117"/>
          <p:cNvSpPr>
            <a:spLocks noChangeArrowheads="1"/>
          </p:cNvSpPr>
          <p:nvPr/>
        </p:nvSpPr>
        <p:spPr bwMode="auto">
          <a:xfrm>
            <a:off x="8391525" y="4181475"/>
            <a:ext cx="909638" cy="2857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4,400€ p.p.</a:t>
            </a:r>
          </a:p>
        </p:txBody>
      </p:sp>
      <p:sp>
        <p:nvSpPr>
          <p:cNvPr id="560249" name="Oval 121"/>
          <p:cNvSpPr>
            <a:spLocks noChangeArrowheads="1"/>
          </p:cNvSpPr>
          <p:nvPr/>
        </p:nvSpPr>
        <p:spPr bwMode="auto">
          <a:xfrm>
            <a:off x="8405813" y="4699000"/>
            <a:ext cx="909637" cy="2857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12,000€ p.p.</a:t>
            </a:r>
          </a:p>
        </p:txBody>
      </p:sp>
      <p:sp>
        <p:nvSpPr>
          <p:cNvPr id="560260" name="Oval 132"/>
          <p:cNvSpPr>
            <a:spLocks noChangeArrowheads="1"/>
          </p:cNvSpPr>
          <p:nvPr/>
        </p:nvSpPr>
        <p:spPr bwMode="auto">
          <a:xfrm>
            <a:off x="8423275" y="5221288"/>
            <a:ext cx="909638" cy="28575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de-DE" sz="1200" b="1"/>
              <a:t>15,000€ p.p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60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60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560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560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60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0233" grpId="0" animBg="1"/>
      <p:bldP spid="560234" grpId="0" animBg="1"/>
      <p:bldP spid="560245" grpId="0" animBg="1"/>
      <p:bldP spid="560249" grpId="0" animBg="1"/>
      <p:bldP spid="560260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09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6250" y="1643063"/>
            <a:ext cx="8491538" cy="381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/>
          <a:lstStyle/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Although </a:t>
            </a:r>
            <a:r>
              <a:rPr lang="en-US" sz="1600" b="1">
                <a:sym typeface="Wingdings" pitchFamily="2" charset="2"/>
              </a:rPr>
              <a:t>fraud</a:t>
            </a:r>
            <a:r>
              <a:rPr lang="en-US" sz="1600">
                <a:sym typeface="Wingdings" pitchFamily="2" charset="2"/>
              </a:rPr>
              <a:t> (false statistics) </a:t>
            </a:r>
            <a:r>
              <a:rPr lang="en-US" sz="1600" b="1">
                <a:sym typeface="Wingdings" pitchFamily="2" charset="2"/>
              </a:rPr>
              <a:t>and placement underperformance</a:t>
            </a:r>
            <a:r>
              <a:rPr lang="en-US" sz="1600">
                <a:sym typeface="Wingdings" pitchFamily="2" charset="2"/>
              </a:rPr>
              <a:t> (only 10% of FLO staff engaged in “placement” prior to 2003) </a:t>
            </a:r>
            <a:r>
              <a:rPr lang="en-US" sz="1600" b="1">
                <a:sym typeface="Wingdings" pitchFamily="2" charset="2"/>
              </a:rPr>
              <a:t>were the triggers to the Hartz reforms</a:t>
            </a:r>
            <a:r>
              <a:rPr lang="en-US" sz="1600">
                <a:sym typeface="Wingdings" pitchFamily="2" charset="2"/>
              </a:rPr>
              <a:t> …</a:t>
            </a: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… </a:t>
            </a:r>
            <a:r>
              <a:rPr lang="en-US" sz="1600" b="1">
                <a:sym typeface="Wingdings" pitchFamily="2" charset="2"/>
              </a:rPr>
              <a:t>these</a:t>
            </a:r>
            <a:r>
              <a:rPr lang="en-US" sz="1600">
                <a:sym typeface="Wingdings" pitchFamily="2" charset="2"/>
              </a:rPr>
              <a:t> </a:t>
            </a:r>
            <a:r>
              <a:rPr lang="en-US" sz="1600" b="1">
                <a:sym typeface="Wingdings" pitchFamily="2" charset="2"/>
              </a:rPr>
              <a:t>functions have not been subject to outsourcing</a:t>
            </a:r>
            <a:r>
              <a:rPr lang="en-US" sz="1600">
                <a:sym typeface="Wingdings" pitchFamily="2" charset="2"/>
              </a:rPr>
              <a:t> on a major scale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Private providers / vouchers accounted for approx. 13% of placements recorded within the FLA statistics in 2006 (no different dynamic today).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Use of private placement providers mainly capacity-driven, not capability-driven</a:t>
            </a:r>
          </a:p>
          <a:p>
            <a:pPr marL="917575" lvl="1" indent="-3810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Overall spend on subcontracted ALMPs in Germany is below 20%, compared with approx. 2/3 in United Kingdom or Netherlands</a:t>
            </a: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While Hartz I-III impact evaluations have shown some positive effect of voucher systems, there was and is no political support for “privatized” employment services</a:t>
            </a: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Outsourcing mainly concerns delivery of ALMPs (Training, Job rotation and job sharing, Employment incentives, etc.) vs. core job placement functions</a:t>
            </a:r>
            <a:endParaRPr lang="en-GB" sz="1600">
              <a:sym typeface="Wingdings" pitchFamily="2" charset="2"/>
            </a:endParaRPr>
          </a:p>
          <a:p>
            <a:pPr marL="357188" indent="-355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>
                <a:sym typeface="Wingdings" pitchFamily="2" charset="2"/>
              </a:rPr>
              <a:t>Delivery of social services in municipalities via semi-public welfare providers (“Wohlfahrtsverbände”) cannot be classified as outsourcing owing to generally collusive buyer/provider relationship</a:t>
            </a:r>
          </a:p>
        </p:txBody>
      </p:sp>
      <p:sp>
        <p:nvSpPr>
          <p:cNvPr id="516099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798513"/>
            <a:ext cx="8458200" cy="601662"/>
          </a:xfrm>
          <a:noFill/>
        </p:spPr>
        <p:txBody>
          <a:bodyPr anchor="b"/>
          <a:lstStyle/>
          <a:p>
            <a:r>
              <a:rPr lang="en-GB" smtClean="0"/>
              <a:t>Outsourcing concerns approx. 10% of job matching and below 20% of ALMP spending in Germany</a:t>
            </a:r>
          </a:p>
        </p:txBody>
      </p:sp>
      <p:graphicFrame>
        <p:nvGraphicFramePr>
          <p:cNvPr id="516100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4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101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 eaLnBrk="0" hangingPunct="0"/>
            <a:fld id="{C27A63D9-1002-4011-9A67-F140AEC5E0E5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7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16102" name="Text Box 6"/>
          <p:cNvSpPr txBox="1">
            <a:spLocks noChangeArrowheads="1"/>
          </p:cNvSpPr>
          <p:nvPr/>
        </p:nvSpPr>
        <p:spPr bwMode="auto">
          <a:xfrm>
            <a:off x="450850" y="6361113"/>
            <a:ext cx="4230688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800"/>
              <a:t>Sources: FLA 2010,, PolicyExchange (Hilmar Schneider) (2008), Dan Finn (2011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325438" y="3845793"/>
            <a:ext cx="9367837" cy="403225"/>
          </a:xfrm>
          <a:prstGeom prst="rect">
            <a:avLst/>
          </a:prstGeom>
          <a:solidFill>
            <a:srgbClr val="EAEAEA"/>
          </a:solidFill>
          <a:ln w="381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b="1"/>
          </a:p>
        </p:txBody>
      </p:sp>
      <p:sp>
        <p:nvSpPr>
          <p:cNvPr id="18944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438" y="1652588"/>
            <a:ext cx="9109075" cy="140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abor-market </a:t>
            </a:r>
            <a:r>
              <a:rPr lang="en-GB" sz="1800" dirty="0"/>
              <a:t>and reforms in </a:t>
            </a:r>
            <a:r>
              <a:rPr lang="en-GB" sz="1800" dirty="0" smtClean="0"/>
              <a:t>Germany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All together now: governance of </a:t>
            </a:r>
            <a:r>
              <a:rPr lang="en-GB" sz="1800" dirty="0" err="1" smtClean="0"/>
              <a:t>labor</a:t>
            </a:r>
            <a:r>
              <a:rPr lang="en-GB" sz="1800" dirty="0" smtClean="0"/>
              <a:t> market and social inclusion programs</a:t>
            </a:r>
            <a:endParaRPr lang="en-GB" sz="1800" dirty="0"/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 smtClean="0"/>
              <a:t>Linkage </a:t>
            </a:r>
            <a:r>
              <a:rPr lang="en-GB" sz="1800" dirty="0"/>
              <a:t>to </a:t>
            </a:r>
            <a:r>
              <a:rPr lang="en-GB" sz="1800" dirty="0" smtClean="0"/>
              <a:t>social </a:t>
            </a:r>
            <a:r>
              <a:rPr lang="en-GB" sz="1800" dirty="0"/>
              <a:t>a</a:t>
            </a:r>
            <a:r>
              <a:rPr lang="en-GB" sz="1800" dirty="0" smtClean="0"/>
              <a:t>ssistance</a:t>
            </a:r>
            <a:r>
              <a:rPr lang="en-GB" sz="1800" dirty="0"/>
              <a:t>: joint delivery of </a:t>
            </a:r>
            <a:r>
              <a:rPr lang="en-GB" sz="1800" dirty="0" smtClean="0"/>
              <a:t>income support with </a:t>
            </a:r>
            <a:r>
              <a:rPr lang="en-GB" sz="1800" dirty="0"/>
              <a:t>municipaliti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dirty="0"/>
              <a:t>Beyond payments: labour market services and programmes</a:t>
            </a:r>
          </a:p>
          <a:p>
            <a:pPr marL="357188" indent="-355600">
              <a:spcBef>
                <a:spcPct val="50000"/>
              </a:spcBef>
              <a:spcAft>
                <a:spcPct val="5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800" b="1" dirty="0" smtClean="0"/>
              <a:t>Current developments </a:t>
            </a:r>
            <a:r>
              <a:rPr lang="en-GB" sz="1800" b="1" dirty="0"/>
              <a:t>and </a:t>
            </a:r>
            <a:r>
              <a:rPr lang="en-GB" sz="1800" b="1" dirty="0" smtClean="0"/>
              <a:t>challenges</a:t>
            </a:r>
            <a:endParaRPr lang="en-GB" sz="1800" b="1" dirty="0"/>
          </a:p>
        </p:txBody>
      </p:sp>
      <p:sp>
        <p:nvSpPr>
          <p:cNvPr id="189447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/>
              <a:t>Current Challenges in the Joint Delivery of Labor Market Services and Social Assistance in </a:t>
            </a:r>
            <a:r>
              <a:rPr lang="en-US" dirty="0" smtClean="0"/>
              <a:t>Germany</a:t>
            </a:r>
            <a:endParaRPr lang="en-GB" dirty="0" smtClean="0"/>
          </a:p>
        </p:txBody>
      </p:sp>
      <p:graphicFrame>
        <p:nvGraphicFramePr>
          <p:cNvPr id="189444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5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8" name="Rectangle 5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B4A1AF54-4F23-4F38-AA52-64613277B7D1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8</a:t>
            </a:fld>
            <a:endParaRPr lang="de-DE" sz="1200" b="1">
              <a:solidFill>
                <a:srgbClr val="C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1006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970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2438" y="1652588"/>
            <a:ext cx="9109075" cy="18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From status maintenance and long benefit durations to </a:t>
            </a:r>
            <a:r>
              <a:rPr lang="en-GB" sz="1600" dirty="0" err="1">
                <a:sym typeface="Wingdings" pitchFamily="2" charset="2"/>
              </a:rPr>
              <a:t>labor</a:t>
            </a:r>
            <a:r>
              <a:rPr lang="en-GB" sz="1600" dirty="0">
                <a:sym typeface="Wingdings" pitchFamily="2" charset="2"/>
              </a:rPr>
              <a:t> market integration </a:t>
            </a:r>
            <a:br>
              <a:rPr lang="en-GB" sz="1600" dirty="0">
                <a:sym typeface="Wingdings" pitchFamily="2" charset="2"/>
              </a:rPr>
            </a:br>
            <a:r>
              <a:rPr lang="en-GB" sz="1600" dirty="0">
                <a:sym typeface="Wingdings" pitchFamily="2" charset="2"/>
              </a:rPr>
              <a:t>(from “worker citizenship”  “social citizenship”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From labour market reforms only to parallel changes in labour market governance AND intra-firm </a:t>
            </a:r>
            <a:r>
              <a:rPr lang="en-GB" sz="1600" dirty="0" err="1">
                <a:sym typeface="Wingdings" pitchFamily="2" charset="2"/>
              </a:rPr>
              <a:t>flexibilization</a:t>
            </a:r>
            <a:r>
              <a:rPr lang="en-GB" sz="1600" dirty="0">
                <a:sym typeface="Wingdings" pitchFamily="2" charset="2"/>
              </a:rPr>
              <a:t> and new HR practices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From segmented populations to one pool of beneficiaries and delivery channel 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From flexibility at the margins (pre-2005: mini-jobs) to flexibility at the core of the labour market (erosion of collective bargaining, deregulation of temp-labour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From old-school bureaucracy to applied New Public Management</a:t>
            </a:r>
          </a:p>
        </p:txBody>
      </p:sp>
      <p:sp>
        <p:nvSpPr>
          <p:cNvPr id="467971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 bwMode="gray"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US" dirty="0" smtClean="0"/>
              <a:t>Labor market / social safety net reforms in Germany:</a:t>
            </a:r>
            <a:br>
              <a:rPr lang="en-US" dirty="0" smtClean="0"/>
            </a:br>
            <a:r>
              <a:rPr lang="en-US" dirty="0" smtClean="0"/>
              <a:t>main axes of action and general lessons learned</a:t>
            </a:r>
          </a:p>
        </p:txBody>
      </p:sp>
      <p:graphicFrame>
        <p:nvGraphicFramePr>
          <p:cNvPr id="467972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1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7974" name="Rectangle 6"/>
          <p:cNvSpPr>
            <a:spLocks noChangeArrowheads="1"/>
          </p:cNvSpPr>
          <p:nvPr/>
        </p:nvSpPr>
        <p:spPr bwMode="gray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9BB09237-1467-44A3-AAA0-3C570985C8C6}" type="slidenum">
              <a:rPr lang="de-DE" sz="1200" b="1">
                <a:solidFill>
                  <a:srgbClr val="C80000"/>
                </a:solidFill>
              </a:rPr>
              <a:pPr algn="r" eaLnBrk="0" hangingPunct="0"/>
              <a:t>39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300041" name="AutoShape 9"/>
          <p:cNvSpPr>
            <a:spLocks noChangeArrowheads="1"/>
          </p:cNvSpPr>
          <p:nvPr/>
        </p:nvSpPr>
        <p:spPr bwMode="gray">
          <a:xfrm rot="10800000" flipH="1">
            <a:off x="2371725" y="4014788"/>
            <a:ext cx="5399088" cy="287337"/>
          </a:xfrm>
          <a:prstGeom prst="triangle">
            <a:avLst>
              <a:gd name="adj" fmla="val 50000"/>
            </a:avLst>
          </a:prstGeom>
          <a:solidFill>
            <a:srgbClr val="C8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/>
          <a:p>
            <a:pPr algn="ctr" eaLnBrk="0" hangingPunct="0">
              <a:lnSpc>
                <a:spcPct val="90000"/>
              </a:lnSpc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467978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0850" y="4275138"/>
            <a:ext cx="9109075" cy="233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 dirty="0">
                <a:sym typeface="Wingdings" pitchFamily="2" charset="2"/>
              </a:rPr>
              <a:t>Invest into case management and placement-oriented activation measures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 dirty="0">
                <a:sym typeface="Wingdings" pitchFamily="2" charset="2"/>
              </a:rPr>
              <a:t>Invest into capability of the Public Employment Service (PES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 dirty="0">
                <a:sym typeface="Wingdings" pitchFamily="2" charset="2"/>
              </a:rPr>
              <a:t>Allow for local variance via cooperation-model with municipalities while keeping central systems (data standards / reporting) strictly central without compromise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 dirty="0">
                <a:sym typeface="Wingdings" pitchFamily="2" charset="2"/>
              </a:rPr>
              <a:t>Be prepared for a jump in recipients when including the inactive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US" sz="1600" dirty="0">
                <a:sym typeface="Wingdings" pitchFamily="2" charset="2"/>
              </a:rPr>
              <a:t>Make evaluations a mandatory piece of policy and bank on long-term secondary effects (data availability, better ALMPs) even without immediate policy-advice impact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0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00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9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679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0041" grpId="0" animBg="1"/>
      <p:bldP spid="46797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Pre-reform labour market policy focused on “passivation”, low work-requirements and extension of benefits</a:t>
            </a:r>
          </a:p>
        </p:txBody>
      </p:sp>
      <p:graphicFrame>
        <p:nvGraphicFramePr>
          <p:cNvPr id="55398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3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3988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1BBFE71-078C-4CFF-A15E-438CB671E80D}" type="slidenum">
              <a:rPr lang="de-DE" sz="1200" b="1">
                <a:solidFill>
                  <a:srgbClr val="C80000"/>
                </a:solidFill>
              </a:rPr>
              <a:pPr algn="r" eaLnBrk="0" hangingPunct="0"/>
              <a:t>4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5398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0375" y="1668463"/>
            <a:ext cx="8867775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endParaRPr lang="en-GB" sz="1800">
              <a:sym typeface="Wingdings" pitchFamily="2" charset="2"/>
            </a:endParaRPr>
          </a:p>
        </p:txBody>
      </p:sp>
      <p:sp>
        <p:nvSpPr>
          <p:cNvPr id="553990" name="Text Box 14"/>
          <p:cNvSpPr txBox="1">
            <a:spLocks noChangeArrowheads="1"/>
          </p:cNvSpPr>
          <p:nvPr/>
        </p:nvSpPr>
        <p:spPr bwMode="auto">
          <a:xfrm>
            <a:off x="501650" y="6118225"/>
            <a:ext cx="83407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de-DE" sz="800"/>
              <a:t>Source: Gut gerüstet. Fundamente und Perspektiven einer modernen Arbeitsmarktpolitik, FLA 2009</a:t>
            </a:r>
          </a:p>
        </p:txBody>
      </p:sp>
      <p:sp>
        <p:nvSpPr>
          <p:cNvPr id="553992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788" y="1657350"/>
            <a:ext cx="8867775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In 2002, one third of Germany’s labour force potential was not utilized 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Status-maintenance as main social safety net goal: contribution-financed “Unemployment Benefit” (</a:t>
            </a:r>
            <a:r>
              <a:rPr lang="en-GB" sz="1800" i="1">
                <a:sym typeface="Wingdings" pitchFamily="2" charset="2"/>
              </a:rPr>
              <a:t>Arbeitslosengeld</a:t>
            </a:r>
            <a:r>
              <a:rPr lang="en-GB" sz="1800">
                <a:sym typeface="Wingdings" pitchFamily="2" charset="2"/>
              </a:rPr>
              <a:t>) and tax-financed “Unemployment-Assistance” (</a:t>
            </a:r>
            <a:r>
              <a:rPr lang="en-GB" sz="1800" i="1">
                <a:sym typeface="Wingdings" pitchFamily="2" charset="2"/>
              </a:rPr>
              <a:t>Arbeitslosenhilfe</a:t>
            </a:r>
            <a:r>
              <a:rPr lang="en-GB" sz="1800">
                <a:sym typeface="Wingdings" pitchFamily="2" charset="2"/>
              </a:rPr>
              <a:t>) maintained earnings at </a:t>
            </a:r>
            <a:r>
              <a:rPr lang="en-GB" sz="1800">
                <a:sym typeface="Symbol" pitchFamily="18" charset="2"/>
              </a:rPr>
              <a:t>65% for more than 3 years (in some cases even longer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Symbol" pitchFamily="18" charset="2"/>
              </a:rPr>
              <a:t>Work requirements were low: (1) new job had to yield at least as much as Unemployment Benefit, (2) almost no requirement of spatial mobility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“Passivation” as core strategy: early retirement, shifting of unemployed out of statistics into other forms of maintenance (household-members, etc.)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Post 1990, unification-induced adjustment costs were loaded on contribution-financed insurance systems (East German industrial restructuring and retraining), increasing non-wage labour-costs and contributing to unemployment</a:t>
            </a:r>
          </a:p>
          <a:p>
            <a:pPr marL="357188" indent="-355600">
              <a:spcBef>
                <a:spcPct val="15000"/>
              </a:spcBef>
              <a:spcAft>
                <a:spcPct val="15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800">
                <a:sym typeface="Wingdings" pitchFamily="2" charset="2"/>
              </a:rPr>
              <a:t>Attempts for public management reform at Federal Labour Office “Arbeitsamt 2000” initiated in late 1990s but stunted by lack of political suppor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39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4210" y="4795950"/>
            <a:ext cx="910907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b="1" dirty="0" smtClean="0"/>
              <a:t>The World Bank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Europe &amp; Central Asia Region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Human Development Unit / Social Protection Sector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Ulrich </a:t>
            </a:r>
            <a:r>
              <a:rPr lang="en-GB" sz="1200" dirty="0" err="1" smtClean="0"/>
              <a:t>Hoerning</a:t>
            </a:r>
            <a:endParaRPr lang="en-GB" sz="1200" dirty="0" smtClean="0"/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Senior Social Protection Economist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uhoerning@worldbank.org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r>
              <a:rPr lang="en-GB" sz="1200" dirty="0" smtClean="0"/>
              <a:t>Tel: +1 202 473 4972</a:t>
            </a:r>
          </a:p>
          <a:p>
            <a:pPr marL="357188" indent="-355600">
              <a:spcBef>
                <a:spcPct val="10000"/>
              </a:spcBef>
              <a:spcAft>
                <a:spcPct val="10000"/>
              </a:spcAft>
              <a:buClr>
                <a:srgbClr val="CC0000"/>
              </a:buClr>
              <a:buFont typeface="Wingdings" pitchFamily="2" charset="2"/>
              <a:buNone/>
            </a:pPr>
            <a:endParaRPr lang="en-GB" sz="1200" dirty="0"/>
          </a:p>
        </p:txBody>
      </p:sp>
      <p:graphicFrame>
        <p:nvGraphicFramePr>
          <p:cNvPr id="315395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5397" name="Rectangle 4"/>
          <p:cNvSpPr>
            <a:spLocks noGrp="1" noChangeArrowheads="1"/>
          </p:cNvSpPr>
          <p:nvPr>
            <p:ph type="title"/>
          </p:nvPr>
        </p:nvSpPr>
        <p:spPr>
          <a:xfrm>
            <a:off x="444500" y="1079500"/>
            <a:ext cx="8458200" cy="357188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THANK YOU / VIELEN DANK!</a:t>
            </a:r>
          </a:p>
        </p:txBody>
      </p:sp>
      <p:sp>
        <p:nvSpPr>
          <p:cNvPr id="315401" name="Rectangle 8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84686432-E5D5-45A7-9008-00733217B4FF}" type="slidenum">
              <a:rPr lang="en-GB" sz="1200" b="1">
                <a:solidFill>
                  <a:srgbClr val="C80000"/>
                </a:solidFill>
              </a:rPr>
              <a:pPr algn="r" eaLnBrk="0" hangingPunct="0"/>
              <a:t>40</a:t>
            </a:fld>
            <a:endParaRPr lang="en-GB" sz="1200" b="1">
              <a:solidFill>
                <a:srgbClr val="C8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794" name="Rectangle 2"/>
          <p:cNvSpPr>
            <a:spLocks noGrp="1" noChangeArrowheads="1"/>
          </p:cNvSpPr>
          <p:nvPr>
            <p:ph type="title"/>
          </p:nvPr>
        </p:nvSpPr>
        <p:spPr>
          <a:xfrm>
            <a:off x="444500" y="1044575"/>
            <a:ext cx="8458200" cy="357188"/>
          </a:xfrm>
          <a:noFill/>
        </p:spPr>
        <p:txBody>
          <a:bodyPr anchor="b"/>
          <a:lstStyle/>
          <a:p>
            <a:r>
              <a:rPr lang="en-US" smtClean="0"/>
              <a:t>Forging of statistics at PES </a:t>
            </a:r>
            <a:r>
              <a:rPr lang="en-US" i="1" smtClean="0"/>
              <a:t>Bundesanstalt für Arbeit</a:t>
            </a:r>
            <a:r>
              <a:rPr lang="en-US" smtClean="0"/>
              <a:t> provides the window of opportunity for labor market reforms in 2002</a:t>
            </a:r>
          </a:p>
        </p:txBody>
      </p:sp>
      <p:sp>
        <p:nvSpPr>
          <p:cNvPr id="545795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6738" y="1751013"/>
            <a:ext cx="3209925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2002 „Placement Scandal“</a:t>
            </a:r>
          </a:p>
        </p:txBody>
      </p:sp>
      <p:sp>
        <p:nvSpPr>
          <p:cNvPr id="54579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6738" y="2260600"/>
            <a:ext cx="3209925" cy="417512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Federal Audit Court discovered in 2002 that Federal Labour Office had forged placement statistic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Chancellor Gerhard Schröder installs a government commission to propose changes in labor market policy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What started to redesign the institutional setup of the Federal Labour Office …</a:t>
            </a:r>
          </a:p>
        </p:txBody>
      </p:sp>
      <p:sp>
        <p:nvSpPr>
          <p:cNvPr id="54579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64038" y="1751013"/>
            <a:ext cx="5102225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US" sz="1600" b="1">
                <a:solidFill>
                  <a:schemeClr val="bg1"/>
                </a:solidFill>
              </a:rPr>
              <a:t>„Hartz“ – Commission and Laws 2002-2005</a:t>
            </a:r>
          </a:p>
        </p:txBody>
      </p:sp>
      <p:sp>
        <p:nvSpPr>
          <p:cNvPr id="54579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64038" y="2260600"/>
            <a:ext cx="5102225" cy="4175125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… became a big change in welfare state design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Commission named after former Volkswagen board member Peter Hartz. Commission results led to 4 laws: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Hartz I: Redesign of new ALMP measures (2003)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Hartz II: Reform of mini-jobs and introduction of “Me-Inc.”, Deregulation of Temp-Agency Work (2003)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Hartz III: Re-Organization of Federal Labor Office into Federal Labour Agency (2004)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US" sz="1400"/>
              <a:t>Hartz IV: Merging of tax-</a:t>
            </a:r>
            <a:br>
              <a:rPr lang="en-US" sz="1400"/>
            </a:br>
            <a:r>
              <a:rPr lang="en-US" sz="1400"/>
              <a:t>financed, means-tested</a:t>
            </a:r>
            <a:br>
              <a:rPr lang="en-US" sz="1400"/>
            </a:br>
            <a:r>
              <a:rPr lang="en-US" sz="1400"/>
              <a:t>benefits into “Basic Income</a:t>
            </a:r>
            <a:br>
              <a:rPr lang="en-US" sz="1400"/>
            </a:br>
            <a:r>
              <a:rPr lang="en-US" sz="1400"/>
              <a:t>Support” (2005)</a:t>
            </a:r>
          </a:p>
        </p:txBody>
      </p:sp>
      <p:pic>
        <p:nvPicPr>
          <p:cNvPr id="545799" name="Picture 7" descr="Rij voor het arbeidsbureau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4748213"/>
            <a:ext cx="2170113" cy="158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5800" name="Picture 8" descr="Hartz Result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263" y="4672013"/>
            <a:ext cx="21336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5801" name="AutoShape 9"/>
          <p:cNvSpPr>
            <a:spLocks noChangeArrowheads="1"/>
          </p:cNvSpPr>
          <p:nvPr/>
        </p:nvSpPr>
        <p:spPr bwMode="auto">
          <a:xfrm rot="5400000" flipH="1">
            <a:off x="2423319" y="3960019"/>
            <a:ext cx="3316287" cy="288925"/>
          </a:xfrm>
          <a:prstGeom prst="triangle">
            <a:avLst>
              <a:gd name="adj" fmla="val 50000"/>
            </a:avLst>
          </a:prstGeom>
          <a:solidFill>
            <a:srgbClr val="C8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anchor="ctr"/>
          <a:lstStyle/>
          <a:p>
            <a:pPr algn="ctr" eaLnBrk="0" hangingPunct="0">
              <a:lnSpc>
                <a:spcPct val="90000"/>
              </a:lnSpc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45802" name="Text Box 10"/>
          <p:cNvSpPr txBox="1">
            <a:spLocks noChangeArrowheads="1"/>
          </p:cNvSpPr>
          <p:nvPr/>
        </p:nvSpPr>
        <p:spPr bwMode="auto">
          <a:xfrm>
            <a:off x="4314825" y="6259513"/>
            <a:ext cx="2890838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sz="800"/>
              <a:t>Source: Konle-Seidl (2008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74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80803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The ambitious </a:t>
            </a:r>
            <a:r>
              <a:rPr lang="en-GB" dirty="0" err="1" smtClean="0"/>
              <a:t>Hartz</a:t>
            </a:r>
            <a:r>
              <a:rPr lang="en-GB" dirty="0" smtClean="0"/>
              <a:t> reform package has been continuously amended politically and constitutionally since 2005 </a:t>
            </a:r>
          </a:p>
        </p:txBody>
      </p:sp>
      <p:graphicFrame>
        <p:nvGraphicFramePr>
          <p:cNvPr id="543747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4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3748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F86F7AC2-FBDF-4586-94CF-558E3D70A0E2}" type="slidenum">
              <a:rPr lang="de-DE" sz="1200" b="1">
                <a:solidFill>
                  <a:srgbClr val="C80000"/>
                </a:solidFill>
              </a:rPr>
              <a:pPr algn="r" eaLnBrk="0" hangingPunct="0"/>
              <a:t>6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54375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65150" y="1768476"/>
            <a:ext cx="1806575" cy="2503274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“Hartz” Reform Package</a:t>
            </a:r>
          </a:p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(2002-2005)</a:t>
            </a:r>
          </a:p>
        </p:txBody>
      </p:sp>
      <p:sp>
        <p:nvSpPr>
          <p:cNvPr id="54375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5150" y="4380931"/>
            <a:ext cx="1806575" cy="191985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Post-“Hartz” Adjustments</a:t>
            </a:r>
          </a:p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(2006-today)</a:t>
            </a:r>
          </a:p>
        </p:txBody>
      </p:sp>
      <p:graphicFrame>
        <p:nvGraphicFramePr>
          <p:cNvPr id="543901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531128"/>
              </p:ext>
            </p:extLst>
          </p:nvPr>
        </p:nvGraphicFramePr>
        <p:xfrm>
          <a:off x="2486025" y="1770063"/>
          <a:ext cx="6842125" cy="2506709"/>
        </p:xfrm>
        <a:graphic>
          <a:graphicData uri="http://schemas.openxmlformats.org/drawingml/2006/table">
            <a:tbl>
              <a:tblPr/>
              <a:tblGrid>
                <a:gridCol w="1428750"/>
                <a:gridCol w="2706688"/>
                <a:gridCol w="2706687"/>
              </a:tblGrid>
              <a:tr h="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La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2759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egulation Are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275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508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artz I (2003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0" indent="-179388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emp-Labour law relaxation</a:t>
                      </a:r>
                    </a:p>
                    <a:p>
                      <a:pPr marL="180975" marR="0" lvl="0" indent="-179388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ublic temp-labour agenci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0" indent="-179388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raining vouchers</a:t>
                      </a:r>
                    </a:p>
                    <a:p>
                      <a:pPr marL="180975" marR="0" lvl="0" indent="-179388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form of professional training </a:t>
                      </a: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endParaRPr kumimoji="0" lang="en-GB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ronger work-requirements</a:t>
                      </a:r>
                    </a:p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ore flexible sanction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arly UnE notification requirement</a:t>
                      </a:r>
                    </a:p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igher maintenance requirements of family members for beneficiaries</a:t>
                      </a: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3561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artz II (2003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elf-Employment (“</a:t>
                      </a:r>
                      <a:r>
                        <a:rPr kumimoji="0" lang="en-GB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ch</a:t>
                      </a: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AG”) </a:t>
                      </a:r>
                    </a:p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ini-(&lt;400€) and Midi-(&lt;800€) Job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troduction of Job-Center Joint Delivery Structure of FLA/Municiapal.</a:t>
                      </a:r>
                    </a:p>
                  </a:txBody>
                  <a:tcPr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artz III (2004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structuring of Federal Labour Office into Federal Labour Agenc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0850">
                <a:tc>
                  <a:txBody>
                    <a:bodyPr/>
                    <a:lstStyle/>
                    <a:p>
                      <a:pPr marL="1588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C4004C"/>
                        </a:buClr>
                        <a:buSzTx/>
                        <a:buFont typeface="Monotype Sorts" pitchFamily="2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artz IV (2005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0" indent="-17780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500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rging of Unemployment Assistance and Social Assistance into Basic Income Support for Unemployed Jobseekers (Unemployment Benefit I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43835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81263" y="4380931"/>
            <a:ext cx="6846887" cy="1178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>
                <a:sym typeface="Wingdings" pitchFamily="2" charset="2"/>
              </a:rPr>
              <a:t>2008: Extension of maximum duration of social insurance Unemployment Benefit I for 58+ year-olds to up to 24 months</a:t>
            </a:r>
          </a:p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>
                <a:sym typeface="Wingdings" pitchFamily="2" charset="2"/>
              </a:rPr>
              <a:t>2007: </a:t>
            </a:r>
            <a:r>
              <a:rPr lang="en-GB" sz="1400" dirty="0" smtClean="0">
                <a:sym typeface="Wingdings" pitchFamily="2" charset="2"/>
              </a:rPr>
              <a:t>Constitutional Court (CC) </a:t>
            </a:r>
            <a:r>
              <a:rPr lang="en-GB" sz="1400" dirty="0">
                <a:sym typeface="Wingdings" pitchFamily="2" charset="2"/>
              </a:rPr>
              <a:t>declares joint </a:t>
            </a:r>
            <a:r>
              <a:rPr lang="en-GB" sz="1400" dirty="0" smtClean="0">
                <a:sym typeface="Wingdings" pitchFamily="2" charset="2"/>
              </a:rPr>
              <a:t>delivery </a:t>
            </a:r>
            <a:r>
              <a:rPr lang="en-GB" sz="1400" dirty="0">
                <a:sym typeface="Wingdings" pitchFamily="2" charset="2"/>
              </a:rPr>
              <a:t>units </a:t>
            </a:r>
            <a:r>
              <a:rPr lang="en-GB" sz="1400" dirty="0" smtClean="0">
                <a:sym typeface="Wingdings" pitchFamily="2" charset="2"/>
              </a:rPr>
              <a:t>unconstitutional</a:t>
            </a:r>
          </a:p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 smtClean="0">
                <a:sym typeface="Wingdings" pitchFamily="2" charset="2"/>
              </a:rPr>
              <a:t>2010</a:t>
            </a:r>
            <a:r>
              <a:rPr lang="en-GB" sz="1400" dirty="0">
                <a:sym typeface="Wingdings" pitchFamily="2" charset="2"/>
              </a:rPr>
              <a:t>: Constitutional amendment to allow joint </a:t>
            </a:r>
            <a:r>
              <a:rPr lang="en-GB" sz="1400" dirty="0" smtClean="0">
                <a:sym typeface="Wingdings" pitchFamily="2" charset="2"/>
              </a:rPr>
              <a:t>operation / greater role for </a:t>
            </a:r>
            <a:r>
              <a:rPr lang="en-GB" sz="1400" dirty="0" err="1" smtClean="0">
                <a:sym typeface="Wingdings" pitchFamily="2" charset="2"/>
              </a:rPr>
              <a:t>Länder</a:t>
            </a:r>
            <a:endParaRPr lang="en-GB" sz="1400" dirty="0">
              <a:sym typeface="Wingdings" pitchFamily="2" charset="2"/>
            </a:endParaRPr>
          </a:p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 smtClean="0">
                <a:sym typeface="Wingdings" pitchFamily="2" charset="2"/>
              </a:rPr>
              <a:t>2011: Reduction </a:t>
            </a:r>
            <a:r>
              <a:rPr lang="en-GB" sz="1400" dirty="0">
                <a:sym typeface="Wingdings" pitchFamily="2" charset="2"/>
              </a:rPr>
              <a:t>of ALMP-spending in light of </a:t>
            </a:r>
            <a:r>
              <a:rPr lang="en-GB" sz="1400" dirty="0" smtClean="0">
                <a:sym typeface="Wingdings" pitchFamily="2" charset="2"/>
              </a:rPr>
              <a:t>evaluation </a:t>
            </a:r>
            <a:r>
              <a:rPr lang="en-GB" sz="1400" dirty="0">
                <a:sym typeface="Wingdings" pitchFamily="2" charset="2"/>
              </a:rPr>
              <a:t>results </a:t>
            </a:r>
            <a:endParaRPr lang="en-GB" sz="1400" dirty="0" smtClean="0">
              <a:sym typeface="Wingdings" pitchFamily="2" charset="2"/>
            </a:endParaRPr>
          </a:p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 smtClean="0">
                <a:sym typeface="Wingdings" pitchFamily="2" charset="2"/>
              </a:rPr>
              <a:t>2011: Inclusion of “Education and Cultural Inclusion” package (after CC ruling)</a:t>
            </a:r>
          </a:p>
          <a:p>
            <a:pPr marL="357188" indent="-355600"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400" dirty="0" smtClean="0">
                <a:sym typeface="Wingdings" pitchFamily="2" charset="2"/>
              </a:rPr>
              <a:t>2014: Likely expansion of independent (“Option”) municipal delivery model</a:t>
            </a:r>
            <a:endParaRPr lang="en-GB" sz="1400" dirty="0">
              <a:sym typeface="Wingdings" pitchFamily="2" charset="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866" name="Title 3"/>
          <p:cNvSpPr>
            <a:spLocks noGrp="1"/>
          </p:cNvSpPr>
          <p:nvPr>
            <p:ph type="title" idx="4294967295"/>
          </p:nvPr>
        </p:nvSpPr>
        <p:spPr>
          <a:xfrm>
            <a:off x="460375" y="777875"/>
            <a:ext cx="8458200" cy="639763"/>
          </a:xfrm>
        </p:spPr>
        <p:txBody>
          <a:bodyPr anchor="b"/>
          <a:lstStyle/>
          <a:p>
            <a:pPr eaLnBrk="1" hangingPunct="1"/>
            <a:r>
              <a:rPr lang="en-GB" smtClean="0"/>
              <a:t>The 2003-2005 reform package: Re-organized Federal Labour Agency, merged benefits, more activation, labour law reform</a:t>
            </a:r>
          </a:p>
        </p:txBody>
      </p:sp>
      <p:sp>
        <p:nvSpPr>
          <p:cNvPr id="420867" name="Rectangle 3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C31F4D84-355E-4C45-81FF-7C6011F9787E}" type="slidenum">
              <a:rPr lang="en-GB" sz="1200" b="1">
                <a:solidFill>
                  <a:srgbClr val="C80000"/>
                </a:solidFill>
              </a:rPr>
              <a:pPr algn="r" eaLnBrk="0" hangingPunct="0"/>
              <a:t>7</a:t>
            </a:fld>
            <a:endParaRPr lang="en-GB" sz="1200" b="1">
              <a:solidFill>
                <a:srgbClr val="C80000"/>
              </a:solidFill>
            </a:endParaRPr>
          </a:p>
        </p:txBody>
      </p:sp>
      <p:sp>
        <p:nvSpPr>
          <p:cNvPr id="42086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6738" y="1751013"/>
            <a:ext cx="4100512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(1) Redesigning the </a:t>
            </a:r>
            <a:br>
              <a:rPr lang="en-GB" sz="1600" b="1">
                <a:solidFill>
                  <a:schemeClr val="bg1"/>
                </a:solidFill>
              </a:rPr>
            </a:br>
            <a:r>
              <a:rPr lang="en-GB" sz="1600" b="1">
                <a:solidFill>
                  <a:schemeClr val="bg1"/>
                </a:solidFill>
              </a:rPr>
              <a:t>Federal Labour Office</a:t>
            </a:r>
          </a:p>
        </p:txBody>
      </p:sp>
      <p:sp>
        <p:nvSpPr>
          <p:cNvPr id="42086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6738" y="2260600"/>
            <a:ext cx="4100512" cy="2319338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Reorganization of public employment services (</a:t>
            </a:r>
            <a:r>
              <a:rPr lang="en-GB" sz="1400" b="1"/>
              <a:t>Federal Labour Agency</a:t>
            </a:r>
            <a:r>
              <a:rPr lang="en-GB" sz="1400"/>
              <a:t>)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Improved service standards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Joint delivery structures with municipalities for Basic Income Support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Comprehensive evaluation scheme (increasing relevance to policy makers)</a:t>
            </a:r>
          </a:p>
        </p:txBody>
      </p:sp>
      <p:sp>
        <p:nvSpPr>
          <p:cNvPr id="42087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213350" y="1751013"/>
            <a:ext cx="4100513" cy="509587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(2) Merging and Shortening of Benefits / </a:t>
            </a:r>
            <a:br>
              <a:rPr lang="en-GB" sz="1600" b="1">
                <a:solidFill>
                  <a:schemeClr val="bg1"/>
                </a:solidFill>
              </a:rPr>
            </a:br>
            <a:r>
              <a:rPr lang="en-GB" sz="1600" b="1">
                <a:solidFill>
                  <a:schemeClr val="bg1"/>
                </a:solidFill>
              </a:rPr>
              <a:t>Focus on Activation</a:t>
            </a:r>
          </a:p>
        </p:txBody>
      </p:sp>
      <p:sp>
        <p:nvSpPr>
          <p:cNvPr id="420871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13350" y="2260600"/>
            <a:ext cx="4100513" cy="2319338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69875" indent="-269875" defTabSz="857250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Shortened duration of initial UnE-insurance benefit to 12 months*</a:t>
            </a:r>
          </a:p>
          <a:p>
            <a:pPr marL="269875" indent="-269875" defTabSz="857250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Merged tax-financed benefit into single lump-sum transfer (with in-work allowance) and defined broad eligibility base (all 18-65 year-olds, able to work &gt; 3h / day)</a:t>
            </a:r>
          </a:p>
          <a:p>
            <a:pPr marL="269875" indent="-269875" defTabSz="857250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Linked benefits and sanctions to matching, activation and training services</a:t>
            </a:r>
          </a:p>
          <a:p>
            <a:pPr marL="269875" indent="-269875" defTabSz="857250" eaLnBrk="0" hangingPunct="0">
              <a:spcBef>
                <a:spcPct val="10000"/>
              </a:spcBef>
              <a:spcAft>
                <a:spcPct val="1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Required mutual responsibilities – proactive behaviour of the unemployed</a:t>
            </a:r>
          </a:p>
        </p:txBody>
      </p:sp>
      <p:sp>
        <p:nvSpPr>
          <p:cNvPr id="420872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150" y="4749800"/>
            <a:ext cx="8763000" cy="373063"/>
          </a:xfrm>
          <a:prstGeom prst="rect">
            <a:avLst/>
          </a:prstGeom>
          <a:solidFill>
            <a:srgbClr val="02759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defTabSz="857250" eaLnBrk="0" hangingPunct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en-GB" sz="1600" b="1">
                <a:solidFill>
                  <a:schemeClr val="bg1"/>
                </a:solidFill>
              </a:rPr>
              <a:t>(3) Labour Market Reform / Self-Regulation</a:t>
            </a:r>
          </a:p>
        </p:txBody>
      </p:sp>
      <p:sp>
        <p:nvSpPr>
          <p:cNvPr id="420873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5150" y="5126038"/>
            <a:ext cx="8763000" cy="1174750"/>
          </a:xfrm>
          <a:prstGeom prst="rect">
            <a:avLst/>
          </a:prstGeom>
          <a:solidFill>
            <a:schemeClr val="bg1"/>
          </a:solidFill>
          <a:ln w="8001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Deregulation of the temporary work sector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/>
              <a:t>Allow exemptions from restrictions on fixed-term contracts and dismissal protection</a:t>
            </a:r>
          </a:p>
          <a:p>
            <a:pPr marL="269875" indent="-269875" defTabSz="857250" eaLnBrk="0" hangingPunct="0">
              <a:spcBef>
                <a:spcPct val="20000"/>
              </a:spcBef>
              <a:spcAft>
                <a:spcPct val="2000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</a:pPr>
            <a:r>
              <a:rPr lang="en-GB" sz="1400" u="sng"/>
              <a:t>But:</a:t>
            </a:r>
            <a:r>
              <a:rPr lang="en-GB" sz="1400"/>
              <a:t> No fundamental switch away from German cooperative capitalism model, e.g. flexible handling of work hour accounts agreed within collective-bargaining system</a:t>
            </a:r>
          </a:p>
        </p:txBody>
      </p:sp>
      <p:sp>
        <p:nvSpPr>
          <p:cNvPr id="420874" name="Text Box 15"/>
          <p:cNvSpPr txBox="1">
            <a:spLocks noChangeArrowheads="1"/>
          </p:cNvSpPr>
          <p:nvPr/>
        </p:nvSpPr>
        <p:spPr bwMode="gray">
          <a:xfrm>
            <a:off x="565150" y="6300788"/>
            <a:ext cx="46370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57188" indent="-35718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/>
              <a:t>*   Duration extended to 24 months for over-58 year old workers in 03/2008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914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452438" y="798513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dirty="0" smtClean="0"/>
              <a:t>Post-2005 model was simplified to a two-tier system between social insurance and social assistance</a:t>
            </a:r>
          </a:p>
        </p:txBody>
      </p:sp>
      <p:graphicFrame>
        <p:nvGraphicFramePr>
          <p:cNvPr id="422915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7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291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2450" y="1389063"/>
            <a:ext cx="9061450" cy="466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2917" name="Rectangle 5"/>
          <p:cNvSpPr>
            <a:spLocks noChangeArrowheads="1"/>
          </p:cNvSpPr>
          <p:nvPr/>
        </p:nvSpPr>
        <p:spPr bwMode="gray">
          <a:xfrm>
            <a:off x="5291138" y="5699125"/>
            <a:ext cx="3998912" cy="6032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indent="1588">
              <a:spcBef>
                <a:spcPct val="50000"/>
              </a:spcBef>
              <a:buClr>
                <a:srgbClr val="C4004C"/>
              </a:buClr>
              <a:buFont typeface="Monotype Sorts" pitchFamily="2" charset="2"/>
              <a:buNone/>
            </a:pPr>
            <a:r>
              <a:rPr lang="en-GB" sz="1200" b="1"/>
              <a:t>Continuation of old „Social Assistance“ as SGB XII for recipients not-capable of working and 65+years traditionally funded by municipalities. **</a:t>
            </a:r>
          </a:p>
        </p:txBody>
      </p:sp>
      <p:sp>
        <p:nvSpPr>
          <p:cNvPr id="422918" name="Rectangle 6"/>
          <p:cNvSpPr>
            <a:spLocks noChangeArrowheads="1"/>
          </p:cNvSpPr>
          <p:nvPr/>
        </p:nvSpPr>
        <p:spPr bwMode="gray">
          <a:xfrm>
            <a:off x="5791200" y="5111750"/>
            <a:ext cx="755650" cy="21272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SGB II</a:t>
            </a:r>
          </a:p>
        </p:txBody>
      </p:sp>
      <p:sp>
        <p:nvSpPr>
          <p:cNvPr id="422919" name="Rectangle 7"/>
          <p:cNvSpPr>
            <a:spLocks noChangeArrowheads="1"/>
          </p:cNvSpPr>
          <p:nvPr/>
        </p:nvSpPr>
        <p:spPr bwMode="gray">
          <a:xfrm>
            <a:off x="5757863" y="3078163"/>
            <a:ext cx="755650" cy="21272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SGB III</a:t>
            </a:r>
          </a:p>
        </p:txBody>
      </p:sp>
      <p:sp>
        <p:nvSpPr>
          <p:cNvPr id="422920" name="Rectangle 8"/>
          <p:cNvSpPr>
            <a:spLocks noChangeArrowheads="1"/>
          </p:cNvSpPr>
          <p:nvPr/>
        </p:nvSpPr>
        <p:spPr bwMode="gray">
          <a:xfrm>
            <a:off x="5233988" y="3554059"/>
            <a:ext cx="4335462" cy="2049231"/>
          </a:xfrm>
          <a:prstGeom prst="rect">
            <a:avLst/>
          </a:prstGeom>
          <a:noFill/>
          <a:ln w="381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422921" name="Rectangle 9"/>
          <p:cNvSpPr>
            <a:spLocks noChangeArrowheads="1"/>
          </p:cNvSpPr>
          <p:nvPr/>
        </p:nvSpPr>
        <p:spPr bwMode="gray">
          <a:xfrm>
            <a:off x="5242873" y="3554059"/>
            <a:ext cx="3892550" cy="384175"/>
          </a:xfrm>
          <a:prstGeom prst="rect">
            <a:avLst/>
          </a:prstGeom>
          <a:noFill/>
          <a:ln w="381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200" b="1" dirty="0"/>
              <a:t>Primary Focus of this presentation: </a:t>
            </a:r>
            <a:br>
              <a:rPr lang="en-GB" sz="1200" b="1" dirty="0"/>
            </a:br>
            <a:r>
              <a:rPr lang="en-GB" sz="1200" b="1" dirty="0" smtClean="0"/>
              <a:t>Basic Income Support (BIS)</a:t>
            </a:r>
            <a:endParaRPr lang="en-GB" sz="1200" b="1" dirty="0"/>
          </a:p>
        </p:txBody>
      </p:sp>
      <p:sp>
        <p:nvSpPr>
          <p:cNvPr id="422922" name="Rectangle 10"/>
          <p:cNvSpPr>
            <a:spLocks noChangeArrowheads="1"/>
          </p:cNvSpPr>
          <p:nvPr/>
        </p:nvSpPr>
        <p:spPr bwMode="gray">
          <a:xfrm>
            <a:off x="3733492" y="3011488"/>
            <a:ext cx="920750" cy="91757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Federal </a:t>
            </a:r>
            <a:br>
              <a:rPr lang="en-GB" sz="1200" b="1"/>
            </a:br>
            <a:r>
              <a:rPr lang="en-GB" sz="1200" b="1"/>
              <a:t>Labour </a:t>
            </a:r>
            <a:br>
              <a:rPr lang="en-GB" sz="1200" b="1"/>
            </a:br>
            <a:r>
              <a:rPr lang="en-GB" sz="1200" b="1"/>
              <a:t>Office </a:t>
            </a:r>
            <a:br>
              <a:rPr lang="en-GB" sz="1200" b="1"/>
            </a:br>
            <a:r>
              <a:rPr lang="en-GB" sz="1200" b="1"/>
              <a:t>(“Bundes-</a:t>
            </a:r>
            <a:br>
              <a:rPr lang="en-GB" sz="1200" b="1"/>
            </a:br>
            <a:r>
              <a:rPr lang="en-GB" sz="1200" b="1"/>
              <a:t>anstalt”)</a:t>
            </a:r>
          </a:p>
        </p:txBody>
      </p:sp>
      <p:sp>
        <p:nvSpPr>
          <p:cNvPr id="422923" name="Rectangle 11"/>
          <p:cNvSpPr>
            <a:spLocks noChangeArrowheads="1"/>
          </p:cNvSpPr>
          <p:nvPr/>
        </p:nvSpPr>
        <p:spPr bwMode="gray">
          <a:xfrm>
            <a:off x="8154988" y="2384425"/>
            <a:ext cx="1303337" cy="91757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GB" sz="1200" b="1"/>
              <a:t>Federal </a:t>
            </a:r>
            <a:br>
              <a:rPr lang="en-GB" sz="1200" b="1"/>
            </a:br>
            <a:r>
              <a:rPr lang="en-GB" sz="1200" b="1"/>
              <a:t>Labour </a:t>
            </a:r>
            <a:br>
              <a:rPr lang="en-GB" sz="1200" b="1"/>
            </a:br>
            <a:r>
              <a:rPr lang="en-GB" sz="1200" b="1"/>
              <a:t>Agency </a:t>
            </a:r>
            <a:br>
              <a:rPr lang="en-GB" sz="1200" b="1"/>
            </a:br>
            <a:r>
              <a:rPr lang="en-GB" sz="1200" b="1"/>
              <a:t>(FLA, “Bundes-</a:t>
            </a:r>
            <a:br>
              <a:rPr lang="en-GB" sz="1200" b="1"/>
            </a:br>
            <a:r>
              <a:rPr lang="en-GB" sz="1200" b="1"/>
              <a:t>agentur”)</a:t>
            </a:r>
          </a:p>
        </p:txBody>
      </p:sp>
      <p:sp>
        <p:nvSpPr>
          <p:cNvPr id="422924" name="Rectangle 12"/>
          <p:cNvSpPr>
            <a:spLocks noChangeArrowheads="1"/>
          </p:cNvSpPr>
          <p:nvPr/>
        </p:nvSpPr>
        <p:spPr bwMode="gray">
          <a:xfrm>
            <a:off x="7640638" y="2705100"/>
            <a:ext cx="304800" cy="24447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100"/>
              <a:t>(24)*</a:t>
            </a:r>
          </a:p>
        </p:txBody>
      </p:sp>
      <p:sp>
        <p:nvSpPr>
          <p:cNvPr id="422925" name="Rectangle 13"/>
          <p:cNvSpPr>
            <a:spLocks noChangeArrowheads="1"/>
          </p:cNvSpPr>
          <p:nvPr/>
        </p:nvSpPr>
        <p:spPr bwMode="gray">
          <a:xfrm>
            <a:off x="7699067" y="4049713"/>
            <a:ext cx="304800" cy="1651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100" dirty="0" smtClean="0"/>
              <a:t>391</a:t>
            </a:r>
            <a:endParaRPr lang="en-GB" sz="1100" dirty="0"/>
          </a:p>
        </p:txBody>
      </p:sp>
      <p:sp>
        <p:nvSpPr>
          <p:cNvPr id="422926" name="Rectangle 14"/>
          <p:cNvSpPr>
            <a:spLocks noChangeArrowheads="1"/>
          </p:cNvSpPr>
          <p:nvPr/>
        </p:nvSpPr>
        <p:spPr bwMode="gray">
          <a:xfrm>
            <a:off x="630238" y="2860675"/>
            <a:ext cx="966787" cy="2984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r>
              <a:rPr lang="en-GB" sz="1100"/>
              <a:t>(insurance-</a:t>
            </a:r>
            <a:br>
              <a:rPr lang="en-GB" sz="1100"/>
            </a:br>
            <a:r>
              <a:rPr lang="en-GB" sz="1100"/>
              <a:t>financed)</a:t>
            </a:r>
          </a:p>
        </p:txBody>
      </p:sp>
      <p:sp>
        <p:nvSpPr>
          <p:cNvPr id="422927" name="Text Box 15"/>
          <p:cNvSpPr txBox="1">
            <a:spLocks noChangeArrowheads="1"/>
          </p:cNvSpPr>
          <p:nvPr/>
        </p:nvSpPr>
        <p:spPr bwMode="gray">
          <a:xfrm>
            <a:off x="527050" y="5915025"/>
            <a:ext cx="4637088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57188" indent="-357188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90000"/>
              </a:lnSpc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 dirty="0"/>
              <a:t>Note:	SGB II, III and XII refer to the respective chapters of the German Social Code </a:t>
            </a:r>
            <a:br>
              <a:rPr lang="en-GB" sz="800" dirty="0"/>
            </a:br>
            <a:r>
              <a:rPr lang="en-GB" sz="800" dirty="0"/>
              <a:t>(SGB = “</a:t>
            </a:r>
            <a:r>
              <a:rPr lang="en-GB" sz="800" dirty="0" err="1"/>
              <a:t>Sozialgesetzbuch</a:t>
            </a:r>
            <a:r>
              <a:rPr lang="en-GB" sz="800" dirty="0"/>
              <a:t>”)</a:t>
            </a:r>
          </a:p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 dirty="0"/>
              <a:t>*   Over-58 workers receive 24 months of UB I </a:t>
            </a:r>
          </a:p>
          <a:p>
            <a:pPr>
              <a:lnSpc>
                <a:spcPct val="100000"/>
              </a:lnSpc>
              <a:spcBef>
                <a:spcPct val="5000"/>
              </a:spcBef>
              <a:spcAft>
                <a:spcPct val="5000"/>
              </a:spcAft>
            </a:pPr>
            <a:r>
              <a:rPr lang="en-GB" sz="800" dirty="0"/>
              <a:t>** Funding of SGB XII for &gt; 65 years to be covered increasingly by federal government </a:t>
            </a:r>
            <a:br>
              <a:rPr lang="en-GB" sz="800" dirty="0"/>
            </a:br>
            <a:r>
              <a:rPr lang="en-GB" sz="800" dirty="0"/>
              <a:t>(full payment in 2014)</a:t>
            </a:r>
          </a:p>
        </p:txBody>
      </p:sp>
      <p:sp>
        <p:nvSpPr>
          <p:cNvPr id="422928" name="Rectangle 16"/>
          <p:cNvSpPr>
            <a:spLocks noChangeArrowheads="1"/>
          </p:cNvSpPr>
          <p:nvPr/>
        </p:nvSpPr>
        <p:spPr bwMode="gray">
          <a:xfrm>
            <a:off x="8534400" y="4365625"/>
            <a:ext cx="304800" cy="16192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100"/>
              <a:t>FLA</a:t>
            </a:r>
          </a:p>
        </p:txBody>
      </p:sp>
      <p:sp>
        <p:nvSpPr>
          <p:cNvPr id="422929" name="Rectangle 17"/>
          <p:cNvSpPr>
            <a:spLocks noChangeArrowheads="1"/>
          </p:cNvSpPr>
          <p:nvPr/>
        </p:nvSpPr>
        <p:spPr bwMode="gray">
          <a:xfrm>
            <a:off x="9024938" y="5138738"/>
            <a:ext cx="304800" cy="16192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100" dirty="0"/>
              <a:t>FLA</a:t>
            </a:r>
          </a:p>
        </p:txBody>
      </p:sp>
      <p:sp>
        <p:nvSpPr>
          <p:cNvPr id="422930" name="Rectangle 18"/>
          <p:cNvSpPr>
            <a:spLocks noChangeArrowheads="1"/>
          </p:cNvSpPr>
          <p:nvPr/>
        </p:nvSpPr>
        <p:spPr bwMode="gray">
          <a:xfrm>
            <a:off x="5359400" y="4154488"/>
            <a:ext cx="3048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r>
              <a:rPr lang="en-GB" sz="1200" b="1"/>
              <a:t>Basic Income </a:t>
            </a:r>
            <a:br>
              <a:rPr lang="en-GB" sz="1200" b="1"/>
            </a:br>
            <a:r>
              <a:rPr lang="en-GB" sz="1200" b="1"/>
              <a:t>Support /</a:t>
            </a:r>
          </a:p>
        </p:txBody>
      </p:sp>
      <p:sp>
        <p:nvSpPr>
          <p:cNvPr id="422931" name="Rectangle 19"/>
          <p:cNvSpPr>
            <a:spLocks noChangeArrowheads="1"/>
          </p:cNvSpPr>
          <p:nvPr/>
        </p:nvSpPr>
        <p:spPr bwMode="gray">
          <a:xfrm>
            <a:off x="3040063" y="4989513"/>
            <a:ext cx="106362" cy="24447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sz="1100"/>
          </a:p>
        </p:txBody>
      </p:sp>
      <p:sp>
        <p:nvSpPr>
          <p:cNvPr id="422932" name="Rectangle 20"/>
          <p:cNvSpPr>
            <a:spLocks noChangeArrowheads="1"/>
          </p:cNvSpPr>
          <p:nvPr/>
        </p:nvSpPr>
        <p:spPr bwMode="gray">
          <a:xfrm>
            <a:off x="6046788" y="4706938"/>
            <a:ext cx="106362" cy="244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endParaRPr lang="en-GB" sz="1100"/>
          </a:p>
        </p:txBody>
      </p:sp>
      <p:sp>
        <p:nvSpPr>
          <p:cNvPr id="422933" name="Rectangle 21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9C7B64E-3FB2-4E7B-90E1-8E6CD1F7FE85}" type="slidenum">
              <a:rPr lang="de-DE" sz="1200" b="1">
                <a:solidFill>
                  <a:srgbClr val="C80000"/>
                </a:solidFill>
              </a:rPr>
              <a:pPr algn="r" eaLnBrk="0" hangingPunct="0"/>
              <a:t>8</a:t>
            </a:fld>
            <a:endParaRPr lang="de-DE" sz="1200" b="1">
              <a:solidFill>
                <a:srgbClr val="C80000"/>
              </a:solidFill>
            </a:endParaRPr>
          </a:p>
        </p:txBody>
      </p:sp>
      <p:sp>
        <p:nvSpPr>
          <p:cNvPr id="22" name="Rectangle 17"/>
          <p:cNvSpPr>
            <a:spLocks noChangeArrowheads="1"/>
          </p:cNvSpPr>
          <p:nvPr/>
        </p:nvSpPr>
        <p:spPr bwMode="gray">
          <a:xfrm>
            <a:off x="8654256" y="4827588"/>
            <a:ext cx="184944" cy="161925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</a:pPr>
            <a:r>
              <a:rPr lang="en-GB" sz="1100" dirty="0" smtClean="0"/>
              <a:t>110</a:t>
            </a:r>
            <a:endParaRPr lang="en-GB" sz="1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42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63550" y="801688"/>
            <a:ext cx="8458200" cy="601662"/>
          </a:xfrm>
        </p:spPr>
        <p:txBody>
          <a:bodyPr anchor="b"/>
          <a:lstStyle/>
          <a:p>
            <a:pPr eaLnBrk="1" hangingPunct="1"/>
            <a:r>
              <a:rPr lang="en-GB" smtClean="0"/>
              <a:t>Post-reform labour-market performance: resilience and agility in the 2008/2009 economic crisis</a:t>
            </a:r>
          </a:p>
        </p:txBody>
      </p:sp>
      <p:graphicFrame>
        <p:nvGraphicFramePr>
          <p:cNvPr id="52224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2244" name="Rectangle 4"/>
          <p:cNvSpPr>
            <a:spLocks noChangeArrowheads="1"/>
          </p:cNvSpPr>
          <p:nvPr/>
        </p:nvSpPr>
        <p:spPr bwMode="auto">
          <a:xfrm>
            <a:off x="565150" y="1751013"/>
            <a:ext cx="5289740" cy="45497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en-US"/>
          </a:p>
        </p:txBody>
      </p:sp>
      <p:sp>
        <p:nvSpPr>
          <p:cNvPr id="52224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07100" y="1768475"/>
            <a:ext cx="3321050" cy="453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External benefit: Labour market reforms coincided with pre-crisis growth period of 2004-2008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Today: Highest number of employed persons in post-war history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During crisis: Labour hoarding by businesses during crisis (anticipation of qualified labour shortage)</a:t>
            </a:r>
          </a:p>
          <a:p>
            <a:pPr marL="357188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75000"/>
              <a:buFont typeface="Wingdings" pitchFamily="2" charset="2"/>
              <a:buChar char="n"/>
            </a:pPr>
            <a:r>
              <a:rPr lang="en-GB" sz="1600" dirty="0">
                <a:sym typeface="Wingdings" pitchFamily="2" charset="2"/>
              </a:rPr>
              <a:t>Economic cycle, demographic shift and stronger activation policies explain positive labour market performance in Germany</a:t>
            </a:r>
          </a:p>
        </p:txBody>
      </p:sp>
      <p:sp>
        <p:nvSpPr>
          <p:cNvPr id="522252" name="Rectangle 14"/>
          <p:cNvSpPr>
            <a:spLocks noChangeArrowheads="1"/>
          </p:cNvSpPr>
          <p:nvPr/>
        </p:nvSpPr>
        <p:spPr bwMode="auto">
          <a:xfrm>
            <a:off x="9334500" y="6577013"/>
            <a:ext cx="6096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0" hangingPunct="0"/>
            <a:fld id="{5DF90B56-7B45-446C-98D6-B88A50335556}" type="slidenum">
              <a:rPr lang="de-DE" sz="1200" b="1">
                <a:solidFill>
                  <a:srgbClr val="C80000"/>
                </a:solidFill>
              </a:rPr>
              <a:pPr algn="r" eaLnBrk="0" hangingPunct="0"/>
              <a:t>9</a:t>
            </a:fld>
            <a:endParaRPr lang="de-DE" sz="1200" b="1">
              <a:solidFill>
                <a:srgbClr val="C80000"/>
              </a:solidFill>
            </a:endParaRPr>
          </a:p>
        </p:txBody>
      </p:sp>
      <p:graphicFrame>
        <p:nvGraphicFramePr>
          <p:cNvPr id="522253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5445051"/>
              </p:ext>
            </p:extLst>
          </p:nvPr>
        </p:nvGraphicFramePr>
        <p:xfrm>
          <a:off x="588278" y="2754313"/>
          <a:ext cx="5202832" cy="2352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6" name="Chart" r:id="rId8" imgW="4781463" imgH="2162168" progId="MSGraph.Chart.8">
                  <p:embed followColorScheme="full"/>
                </p:oleObj>
              </mc:Choice>
              <mc:Fallback>
                <p:oleObj name="Chart" r:id="rId8" imgW="4781463" imgH="2162168" progId="MSGraph.Chart.8">
                  <p:embed followColorScheme="full"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8278" y="2754313"/>
                        <a:ext cx="5202832" cy="2352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2254" name="Text Box 14"/>
          <p:cNvSpPr txBox="1">
            <a:spLocks noChangeArrowheads="1"/>
          </p:cNvSpPr>
          <p:nvPr/>
        </p:nvSpPr>
        <p:spPr bwMode="gray">
          <a:xfrm>
            <a:off x="520700" y="6126163"/>
            <a:ext cx="5486400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GB" sz="800" dirty="0"/>
              <a:t>Source: SVR </a:t>
            </a:r>
            <a:r>
              <a:rPr lang="en-GB" sz="800" dirty="0" smtClean="0"/>
              <a:t>2014</a:t>
            </a:r>
            <a:endParaRPr lang="en-GB" sz="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bVantTHUqkAkm_HBmO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g7JP5F3EuHoM3ax_i3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QpOhPb6UmoyN78xfpfFA"/>
</p:tagLst>
</file>

<file path=ppt/theme/theme1.xml><?xml version="1.0" encoding="utf-8"?>
<a:theme xmlns:a="http://schemas.openxmlformats.org/drawingml/2006/main" name="MASTER_MANNHEIM_100703_0">
  <a:themeElements>
    <a:clrScheme name="">
      <a:dk1>
        <a:srgbClr val="000000"/>
      </a:dk1>
      <a:lt1>
        <a:srgbClr val="FFFFFF"/>
      </a:lt1>
      <a:dk2>
        <a:srgbClr val="97B7B6"/>
      </a:dk2>
      <a:lt2>
        <a:srgbClr val="D60000"/>
      </a:lt2>
      <a:accent1>
        <a:srgbClr val="D5E2E2"/>
      </a:accent1>
      <a:accent2>
        <a:srgbClr val="B9BC9F"/>
      </a:accent2>
      <a:accent3>
        <a:srgbClr val="FFFFFF"/>
      </a:accent3>
      <a:accent4>
        <a:srgbClr val="000000"/>
      </a:accent4>
      <a:accent5>
        <a:srgbClr val="E7EEEE"/>
      </a:accent5>
      <a:accent6>
        <a:srgbClr val="A7AA90"/>
      </a:accent6>
      <a:hlink>
        <a:srgbClr val="13185C"/>
      </a:hlink>
      <a:folHlink>
        <a:srgbClr val="C8C300"/>
      </a:folHlink>
    </a:clrScheme>
    <a:fontScheme name="MASTER_MANNHEIM_100703_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ASTER_MANNHEIM_100703_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_MANNHEIM_100703_0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_MANNHEIM_100703_0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_MANNHEIM_100703_0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_MANNHEIM_100703_0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_MANNHEIM_100703_0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_MANNHEIM_100703_0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300</TotalTime>
  <Words>4410</Words>
  <Application>Microsoft Office PowerPoint</Application>
  <PresentationFormat>A4 Paper (210x297 mm)</PresentationFormat>
  <Paragraphs>729</Paragraphs>
  <Slides>40</Slides>
  <Notes>7</Notes>
  <HiddenSlides>8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MASTER_MANNHEIM_100703_0</vt:lpstr>
      <vt:lpstr>think-cell Slide</vt:lpstr>
      <vt:lpstr>Chart</vt:lpstr>
      <vt:lpstr>Diagramm</vt:lpstr>
      <vt:lpstr> Current Challenges in the Joint Delivery of Labor Market Services and Social Assistance in Germany: Institutions, Services and Programs</vt:lpstr>
      <vt:lpstr>Germany’s federal political structure is a key framework for labour market policy and social safety net design</vt:lpstr>
      <vt:lpstr>Current Challenges in the Joint Delivery of Labor Market Services and Social Assistance in Germany</vt:lpstr>
      <vt:lpstr>Pre-reform labour market policy focused on “passivation”, low work-requirements and extension of benefits</vt:lpstr>
      <vt:lpstr>Forging of statistics at PES Bundesanstalt für Arbeit provides the window of opportunity for labor market reforms in 2002</vt:lpstr>
      <vt:lpstr>The ambitious Hartz reform package has been continuously amended politically and constitutionally since 2005 </vt:lpstr>
      <vt:lpstr>The 2003-2005 reform package: Re-organized Federal Labour Agency, merged benefits, more activation, labour law reform</vt:lpstr>
      <vt:lpstr>Post-2005 model was simplified to a two-tier system between social insurance and social assistance</vt:lpstr>
      <vt:lpstr>Post-reform labour-market performance: resilience and agility in the 2008/2009 economic crisis</vt:lpstr>
      <vt:lpstr>Federal Labor Agency was able to quickly scale-up short-shift scheme in 2009 and complement other adjustment channels</vt:lpstr>
      <vt:lpstr>Despite all-time labour force participation high, long-term unemployment and low-paid jobs feed into income inequality</vt:lpstr>
      <vt:lpstr>Current Challenges in the Joint Delivery of Labor Market Services and Social Assistance in Germany</vt:lpstr>
      <vt:lpstr>Policy making and agency steering:  Federal Ministry of Labour and Social Affairs</vt:lpstr>
      <vt:lpstr>Federal Labor Agency employs 600+ staff in HQ and directs services, products, standards and core processes</vt:lpstr>
      <vt:lpstr>Post-2011 governance model for joint local delivery units introduces a stronger role for state government</vt:lpstr>
      <vt:lpstr>Background information: High-level financing flows for Social Insurance and Social Assistance in Germany (€bn, 2010)</vt:lpstr>
      <vt:lpstr>Hartz reform increased the number of SA beneficiaries in 2005 – </vt:lpstr>
      <vt:lpstr>Current Challenges in the Joint Delivery of Labor Market Services and Social Assistance in Germany</vt:lpstr>
      <vt:lpstr>Basic Income Support mainly delivered via cooperation of Federal Labour Agency (FLA) and municipalities</vt:lpstr>
      <vt:lpstr>Despite two parallel local delivery setups, federal regulations ensure a minimum compatibility via joint base systems</vt:lpstr>
      <vt:lpstr>Job-Centres are embedded into an increasing web of accountability …</vt:lpstr>
      <vt:lpstr>Split benefit payment responsibility between federal and local level can lead to load-shifting incentives</vt:lpstr>
      <vt:lpstr>Inter-level cooperation … complicated, but an institutional reflection of German “coordinated capitalism” model</vt:lpstr>
      <vt:lpstr>Activation regime covers the social assistance population in Germany only partially</vt:lpstr>
      <vt:lpstr>Segmenting the target group:  A closer look to the activation target group</vt:lpstr>
      <vt:lpstr>In between social assistance and jobs: rising number of “in-work” benefit recipients strains administrative resources</vt:lpstr>
      <vt:lpstr>Local job-centre example: clients, staffing (ratios) and budget</vt:lpstr>
      <vt:lpstr>Typical service arrangement for employment service delivery in local job-centre</vt:lpstr>
      <vt:lpstr>Current Challenges in the Joint Delivery of Labor Market Services and Social Assistance in Germany</vt:lpstr>
      <vt:lpstr>FLA and joint delivery units operate client handling via a single four-phase segmentation model for SI and SA clients</vt:lpstr>
      <vt:lpstr>Profiling and job counselling 1/2: Initial FLA segmentation relied on a four-field model for customers (2005)</vt:lpstr>
      <vt:lpstr>Profiling and job-counselling 2/2: segmentation methodology was further differentiated for Basic Income Support (2010)</vt:lpstr>
      <vt:lpstr>Scale-up and professionalization of employer service function has been essential for job placement activities</vt:lpstr>
      <vt:lpstr>Online Job Portal “Jobbörse”: Over 1m jobs entered via FLA or direct employer entry p.a.</vt:lpstr>
      <vt:lpstr>FLA website provides high-volume transactions as e-services to jobseekers and employers</vt:lpstr>
      <vt:lpstr>Selected examples for ALMPs of Federal Labour Agency (2011) and indicative cost-per-person in ALMPs</vt:lpstr>
      <vt:lpstr>Outsourcing concerns approx. 10% of job matching and below 20% of ALMP spending in Germany</vt:lpstr>
      <vt:lpstr>Current Challenges in the Joint Delivery of Labor Market Services and Social Assistance in Germany</vt:lpstr>
      <vt:lpstr>Labor market / social safety net reforms in Germany: main axes of action and general lessons learned</vt:lpstr>
      <vt:lpstr>THANK YOU / VIELEN DANK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 Strategische Steuerung Kriterien für Bewertung von Kennzahlen</dc:title>
  <dc:creator>Andreas Huber</dc:creator>
  <cp:lastModifiedBy>Ulrich Hoerning</cp:lastModifiedBy>
  <cp:revision>2307</cp:revision>
  <cp:lastPrinted>2003-04-16T13:51:55Z</cp:lastPrinted>
  <dcterms:created xsi:type="dcterms:W3CDTF">2009-04-17T08:06:29Z</dcterms:created>
  <dcterms:modified xsi:type="dcterms:W3CDTF">2014-03-04T13:17:27Z</dcterms:modified>
</cp:coreProperties>
</file>